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700" r:id="rId6"/>
  </p:sldMasterIdLst>
  <p:notesMasterIdLst>
    <p:notesMasterId r:id="rId22"/>
  </p:notesMasterIdLst>
  <p:sldIdLst>
    <p:sldId id="2147479921" r:id="rId7"/>
    <p:sldId id="2147479936" r:id="rId8"/>
    <p:sldId id="2147475908" r:id="rId9"/>
    <p:sldId id="2147479937" r:id="rId10"/>
    <p:sldId id="2147479943" r:id="rId11"/>
    <p:sldId id="2147479946" r:id="rId12"/>
    <p:sldId id="2147479952" r:id="rId13"/>
    <p:sldId id="2147479947" r:id="rId14"/>
    <p:sldId id="2147479948" r:id="rId15"/>
    <p:sldId id="2147479953" r:id="rId16"/>
    <p:sldId id="2147479954" r:id="rId17"/>
    <p:sldId id="2147479945" r:id="rId18"/>
    <p:sldId id="2147479956" r:id="rId19"/>
    <p:sldId id="2147479957" r:id="rId20"/>
    <p:sldId id="2147479940"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0603C51-DC0C-FDC2-282C-7EC155557483}" name="Nathan Hill" initials="NH" userId="S::nathanhill1@nbnco.com.au::142a2702-bc25-4265-b160-d40466c98bfc" providerId="AD"/>
  <p188:author id="{4428BC9D-7741-A171-F734-7AFB6DB92614}" name="Hayley Grant" initials="HG" userId="S::hayleygrant@nbnco.com.au::3760561a-7117-4046-bd33-9ff0688001d6" providerId="AD"/>
  <p188:author id="{022170C8-B28B-BBC1-3C8E-300585522FC3}" name="Maria Romeo" initials="MR" userId="S::mariaromeo@nbnco.com.au::c5a57970-c0a2-43f1-8ded-8a95c24f806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AA0D88-1C1E-49AC-A7AB-B41D6740CD68}" v="2" dt="2025-02-07T05:17:08.3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9" d="100"/>
          <a:sy n="79" d="100"/>
        </p:scale>
        <p:origin x="1794" y="4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8517F2-4B1F-4D4D-B846-22A12C5EAE20}" type="doc">
      <dgm:prSet loTypeId="urn:microsoft.com/office/officeart/2005/8/layout/rings+Icon" loCatId="officeonline" qsTypeId="urn:microsoft.com/office/officeart/2005/8/quickstyle/simple1" qsCatId="simple" csTypeId="urn:microsoft.com/office/officeart/2005/8/colors/accent1_2" csCatId="accent1" phldr="1"/>
      <dgm:spPr/>
    </dgm:pt>
    <dgm:pt modelId="{596201AD-712A-434E-BFDA-DD5A561886CD}">
      <dgm:prSet phldrT="[Text]" custT="1"/>
      <dgm:spPr>
        <a:solidFill>
          <a:schemeClr val="accent1">
            <a:lumMod val="20000"/>
            <a:lumOff val="80000"/>
            <a:alpha val="50000"/>
          </a:schemeClr>
        </a:solidFill>
        <a:ln>
          <a:solidFill>
            <a:srgbClr val="A4C4FF"/>
          </a:solidFill>
        </a:ln>
      </dgm:spPr>
      <dgm:t>
        <a:bodyPr/>
        <a:lstStyle/>
        <a:p>
          <a:r>
            <a:rPr lang="en-AU" sz="2000">
              <a:latin typeface="+mn-lt"/>
            </a:rPr>
            <a:t>4% per year wage increase</a:t>
          </a:r>
        </a:p>
      </dgm:t>
    </dgm:pt>
    <dgm:pt modelId="{A4195650-E4DF-47D5-BE03-DE68E38D4FA5}" type="parTrans" cxnId="{2ACC486D-7A4C-484F-959E-68B733736BC2}">
      <dgm:prSet/>
      <dgm:spPr/>
      <dgm:t>
        <a:bodyPr/>
        <a:lstStyle/>
        <a:p>
          <a:endParaRPr lang="en-AU"/>
        </a:p>
      </dgm:t>
    </dgm:pt>
    <dgm:pt modelId="{38FCB5BB-2D73-4E09-A41F-1F492AE7AA53}" type="sibTrans" cxnId="{2ACC486D-7A4C-484F-959E-68B733736BC2}">
      <dgm:prSet/>
      <dgm:spPr/>
      <dgm:t>
        <a:bodyPr/>
        <a:lstStyle/>
        <a:p>
          <a:endParaRPr lang="en-AU"/>
        </a:p>
      </dgm:t>
    </dgm:pt>
    <dgm:pt modelId="{DDA29C98-E81B-406C-B244-0BB9DCD859F3}">
      <dgm:prSet phldrT="[Text]" custT="1"/>
      <dgm:spPr>
        <a:solidFill>
          <a:schemeClr val="accent1">
            <a:alpha val="50000"/>
          </a:schemeClr>
        </a:solidFill>
      </dgm:spPr>
      <dgm:t>
        <a:bodyPr/>
        <a:lstStyle/>
        <a:p>
          <a:r>
            <a:rPr lang="en-AU" sz="2000">
              <a:latin typeface="+mn-lt"/>
            </a:rPr>
            <a:t>No reduction in entitlements</a:t>
          </a:r>
        </a:p>
      </dgm:t>
    </dgm:pt>
    <dgm:pt modelId="{4B613F6C-A890-43C1-816D-842E4ED08646}" type="parTrans" cxnId="{E6BB5B5D-1B10-418B-B979-9E53072F5BE4}">
      <dgm:prSet/>
      <dgm:spPr/>
      <dgm:t>
        <a:bodyPr/>
        <a:lstStyle/>
        <a:p>
          <a:endParaRPr lang="en-AU"/>
        </a:p>
      </dgm:t>
    </dgm:pt>
    <dgm:pt modelId="{834C3312-37D6-4AE1-ACED-A51BC39EE87A}" type="sibTrans" cxnId="{E6BB5B5D-1B10-418B-B979-9E53072F5BE4}">
      <dgm:prSet/>
      <dgm:spPr/>
      <dgm:t>
        <a:bodyPr/>
        <a:lstStyle/>
        <a:p>
          <a:endParaRPr lang="en-AU"/>
        </a:p>
      </dgm:t>
    </dgm:pt>
    <dgm:pt modelId="{01D61629-1022-4DEA-9ACF-B697396302B2}">
      <dgm:prSet phldrT="[Text]" custT="1"/>
      <dgm:spPr>
        <a:solidFill>
          <a:schemeClr val="accent1">
            <a:lumMod val="20000"/>
            <a:lumOff val="80000"/>
            <a:alpha val="50000"/>
          </a:schemeClr>
        </a:solidFill>
        <a:ln>
          <a:solidFill>
            <a:srgbClr val="A4C4FF"/>
          </a:solidFill>
        </a:ln>
      </dgm:spPr>
      <dgm:t>
        <a:bodyPr/>
        <a:lstStyle/>
        <a:p>
          <a:r>
            <a:rPr lang="en-AU" sz="2000">
              <a:latin typeface="+mn-lt"/>
            </a:rPr>
            <a:t>Confirmation of discretionary Special Leave</a:t>
          </a:r>
        </a:p>
      </dgm:t>
    </dgm:pt>
    <dgm:pt modelId="{96D67386-A552-4D25-B47E-B80E4A9A5B99}" type="parTrans" cxnId="{5C778A55-5EF9-4202-A975-EE9C6564567D}">
      <dgm:prSet/>
      <dgm:spPr/>
      <dgm:t>
        <a:bodyPr/>
        <a:lstStyle/>
        <a:p>
          <a:endParaRPr lang="en-AU"/>
        </a:p>
      </dgm:t>
    </dgm:pt>
    <dgm:pt modelId="{B13ED47A-4ED1-4640-861A-E2B509D8F253}" type="sibTrans" cxnId="{5C778A55-5EF9-4202-A975-EE9C6564567D}">
      <dgm:prSet/>
      <dgm:spPr/>
      <dgm:t>
        <a:bodyPr/>
        <a:lstStyle/>
        <a:p>
          <a:endParaRPr lang="en-AU"/>
        </a:p>
      </dgm:t>
    </dgm:pt>
    <dgm:pt modelId="{2BF7364B-119F-45B9-AE47-30A638065004}">
      <dgm:prSet phldrT="[Text]" custT="1"/>
      <dgm:spPr>
        <a:solidFill>
          <a:schemeClr val="accent1">
            <a:alpha val="50000"/>
          </a:schemeClr>
        </a:solidFill>
      </dgm:spPr>
      <dgm:t>
        <a:bodyPr/>
        <a:lstStyle/>
        <a:p>
          <a:r>
            <a:rPr lang="en-AU" sz="2000">
              <a:latin typeface="+mn-lt"/>
            </a:rPr>
            <a:t>Superannuation contribution in addition to wage increase</a:t>
          </a:r>
        </a:p>
      </dgm:t>
    </dgm:pt>
    <dgm:pt modelId="{92E879E1-84C6-4470-9481-37B9769AB56D}" type="parTrans" cxnId="{0C82FF0E-4499-41AB-BBDE-8A18911BC43C}">
      <dgm:prSet/>
      <dgm:spPr/>
      <dgm:t>
        <a:bodyPr/>
        <a:lstStyle/>
        <a:p>
          <a:endParaRPr lang="en-AU"/>
        </a:p>
      </dgm:t>
    </dgm:pt>
    <dgm:pt modelId="{32AD58BC-E8F2-40A6-8F80-7806FC27646C}" type="sibTrans" cxnId="{0C82FF0E-4499-41AB-BBDE-8A18911BC43C}">
      <dgm:prSet/>
      <dgm:spPr/>
      <dgm:t>
        <a:bodyPr/>
        <a:lstStyle/>
        <a:p>
          <a:endParaRPr lang="en-AU"/>
        </a:p>
      </dgm:t>
    </dgm:pt>
    <dgm:pt modelId="{DF8FA8BA-073D-4A45-844A-54EFA6404AD6}">
      <dgm:prSet phldrT="[Text]" custT="1"/>
      <dgm:spPr>
        <a:solidFill>
          <a:schemeClr val="accent1">
            <a:lumMod val="20000"/>
            <a:lumOff val="80000"/>
            <a:alpha val="50000"/>
          </a:schemeClr>
        </a:solidFill>
        <a:ln>
          <a:solidFill>
            <a:srgbClr val="A4C4FF"/>
          </a:solidFill>
        </a:ln>
      </dgm:spPr>
      <dgm:t>
        <a:bodyPr/>
        <a:lstStyle/>
        <a:p>
          <a:r>
            <a:rPr lang="en-AU" sz="2000">
              <a:latin typeface="+mn-lt"/>
            </a:rPr>
            <a:t>Flexibility </a:t>
          </a:r>
        </a:p>
      </dgm:t>
    </dgm:pt>
    <dgm:pt modelId="{0B7414AB-9E23-4641-B586-B5A838E00B72}" type="parTrans" cxnId="{A151358D-82DE-4BBF-A938-052D93EB1BFB}">
      <dgm:prSet/>
      <dgm:spPr/>
      <dgm:t>
        <a:bodyPr/>
        <a:lstStyle/>
        <a:p>
          <a:endParaRPr lang="en-AU"/>
        </a:p>
      </dgm:t>
    </dgm:pt>
    <dgm:pt modelId="{17D529BD-6DE0-446C-97F8-16C564C5F246}" type="sibTrans" cxnId="{A151358D-82DE-4BBF-A938-052D93EB1BFB}">
      <dgm:prSet/>
      <dgm:spPr/>
      <dgm:t>
        <a:bodyPr/>
        <a:lstStyle/>
        <a:p>
          <a:endParaRPr lang="en-AU"/>
        </a:p>
      </dgm:t>
    </dgm:pt>
    <dgm:pt modelId="{AE5376A6-E2B2-4388-B275-455EC068E04E}">
      <dgm:prSet phldrT="[Text]" custT="1"/>
      <dgm:spPr>
        <a:solidFill>
          <a:schemeClr val="accent1">
            <a:alpha val="50000"/>
          </a:schemeClr>
        </a:solidFill>
      </dgm:spPr>
      <dgm:t>
        <a:bodyPr/>
        <a:lstStyle/>
        <a:p>
          <a:r>
            <a:rPr lang="en-AU" sz="2000">
              <a:latin typeface="+mn-lt"/>
            </a:rPr>
            <a:t>Classification review</a:t>
          </a:r>
        </a:p>
      </dgm:t>
    </dgm:pt>
    <dgm:pt modelId="{43C75E34-8B4E-400A-A789-D0517C765361}" type="sibTrans" cxnId="{20CE429B-4319-4E29-B972-924D23F7C00B}">
      <dgm:prSet/>
      <dgm:spPr/>
      <dgm:t>
        <a:bodyPr/>
        <a:lstStyle/>
        <a:p>
          <a:endParaRPr lang="en-AU"/>
        </a:p>
      </dgm:t>
    </dgm:pt>
    <dgm:pt modelId="{3B16F93C-C58F-4729-AB33-5502B3871949}" type="parTrans" cxnId="{20CE429B-4319-4E29-B972-924D23F7C00B}">
      <dgm:prSet/>
      <dgm:spPr/>
      <dgm:t>
        <a:bodyPr/>
        <a:lstStyle/>
        <a:p>
          <a:endParaRPr lang="en-AU"/>
        </a:p>
      </dgm:t>
    </dgm:pt>
    <dgm:pt modelId="{DB71DC06-DDA4-49B4-87C5-92DD2E232BAD}" type="pres">
      <dgm:prSet presAssocID="{EE8517F2-4B1F-4D4D-B846-22A12C5EAE20}" presName="Name0" presStyleCnt="0">
        <dgm:presLayoutVars>
          <dgm:chMax val="7"/>
          <dgm:dir/>
          <dgm:resizeHandles val="exact"/>
        </dgm:presLayoutVars>
      </dgm:prSet>
      <dgm:spPr/>
    </dgm:pt>
    <dgm:pt modelId="{2696C17A-D66E-42C2-9764-3BB8B6B6E3D1}" type="pres">
      <dgm:prSet presAssocID="{EE8517F2-4B1F-4D4D-B846-22A12C5EAE20}" presName="ellipse1" presStyleLbl="vennNode1" presStyleIdx="0" presStyleCnt="6" custScaleX="123619" custScaleY="107104" custLinFactNeighborX="12168" custLinFactNeighborY="-11304">
        <dgm:presLayoutVars>
          <dgm:bulletEnabled val="1"/>
        </dgm:presLayoutVars>
      </dgm:prSet>
      <dgm:spPr/>
    </dgm:pt>
    <dgm:pt modelId="{1E10EA55-71BB-4BE7-8032-CE788C67FEF3}" type="pres">
      <dgm:prSet presAssocID="{EE8517F2-4B1F-4D4D-B846-22A12C5EAE20}" presName="ellipse2" presStyleLbl="vennNode1" presStyleIdx="1" presStyleCnt="6" custScaleX="123619" custScaleY="107104" custLinFactNeighborX="-13254" custLinFactNeighborY="4843">
        <dgm:presLayoutVars>
          <dgm:bulletEnabled val="1"/>
        </dgm:presLayoutVars>
      </dgm:prSet>
      <dgm:spPr/>
    </dgm:pt>
    <dgm:pt modelId="{648CB01C-EF23-40F6-9239-54C62A5264A6}" type="pres">
      <dgm:prSet presAssocID="{EE8517F2-4B1F-4D4D-B846-22A12C5EAE20}" presName="ellipse3" presStyleLbl="vennNode1" presStyleIdx="2" presStyleCnt="6" custScaleX="123619" custScaleY="107104" custLinFactNeighborX="12168" custLinFactNeighborY="-11304">
        <dgm:presLayoutVars>
          <dgm:bulletEnabled val="1"/>
        </dgm:presLayoutVars>
      </dgm:prSet>
      <dgm:spPr/>
    </dgm:pt>
    <dgm:pt modelId="{8971FBC5-7CF4-49CB-89ED-8392F78555D2}" type="pres">
      <dgm:prSet presAssocID="{EE8517F2-4B1F-4D4D-B846-22A12C5EAE20}" presName="ellipse4" presStyleLbl="vennNode1" presStyleIdx="3" presStyleCnt="6" custScaleX="123619" custScaleY="107104" custLinFactNeighborX="-13254" custLinFactNeighborY="4843">
        <dgm:presLayoutVars>
          <dgm:bulletEnabled val="1"/>
        </dgm:presLayoutVars>
      </dgm:prSet>
      <dgm:spPr/>
    </dgm:pt>
    <dgm:pt modelId="{16313ACD-EE5F-452F-8567-D50F03177BDA}" type="pres">
      <dgm:prSet presAssocID="{EE8517F2-4B1F-4D4D-B846-22A12C5EAE20}" presName="ellipse5" presStyleLbl="vennNode1" presStyleIdx="4" presStyleCnt="6" custScaleX="123619" custScaleY="107104" custLinFactNeighborX="12168" custLinFactNeighborY="-11304">
        <dgm:presLayoutVars>
          <dgm:bulletEnabled val="1"/>
        </dgm:presLayoutVars>
      </dgm:prSet>
      <dgm:spPr/>
    </dgm:pt>
    <dgm:pt modelId="{67B22AE6-9974-485B-8A86-315CEF02A1D0}" type="pres">
      <dgm:prSet presAssocID="{EE8517F2-4B1F-4D4D-B846-22A12C5EAE20}" presName="ellipse6" presStyleLbl="vennNode1" presStyleIdx="5" presStyleCnt="6" custScaleX="123619" custScaleY="107104" custLinFactNeighborX="-13254" custLinFactNeighborY="4843">
        <dgm:presLayoutVars>
          <dgm:bulletEnabled val="1"/>
        </dgm:presLayoutVars>
      </dgm:prSet>
      <dgm:spPr/>
    </dgm:pt>
  </dgm:ptLst>
  <dgm:cxnLst>
    <dgm:cxn modelId="{0C82FF0E-4499-41AB-BBDE-8A18911BC43C}" srcId="{EE8517F2-4B1F-4D4D-B846-22A12C5EAE20}" destId="{2BF7364B-119F-45B9-AE47-30A638065004}" srcOrd="5" destOrd="0" parTransId="{92E879E1-84C6-4470-9481-37B9769AB56D}" sibTransId="{32AD58BC-E8F2-40A6-8F80-7806FC27646C}"/>
    <dgm:cxn modelId="{13972C10-CAE4-4CAA-9D46-80AA16D1A53C}" type="presOf" srcId="{DDA29C98-E81B-406C-B244-0BB9DCD859F3}" destId="{648CB01C-EF23-40F6-9239-54C62A5264A6}" srcOrd="0" destOrd="0" presId="urn:microsoft.com/office/officeart/2005/8/layout/rings+Icon"/>
    <dgm:cxn modelId="{E6BB5B5D-1B10-418B-B979-9E53072F5BE4}" srcId="{EE8517F2-4B1F-4D4D-B846-22A12C5EAE20}" destId="{DDA29C98-E81B-406C-B244-0BB9DCD859F3}" srcOrd="2" destOrd="0" parTransId="{4B613F6C-A890-43C1-816D-842E4ED08646}" sibTransId="{834C3312-37D6-4AE1-ACED-A51BC39EE87A}"/>
    <dgm:cxn modelId="{2ACC486D-7A4C-484F-959E-68B733736BC2}" srcId="{EE8517F2-4B1F-4D4D-B846-22A12C5EAE20}" destId="{596201AD-712A-434E-BFDA-DD5A561886CD}" srcOrd="0" destOrd="0" parTransId="{A4195650-E4DF-47D5-BE03-DE68E38D4FA5}" sibTransId="{38FCB5BB-2D73-4E09-A41F-1F492AE7AA53}"/>
    <dgm:cxn modelId="{EAD40653-20C1-4F09-B6AA-BFEF48DFF8F8}" type="presOf" srcId="{EE8517F2-4B1F-4D4D-B846-22A12C5EAE20}" destId="{DB71DC06-DDA4-49B4-87C5-92DD2E232BAD}" srcOrd="0" destOrd="0" presId="urn:microsoft.com/office/officeart/2005/8/layout/rings+Icon"/>
    <dgm:cxn modelId="{5C778A55-5EF9-4202-A975-EE9C6564567D}" srcId="{EE8517F2-4B1F-4D4D-B846-22A12C5EAE20}" destId="{01D61629-1022-4DEA-9ACF-B697396302B2}" srcOrd="4" destOrd="0" parTransId="{96D67386-A552-4D25-B47E-B80E4A9A5B99}" sibTransId="{B13ED47A-4ED1-4640-861A-E2B509D8F253}"/>
    <dgm:cxn modelId="{FF13AC80-C307-4ACA-931D-9E774BEFE092}" type="presOf" srcId="{2BF7364B-119F-45B9-AE47-30A638065004}" destId="{67B22AE6-9974-485B-8A86-315CEF02A1D0}" srcOrd="0" destOrd="0" presId="urn:microsoft.com/office/officeart/2005/8/layout/rings+Icon"/>
    <dgm:cxn modelId="{A151358D-82DE-4BBF-A938-052D93EB1BFB}" srcId="{EE8517F2-4B1F-4D4D-B846-22A12C5EAE20}" destId="{DF8FA8BA-073D-4A45-844A-54EFA6404AD6}" srcOrd="3" destOrd="0" parTransId="{0B7414AB-9E23-4641-B586-B5A838E00B72}" sibTransId="{17D529BD-6DE0-446C-97F8-16C564C5F246}"/>
    <dgm:cxn modelId="{E8169C98-9540-47EB-BC99-6CB38066C0D3}" type="presOf" srcId="{DF8FA8BA-073D-4A45-844A-54EFA6404AD6}" destId="{8971FBC5-7CF4-49CB-89ED-8392F78555D2}" srcOrd="0" destOrd="0" presId="urn:microsoft.com/office/officeart/2005/8/layout/rings+Icon"/>
    <dgm:cxn modelId="{20CE429B-4319-4E29-B972-924D23F7C00B}" srcId="{EE8517F2-4B1F-4D4D-B846-22A12C5EAE20}" destId="{AE5376A6-E2B2-4388-B275-455EC068E04E}" srcOrd="1" destOrd="0" parTransId="{3B16F93C-C58F-4729-AB33-5502B3871949}" sibTransId="{43C75E34-8B4E-400A-A789-D0517C765361}"/>
    <dgm:cxn modelId="{84E1A8B7-B4F8-4D5D-9301-92D34297119E}" type="presOf" srcId="{AE5376A6-E2B2-4388-B275-455EC068E04E}" destId="{1E10EA55-71BB-4BE7-8032-CE788C67FEF3}" srcOrd="0" destOrd="0" presId="urn:microsoft.com/office/officeart/2005/8/layout/rings+Icon"/>
    <dgm:cxn modelId="{B4A27BE5-16F0-4A75-BABC-725FBDF1F8E9}" type="presOf" srcId="{01D61629-1022-4DEA-9ACF-B697396302B2}" destId="{16313ACD-EE5F-452F-8567-D50F03177BDA}" srcOrd="0" destOrd="0" presId="urn:microsoft.com/office/officeart/2005/8/layout/rings+Icon"/>
    <dgm:cxn modelId="{2C12E5F2-AF8A-45DC-9E93-614934969E6A}" type="presOf" srcId="{596201AD-712A-434E-BFDA-DD5A561886CD}" destId="{2696C17A-D66E-42C2-9764-3BB8B6B6E3D1}" srcOrd="0" destOrd="0" presId="urn:microsoft.com/office/officeart/2005/8/layout/rings+Icon"/>
    <dgm:cxn modelId="{ED6596F0-F8AF-4A4B-90C1-3100DF8B8FFD}" type="presParOf" srcId="{DB71DC06-DDA4-49B4-87C5-92DD2E232BAD}" destId="{2696C17A-D66E-42C2-9764-3BB8B6B6E3D1}" srcOrd="0" destOrd="0" presId="urn:microsoft.com/office/officeart/2005/8/layout/rings+Icon"/>
    <dgm:cxn modelId="{8A74AD65-AEF4-4D95-8970-9EB1D8922BDB}" type="presParOf" srcId="{DB71DC06-DDA4-49B4-87C5-92DD2E232BAD}" destId="{1E10EA55-71BB-4BE7-8032-CE788C67FEF3}" srcOrd="1" destOrd="0" presId="urn:microsoft.com/office/officeart/2005/8/layout/rings+Icon"/>
    <dgm:cxn modelId="{37C92E39-B7E7-427E-946B-4F1C8C391145}" type="presParOf" srcId="{DB71DC06-DDA4-49B4-87C5-92DD2E232BAD}" destId="{648CB01C-EF23-40F6-9239-54C62A5264A6}" srcOrd="2" destOrd="0" presId="urn:microsoft.com/office/officeart/2005/8/layout/rings+Icon"/>
    <dgm:cxn modelId="{388266F2-8AE8-49D8-9D3C-AD6F456D4A1F}" type="presParOf" srcId="{DB71DC06-DDA4-49B4-87C5-92DD2E232BAD}" destId="{8971FBC5-7CF4-49CB-89ED-8392F78555D2}" srcOrd="3" destOrd="0" presId="urn:microsoft.com/office/officeart/2005/8/layout/rings+Icon"/>
    <dgm:cxn modelId="{C44B6B72-B731-424B-9E61-ED7998427A71}" type="presParOf" srcId="{DB71DC06-DDA4-49B4-87C5-92DD2E232BAD}" destId="{16313ACD-EE5F-452F-8567-D50F03177BDA}" srcOrd="4" destOrd="0" presId="urn:microsoft.com/office/officeart/2005/8/layout/rings+Icon"/>
    <dgm:cxn modelId="{61C39685-77C2-4744-A880-5C860BEDC02E}" type="presParOf" srcId="{DB71DC06-DDA4-49B4-87C5-92DD2E232BAD}" destId="{67B22AE6-9974-485B-8A86-315CEF02A1D0}" srcOrd="5" destOrd="0" presId="urn:microsoft.com/office/officeart/2005/8/layout/rings+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96C17A-D66E-42C2-9764-3BB8B6B6E3D1}">
      <dsp:nvSpPr>
        <dsp:cNvPr id="0" name=""/>
        <dsp:cNvSpPr/>
      </dsp:nvSpPr>
      <dsp:spPr>
        <a:xfrm>
          <a:off x="11212" y="261979"/>
          <a:ext cx="3866407" cy="3350039"/>
        </a:xfrm>
        <a:prstGeom prst="ellipse">
          <a:avLst/>
        </a:prstGeom>
        <a:solidFill>
          <a:schemeClr val="accent1">
            <a:lumMod val="20000"/>
            <a:lumOff val="80000"/>
            <a:alpha val="50000"/>
          </a:schemeClr>
        </a:solidFill>
        <a:ln w="19050" cap="flat" cmpd="sng" algn="ctr">
          <a:solidFill>
            <a:srgbClr val="A4C4FF"/>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AU" sz="2000" kern="1200">
              <a:latin typeface="+mn-lt"/>
            </a:rPr>
            <a:t>4% per year wage increase</a:t>
          </a:r>
        </a:p>
      </dsp:txBody>
      <dsp:txXfrm>
        <a:off x="577434" y="752581"/>
        <a:ext cx="2733963" cy="2368835"/>
      </dsp:txXfrm>
    </dsp:sp>
    <dsp:sp modelId="{1E10EA55-71BB-4BE7-8032-CE788C67FEF3}">
      <dsp:nvSpPr>
        <dsp:cNvPr id="0" name=""/>
        <dsp:cNvSpPr/>
      </dsp:nvSpPr>
      <dsp:spPr>
        <a:xfrm>
          <a:off x="840687" y="2782817"/>
          <a:ext cx="3866407" cy="3350039"/>
        </a:xfrm>
        <a:prstGeom prst="ellipse">
          <a:avLst/>
        </a:prstGeom>
        <a:solidFill>
          <a:schemeClr val="accent1">
            <a:alpha val="50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AU" sz="2000" kern="1200">
              <a:latin typeface="+mn-lt"/>
            </a:rPr>
            <a:t>Classification review</a:t>
          </a:r>
        </a:p>
      </dsp:txBody>
      <dsp:txXfrm>
        <a:off x="1406909" y="3273419"/>
        <a:ext cx="2733963" cy="2368835"/>
      </dsp:txXfrm>
    </dsp:sp>
    <dsp:sp modelId="{648CB01C-EF23-40F6-9239-54C62A5264A6}">
      <dsp:nvSpPr>
        <dsp:cNvPr id="0" name=""/>
        <dsp:cNvSpPr/>
      </dsp:nvSpPr>
      <dsp:spPr>
        <a:xfrm>
          <a:off x="3260400" y="261979"/>
          <a:ext cx="3866407" cy="3350039"/>
        </a:xfrm>
        <a:prstGeom prst="ellipse">
          <a:avLst/>
        </a:prstGeom>
        <a:solidFill>
          <a:schemeClr val="accent1">
            <a:alpha val="50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AU" sz="2000" kern="1200">
              <a:latin typeface="+mn-lt"/>
            </a:rPr>
            <a:t>No reduction in entitlements</a:t>
          </a:r>
        </a:p>
      </dsp:txBody>
      <dsp:txXfrm>
        <a:off x="3826622" y="752581"/>
        <a:ext cx="2733963" cy="2368835"/>
      </dsp:txXfrm>
    </dsp:sp>
    <dsp:sp modelId="{8971FBC5-7CF4-49CB-89ED-8392F78555D2}">
      <dsp:nvSpPr>
        <dsp:cNvPr id="0" name=""/>
        <dsp:cNvSpPr/>
      </dsp:nvSpPr>
      <dsp:spPr>
        <a:xfrm>
          <a:off x="4089874" y="2782817"/>
          <a:ext cx="3866407" cy="3350039"/>
        </a:xfrm>
        <a:prstGeom prst="ellipse">
          <a:avLst/>
        </a:prstGeom>
        <a:solidFill>
          <a:schemeClr val="accent1">
            <a:lumMod val="20000"/>
            <a:lumOff val="80000"/>
            <a:alpha val="50000"/>
          </a:schemeClr>
        </a:solidFill>
        <a:ln w="19050" cap="flat" cmpd="sng" algn="ctr">
          <a:solidFill>
            <a:srgbClr val="A4C4FF"/>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AU" sz="2000" kern="1200">
              <a:latin typeface="+mn-lt"/>
            </a:rPr>
            <a:t>Flexibility </a:t>
          </a:r>
        </a:p>
      </dsp:txBody>
      <dsp:txXfrm>
        <a:off x="4656096" y="3273419"/>
        <a:ext cx="2733963" cy="2368835"/>
      </dsp:txXfrm>
    </dsp:sp>
    <dsp:sp modelId="{16313ACD-EE5F-452F-8567-D50F03177BDA}">
      <dsp:nvSpPr>
        <dsp:cNvPr id="0" name=""/>
        <dsp:cNvSpPr/>
      </dsp:nvSpPr>
      <dsp:spPr>
        <a:xfrm>
          <a:off x="6509587" y="261979"/>
          <a:ext cx="3866407" cy="3350039"/>
        </a:xfrm>
        <a:prstGeom prst="ellipse">
          <a:avLst/>
        </a:prstGeom>
        <a:solidFill>
          <a:schemeClr val="accent1">
            <a:lumMod val="20000"/>
            <a:lumOff val="80000"/>
            <a:alpha val="50000"/>
          </a:schemeClr>
        </a:solidFill>
        <a:ln w="19050" cap="flat" cmpd="sng" algn="ctr">
          <a:solidFill>
            <a:srgbClr val="A4C4FF"/>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AU" sz="2000" kern="1200">
              <a:latin typeface="+mn-lt"/>
            </a:rPr>
            <a:t>Confirmation of discretionary Special Leave</a:t>
          </a:r>
        </a:p>
      </dsp:txBody>
      <dsp:txXfrm>
        <a:off x="7075809" y="752581"/>
        <a:ext cx="2733963" cy="2368835"/>
      </dsp:txXfrm>
    </dsp:sp>
    <dsp:sp modelId="{67B22AE6-9974-485B-8A86-315CEF02A1D0}">
      <dsp:nvSpPr>
        <dsp:cNvPr id="0" name=""/>
        <dsp:cNvSpPr/>
      </dsp:nvSpPr>
      <dsp:spPr>
        <a:xfrm>
          <a:off x="7339062" y="2782817"/>
          <a:ext cx="3866407" cy="3350039"/>
        </a:xfrm>
        <a:prstGeom prst="ellipse">
          <a:avLst/>
        </a:prstGeom>
        <a:solidFill>
          <a:schemeClr val="accent1">
            <a:alpha val="50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AU" sz="2000" kern="1200">
              <a:latin typeface="+mn-lt"/>
            </a:rPr>
            <a:t>Superannuation contribution in addition to wage increase</a:t>
          </a:r>
        </a:p>
      </dsp:txBody>
      <dsp:txXfrm>
        <a:off x="7905284" y="3273419"/>
        <a:ext cx="2733963" cy="2368835"/>
      </dsp:txXfrm>
    </dsp:sp>
  </dsp:spTree>
</dsp:drawing>
</file>

<file path=ppt/diagrams/layout1.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30198CD-EA60-447E-8BEC-AFF396993465}" type="datetimeFigureOut">
              <a:rPr lang="en-AU" smtClean="0"/>
              <a:t>24/02/2025</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DBFE791-C2DE-4A78-A018-F2F0F40F99E3}" type="slidenum">
              <a:rPr lang="en-AU" smtClean="0"/>
              <a:t>‹#›</a:t>
            </a:fld>
            <a:endParaRPr lang="en-AU"/>
          </a:p>
        </p:txBody>
      </p:sp>
    </p:spTree>
    <p:extLst>
      <p:ext uri="{BB962C8B-B14F-4D97-AF65-F5344CB8AC3E}">
        <p14:creationId xmlns:p14="http://schemas.microsoft.com/office/powerpoint/2010/main" val="2738517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666766-144B-3C47-9992-D70E9E5E248A}" type="slidenum">
              <a:rPr kumimoji="0" lang="en-US"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18901133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666766-144B-3C47-9992-D70E9E5E248A}" type="slidenum">
              <a:rPr kumimoji="0" lang="en-US"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1414263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666766-144B-3C47-9992-D70E9E5E248A}" type="slidenum">
              <a:rPr kumimoji="0" lang="en-US"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7649993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666766-144B-3C47-9992-D70E9E5E248A}" type="slidenum">
              <a:rPr kumimoji="0" lang="en-US"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7082135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39D609-2F60-EDDE-DBE4-E38F46C197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63CE76-7B05-0D63-5AA8-ADEBB10E0B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B0C69B-AD8B-A4A1-2C8F-1F9464BA5C3D}"/>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7519384A-397A-DBE3-58B2-8F82947FC21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666766-144B-3C47-9992-D70E9E5E248A}" type="slidenum">
              <a:rPr kumimoji="0" lang="en-US"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42886589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666766-144B-3C47-9992-D70E9E5E248A}" type="slidenum">
              <a:rPr kumimoji="0" lang="en-US"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857088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666766-144B-3C47-9992-D70E9E5E248A}" type="slidenum">
              <a:rPr kumimoji="0" lang="en-US"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9073580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D3BFA8-4967-7DB0-D961-CBD22B397F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77DC2E-6BDF-F07A-132D-2160995099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975C1D-8E63-2F14-F361-DA0115F1EDE3}"/>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3572EEA0-F0B2-FAEE-C45B-C3140DD500D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666766-144B-3C47-9992-D70E9E5E248A}" type="slidenum">
              <a:rPr kumimoji="0" lang="en-US"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453781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666766-144B-3C47-9992-D70E9E5E248A}" type="slidenum">
              <a:rPr kumimoji="0" lang="en-US"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9364095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01 - White BG">
    <p:bg>
      <p:bgPr>
        <a:solidFill>
          <a:schemeClr val="bg1"/>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152B738F-4D8C-E7B2-E075-E6780C7938DE}"/>
              </a:ext>
            </a:extLst>
          </p:cNvPr>
          <p:cNvGrpSpPr/>
          <p:nvPr/>
        </p:nvGrpSpPr>
        <p:grpSpPr>
          <a:xfrm>
            <a:off x="0" y="1099548"/>
            <a:ext cx="9013371" cy="4556231"/>
            <a:chOff x="81054" y="372838"/>
            <a:chExt cx="7620236" cy="3852006"/>
          </a:xfrm>
        </p:grpSpPr>
        <p:sp>
          <p:nvSpPr>
            <p:cNvPr id="20" name="Freeform 19">
              <a:extLst>
                <a:ext uri="{FF2B5EF4-FFF2-40B4-BE49-F238E27FC236}">
                  <a16:creationId xmlns:a16="http://schemas.microsoft.com/office/drawing/2014/main" id="{FBBC23BE-1236-8D85-3FC4-A2EA3A6C4C7A}"/>
                </a:ext>
              </a:extLst>
            </p:cNvPr>
            <p:cNvSpPr/>
            <p:nvPr/>
          </p:nvSpPr>
          <p:spPr>
            <a:xfrm>
              <a:off x="188353" y="2657254"/>
              <a:ext cx="648078" cy="666134"/>
            </a:xfrm>
            <a:custGeom>
              <a:avLst/>
              <a:gdLst>
                <a:gd name="connsiteX0" fmla="*/ 383914 w 648078"/>
                <a:gd name="connsiteY0" fmla="*/ 518365 h 666134"/>
                <a:gd name="connsiteX1" fmla="*/ 371775 w 648078"/>
                <a:gd name="connsiteY1" fmla="*/ 663952 h 666134"/>
                <a:gd name="connsiteX2" fmla="*/ 249361 w 648078"/>
                <a:gd name="connsiteY2" fmla="*/ 655359 h 666134"/>
                <a:gd name="connsiteX3" fmla="*/ 4210 w 648078"/>
                <a:gd name="connsiteY3" fmla="*/ 280732 h 666134"/>
                <a:gd name="connsiteX4" fmla="*/ 10710 w 648078"/>
                <a:gd name="connsiteY4" fmla="*/ 249370 h 666134"/>
                <a:gd name="connsiteX5" fmla="*/ 240122 w 648078"/>
                <a:gd name="connsiteY5" fmla="*/ 13241 h 666134"/>
                <a:gd name="connsiteX6" fmla="*/ 416626 w 648078"/>
                <a:gd name="connsiteY6" fmla="*/ 10717 h 666134"/>
                <a:gd name="connsiteX7" fmla="*/ 648079 w 648078"/>
                <a:gd name="connsiteY7" fmla="*/ 225258 h 666134"/>
                <a:gd name="connsiteX8" fmla="*/ 383914 w 648078"/>
                <a:gd name="connsiteY8" fmla="*/ 518365 h 66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8078" h="666134">
                  <a:moveTo>
                    <a:pt x="383914" y="518365"/>
                  </a:moveTo>
                  <a:cubicBezTo>
                    <a:pt x="371237" y="567288"/>
                    <a:pt x="367477" y="616371"/>
                    <a:pt x="371775" y="663952"/>
                  </a:cubicBezTo>
                  <a:cubicBezTo>
                    <a:pt x="331919" y="668516"/>
                    <a:pt x="290505" y="666046"/>
                    <a:pt x="249361" y="655359"/>
                  </a:cubicBezTo>
                  <a:cubicBezTo>
                    <a:pt x="81773" y="611860"/>
                    <a:pt x="-22700" y="448283"/>
                    <a:pt x="4210" y="280732"/>
                  </a:cubicBezTo>
                  <a:cubicBezTo>
                    <a:pt x="5822" y="270260"/>
                    <a:pt x="8024" y="259788"/>
                    <a:pt x="10710" y="249370"/>
                  </a:cubicBezTo>
                  <a:cubicBezTo>
                    <a:pt x="41273" y="131601"/>
                    <a:pt x="131190" y="45033"/>
                    <a:pt x="240122" y="13241"/>
                  </a:cubicBezTo>
                  <a:cubicBezTo>
                    <a:pt x="295716" y="-2977"/>
                    <a:pt x="356466" y="-4857"/>
                    <a:pt x="416626" y="10717"/>
                  </a:cubicBezTo>
                  <a:cubicBezTo>
                    <a:pt x="529049" y="39877"/>
                    <a:pt x="613111" y="123116"/>
                    <a:pt x="648079" y="225258"/>
                  </a:cubicBezTo>
                  <a:cubicBezTo>
                    <a:pt x="522120" y="272516"/>
                    <a:pt x="420332" y="378255"/>
                    <a:pt x="383914" y="518365"/>
                  </a:cubicBezTo>
                </a:path>
              </a:pathLst>
            </a:custGeom>
            <a:solidFill>
              <a:srgbClr val="1B6CFF">
                <a:alpha val="30000"/>
              </a:srgbClr>
            </a:solidFill>
            <a:ln w="5371"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C29BBAB-262A-17B2-7397-2E5C0D6AFA09}"/>
                </a:ext>
              </a:extLst>
            </p:cNvPr>
            <p:cNvSpPr/>
            <p:nvPr/>
          </p:nvSpPr>
          <p:spPr>
            <a:xfrm>
              <a:off x="558479" y="2855391"/>
              <a:ext cx="785764" cy="855106"/>
            </a:xfrm>
            <a:custGeom>
              <a:avLst/>
              <a:gdLst>
                <a:gd name="connsiteX0" fmla="*/ 523909 w 785764"/>
                <a:gd name="connsiteY0" fmla="*/ 524565 h 855106"/>
                <a:gd name="connsiteX1" fmla="*/ 540668 w 785764"/>
                <a:gd name="connsiteY1" fmla="*/ 839905 h 855106"/>
                <a:gd name="connsiteX2" fmla="*/ 320280 w 785764"/>
                <a:gd name="connsiteY2" fmla="*/ 841301 h 855106"/>
                <a:gd name="connsiteX3" fmla="*/ 1703 w 785764"/>
                <a:gd name="connsiteY3" fmla="*/ 465815 h 855106"/>
                <a:gd name="connsiteX4" fmla="*/ 13842 w 785764"/>
                <a:gd name="connsiteY4" fmla="*/ 320228 h 855106"/>
                <a:gd name="connsiteX5" fmla="*/ 278061 w 785764"/>
                <a:gd name="connsiteY5" fmla="*/ 27174 h 855106"/>
                <a:gd name="connsiteX6" fmla="*/ 535136 w 785764"/>
                <a:gd name="connsiteY6" fmla="*/ 13803 h 855106"/>
                <a:gd name="connsiteX7" fmla="*/ 785765 w 785764"/>
                <a:gd name="connsiteY7" fmla="*/ 194081 h 855106"/>
                <a:gd name="connsiteX8" fmla="*/ 523909 w 785764"/>
                <a:gd name="connsiteY8" fmla="*/ 524565 h 85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5764" h="855106">
                  <a:moveTo>
                    <a:pt x="523909" y="524565"/>
                  </a:moveTo>
                  <a:cubicBezTo>
                    <a:pt x="495710" y="633151"/>
                    <a:pt x="503820" y="742489"/>
                    <a:pt x="540668" y="839905"/>
                  </a:cubicBezTo>
                  <a:cubicBezTo>
                    <a:pt x="470947" y="859023"/>
                    <a:pt x="395318" y="860795"/>
                    <a:pt x="320280" y="841301"/>
                  </a:cubicBezTo>
                  <a:cubicBezTo>
                    <a:pt x="140661" y="794688"/>
                    <a:pt x="17441" y="640562"/>
                    <a:pt x="1703" y="465815"/>
                  </a:cubicBezTo>
                  <a:cubicBezTo>
                    <a:pt x="-2594" y="418235"/>
                    <a:pt x="1166" y="369151"/>
                    <a:pt x="13842" y="320228"/>
                  </a:cubicBezTo>
                  <a:cubicBezTo>
                    <a:pt x="50207" y="180118"/>
                    <a:pt x="151994" y="74379"/>
                    <a:pt x="278061" y="27174"/>
                  </a:cubicBezTo>
                  <a:cubicBezTo>
                    <a:pt x="357611" y="-2684"/>
                    <a:pt x="446722" y="-9128"/>
                    <a:pt x="535136" y="13803"/>
                  </a:cubicBezTo>
                  <a:cubicBezTo>
                    <a:pt x="642456" y="41674"/>
                    <a:pt x="729741" y="107889"/>
                    <a:pt x="785765" y="194081"/>
                  </a:cubicBezTo>
                  <a:cubicBezTo>
                    <a:pt x="660396" y="260189"/>
                    <a:pt x="562261" y="376723"/>
                    <a:pt x="523909" y="524565"/>
                  </a:cubicBezTo>
                </a:path>
              </a:pathLst>
            </a:custGeom>
            <a:solidFill>
              <a:srgbClr val="1B6CFF">
                <a:alpha val="40000"/>
              </a:srgbClr>
            </a:solidFill>
            <a:ln w="5371"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B995E84-8C50-6A0D-2F6D-A8E90A89CEE6}"/>
                </a:ext>
              </a:extLst>
            </p:cNvPr>
            <p:cNvSpPr/>
            <p:nvPr/>
          </p:nvSpPr>
          <p:spPr>
            <a:xfrm>
              <a:off x="1065490" y="2989112"/>
              <a:ext cx="876266" cy="1043942"/>
            </a:xfrm>
            <a:custGeom>
              <a:avLst/>
              <a:gdLst>
                <a:gd name="connsiteX0" fmla="*/ 764972 w 876266"/>
                <a:gd name="connsiteY0" fmla="*/ 983878 h 1043942"/>
                <a:gd name="connsiteX1" fmla="*/ 390908 w 876266"/>
                <a:gd name="connsiteY1" fmla="*/ 1027055 h 1043942"/>
                <a:gd name="connsiteX2" fmla="*/ 33657 w 876266"/>
                <a:gd name="connsiteY2" fmla="*/ 706184 h 1043942"/>
                <a:gd name="connsiteX3" fmla="*/ 16898 w 876266"/>
                <a:gd name="connsiteY3" fmla="*/ 390844 h 1043942"/>
                <a:gd name="connsiteX4" fmla="*/ 278754 w 876266"/>
                <a:gd name="connsiteY4" fmla="*/ 60414 h 1043942"/>
                <a:gd name="connsiteX5" fmla="*/ 653193 w 876266"/>
                <a:gd name="connsiteY5" fmla="*/ 16861 h 1043942"/>
                <a:gd name="connsiteX6" fmla="*/ 876267 w 876266"/>
                <a:gd name="connsiteY6" fmla="*/ 138497 h 1043942"/>
                <a:gd name="connsiteX7" fmla="*/ 665333 w 876266"/>
                <a:gd name="connsiteY7" fmla="*/ 464470 h 1043942"/>
                <a:gd name="connsiteX8" fmla="*/ 764972 w 876266"/>
                <a:gd name="connsiteY8" fmla="*/ 983878 h 104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6266" h="1043942">
                  <a:moveTo>
                    <a:pt x="764972" y="983878"/>
                  </a:moveTo>
                  <a:cubicBezTo>
                    <a:pt x="653999" y="1042253"/>
                    <a:pt x="521755" y="1061049"/>
                    <a:pt x="390908" y="1027055"/>
                  </a:cubicBezTo>
                  <a:cubicBezTo>
                    <a:pt x="220420" y="982804"/>
                    <a:pt x="91614" y="859343"/>
                    <a:pt x="33657" y="706184"/>
                  </a:cubicBezTo>
                  <a:cubicBezTo>
                    <a:pt x="-3191" y="608768"/>
                    <a:pt x="-11301" y="499376"/>
                    <a:pt x="16898" y="390844"/>
                  </a:cubicBezTo>
                  <a:cubicBezTo>
                    <a:pt x="55304" y="242948"/>
                    <a:pt x="153385" y="126468"/>
                    <a:pt x="278754" y="60414"/>
                  </a:cubicBezTo>
                  <a:cubicBezTo>
                    <a:pt x="389780" y="1717"/>
                    <a:pt x="522185" y="-17132"/>
                    <a:pt x="653193" y="16861"/>
                  </a:cubicBezTo>
                  <a:cubicBezTo>
                    <a:pt x="739458" y="39255"/>
                    <a:pt x="815087" y="81948"/>
                    <a:pt x="876267" y="138497"/>
                  </a:cubicBezTo>
                  <a:cubicBezTo>
                    <a:pt x="776091" y="218674"/>
                    <a:pt x="700085" y="330644"/>
                    <a:pt x="665333" y="464470"/>
                  </a:cubicBezTo>
                  <a:cubicBezTo>
                    <a:pt x="616936" y="650978"/>
                    <a:pt x="659263" y="839742"/>
                    <a:pt x="764972" y="983878"/>
                  </a:cubicBezTo>
                </a:path>
              </a:pathLst>
            </a:custGeom>
            <a:solidFill>
              <a:srgbClr val="1B6CFF">
                <a:alpha val="50000"/>
              </a:srgbClr>
            </a:solidFill>
            <a:ln w="5371"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12936CB9-CF98-085D-FE50-988E1B7E7EE1}"/>
                </a:ext>
              </a:extLst>
            </p:cNvPr>
            <p:cNvSpPr/>
            <p:nvPr/>
          </p:nvSpPr>
          <p:spPr>
            <a:xfrm>
              <a:off x="1710907" y="2992043"/>
              <a:ext cx="1041446" cy="1232801"/>
            </a:xfrm>
            <a:custGeom>
              <a:avLst/>
              <a:gdLst>
                <a:gd name="connsiteX0" fmla="*/ 1041446 w 1041446"/>
                <a:gd name="connsiteY0" fmla="*/ 1062951 h 1232801"/>
                <a:gd name="connsiteX1" fmla="*/ 461712 w 1041446"/>
                <a:gd name="connsiteY1" fmla="*/ 1212888 h 1232801"/>
                <a:gd name="connsiteX2" fmla="*/ 119555 w 1041446"/>
                <a:gd name="connsiteY2" fmla="*/ 980947 h 1232801"/>
                <a:gd name="connsiteX3" fmla="*/ 19916 w 1041446"/>
                <a:gd name="connsiteY3" fmla="*/ 461592 h 1232801"/>
                <a:gd name="connsiteX4" fmla="*/ 230850 w 1041446"/>
                <a:gd name="connsiteY4" fmla="*/ 135620 h 1232801"/>
                <a:gd name="connsiteX5" fmla="*/ 771427 w 1041446"/>
                <a:gd name="connsiteY5" fmla="*/ 19891 h 1232801"/>
                <a:gd name="connsiteX6" fmla="*/ 931011 w 1041446"/>
                <a:gd name="connsiteY6" fmla="*/ 86214 h 1232801"/>
                <a:gd name="connsiteX7" fmla="*/ 808704 w 1041446"/>
                <a:gd name="connsiteY7" fmla="*/ 338400 h 1232801"/>
                <a:gd name="connsiteX8" fmla="*/ 1041446 w 1041446"/>
                <a:gd name="connsiteY8" fmla="*/ 1062951 h 123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1446" h="1232801">
                  <a:moveTo>
                    <a:pt x="1041446" y="1062951"/>
                  </a:moveTo>
                  <a:cubicBezTo>
                    <a:pt x="892229" y="1204618"/>
                    <a:pt x="675494" y="1268362"/>
                    <a:pt x="461712" y="1212888"/>
                  </a:cubicBezTo>
                  <a:cubicBezTo>
                    <a:pt x="318672" y="1175780"/>
                    <a:pt x="200555" y="1091467"/>
                    <a:pt x="119555" y="980947"/>
                  </a:cubicBezTo>
                  <a:cubicBezTo>
                    <a:pt x="13846" y="836811"/>
                    <a:pt x="-28481" y="648047"/>
                    <a:pt x="19916" y="461592"/>
                  </a:cubicBezTo>
                  <a:cubicBezTo>
                    <a:pt x="54669" y="327766"/>
                    <a:pt x="130674" y="215797"/>
                    <a:pt x="230850" y="135620"/>
                  </a:cubicBezTo>
                  <a:cubicBezTo>
                    <a:pt x="377489" y="18280"/>
                    <a:pt x="575693" y="-30857"/>
                    <a:pt x="771427" y="19891"/>
                  </a:cubicBezTo>
                  <a:cubicBezTo>
                    <a:pt x="828901" y="34821"/>
                    <a:pt x="882346" y="57322"/>
                    <a:pt x="931011" y="86214"/>
                  </a:cubicBezTo>
                  <a:cubicBezTo>
                    <a:pt x="875524" y="159141"/>
                    <a:pt x="833144" y="244098"/>
                    <a:pt x="808704" y="338400"/>
                  </a:cubicBezTo>
                  <a:cubicBezTo>
                    <a:pt x="737265" y="613248"/>
                    <a:pt x="836958" y="892285"/>
                    <a:pt x="1041446" y="1062951"/>
                  </a:cubicBezTo>
                </a:path>
              </a:pathLst>
            </a:custGeom>
            <a:solidFill>
              <a:srgbClr val="1B6CFF">
                <a:alpha val="60000"/>
              </a:srgbClr>
            </a:solidFill>
            <a:ln w="5371"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D2FA20A5-4214-8877-2886-5507E45978E4}"/>
                </a:ext>
              </a:extLst>
            </p:cNvPr>
            <p:cNvSpPr/>
            <p:nvPr/>
          </p:nvSpPr>
          <p:spPr>
            <a:xfrm>
              <a:off x="2496474" y="2798051"/>
              <a:ext cx="1336441" cy="1421735"/>
            </a:xfrm>
            <a:custGeom>
              <a:avLst/>
              <a:gdLst>
                <a:gd name="connsiteX0" fmla="*/ 1336442 w 1336441"/>
                <a:gd name="connsiteY0" fmla="*/ 1048954 h 1421735"/>
                <a:gd name="connsiteX1" fmla="*/ 532452 w 1336441"/>
                <a:gd name="connsiteY1" fmla="*/ 1398771 h 1421735"/>
                <a:gd name="connsiteX2" fmla="*/ 255879 w 1336441"/>
                <a:gd name="connsiteY2" fmla="*/ 1256943 h 1421735"/>
                <a:gd name="connsiteX3" fmla="*/ 255772 w 1336441"/>
                <a:gd name="connsiteY3" fmla="*/ 1256943 h 1421735"/>
                <a:gd name="connsiteX4" fmla="*/ 22976 w 1336441"/>
                <a:gd name="connsiteY4" fmla="*/ 532392 h 1421735"/>
                <a:gd name="connsiteX5" fmla="*/ 145336 w 1336441"/>
                <a:gd name="connsiteY5" fmla="*/ 280206 h 1421735"/>
                <a:gd name="connsiteX6" fmla="*/ 889596 w 1336441"/>
                <a:gd name="connsiteY6" fmla="*/ 22972 h 1421735"/>
                <a:gd name="connsiteX7" fmla="*/ 983327 w 1336441"/>
                <a:gd name="connsiteY7" fmla="*/ 54388 h 1421735"/>
                <a:gd name="connsiteX8" fmla="*/ 953623 w 1336441"/>
                <a:gd name="connsiteY8" fmla="*/ 146004 h 1421735"/>
                <a:gd name="connsiteX9" fmla="*/ 1336442 w 1336441"/>
                <a:gd name="connsiteY9" fmla="*/ 1048954 h 142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6441" h="1421735">
                  <a:moveTo>
                    <a:pt x="1336442" y="1048954"/>
                  </a:moveTo>
                  <a:cubicBezTo>
                    <a:pt x="1184754" y="1330140"/>
                    <a:pt x="855703" y="1482654"/>
                    <a:pt x="532452" y="1398771"/>
                  </a:cubicBezTo>
                  <a:cubicBezTo>
                    <a:pt x="427441" y="1371544"/>
                    <a:pt x="333980" y="1322138"/>
                    <a:pt x="255879" y="1256943"/>
                  </a:cubicBezTo>
                  <a:lnTo>
                    <a:pt x="255772" y="1256943"/>
                  </a:lnTo>
                  <a:cubicBezTo>
                    <a:pt x="51337" y="1086277"/>
                    <a:pt x="-48410" y="807240"/>
                    <a:pt x="22976" y="532392"/>
                  </a:cubicBezTo>
                  <a:cubicBezTo>
                    <a:pt x="47469" y="438144"/>
                    <a:pt x="89796" y="353134"/>
                    <a:pt x="145336" y="280206"/>
                  </a:cubicBezTo>
                  <a:cubicBezTo>
                    <a:pt x="313729" y="59382"/>
                    <a:pt x="603838" y="-51191"/>
                    <a:pt x="889596" y="22972"/>
                  </a:cubicBezTo>
                  <a:cubicBezTo>
                    <a:pt x="921985" y="31403"/>
                    <a:pt x="953301" y="41875"/>
                    <a:pt x="983327" y="54388"/>
                  </a:cubicBezTo>
                  <a:cubicBezTo>
                    <a:pt x="971724" y="83978"/>
                    <a:pt x="961788" y="114588"/>
                    <a:pt x="953623" y="146004"/>
                  </a:cubicBezTo>
                  <a:cubicBezTo>
                    <a:pt x="860053" y="506776"/>
                    <a:pt x="1026513" y="873938"/>
                    <a:pt x="1336442" y="1048954"/>
                  </a:cubicBezTo>
                </a:path>
              </a:pathLst>
            </a:custGeom>
            <a:solidFill>
              <a:srgbClr val="1B6CFF">
                <a:alpha val="70000"/>
              </a:srgbClr>
            </a:solidFill>
            <a:ln w="5371"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360F760-92B7-ADDC-58E3-6B520422EB4B}"/>
                </a:ext>
              </a:extLst>
            </p:cNvPr>
            <p:cNvSpPr/>
            <p:nvPr/>
          </p:nvSpPr>
          <p:spPr>
            <a:xfrm>
              <a:off x="3424124" y="2341008"/>
              <a:ext cx="1600595" cy="1610580"/>
            </a:xfrm>
            <a:custGeom>
              <a:avLst/>
              <a:gdLst>
                <a:gd name="connsiteX0" fmla="*/ 1585018 w 1600595"/>
                <a:gd name="connsiteY0" fmla="*/ 1007586 h 1610580"/>
                <a:gd name="connsiteX1" fmla="*/ 603236 w 1600595"/>
                <a:gd name="connsiteY1" fmla="*/ 1584564 h 1610580"/>
                <a:gd name="connsiteX2" fmla="*/ 408791 w 1600595"/>
                <a:gd name="connsiteY2" fmla="*/ 1505997 h 1610580"/>
                <a:gd name="connsiteX3" fmla="*/ 26026 w 1600595"/>
                <a:gd name="connsiteY3" fmla="*/ 603047 h 1610580"/>
                <a:gd name="connsiteX4" fmla="*/ 55730 w 1600595"/>
                <a:gd name="connsiteY4" fmla="*/ 511431 h 1610580"/>
                <a:gd name="connsiteX5" fmla="*/ 1007808 w 1600595"/>
                <a:gd name="connsiteY5" fmla="*/ 26016 h 1610580"/>
                <a:gd name="connsiteX6" fmla="*/ 1074038 w 1600595"/>
                <a:gd name="connsiteY6" fmla="*/ 46315 h 1610580"/>
                <a:gd name="connsiteX7" fmla="*/ 1600595 w 1600595"/>
                <a:gd name="connsiteY7" fmla="*/ 933048 h 1610580"/>
                <a:gd name="connsiteX8" fmla="*/ 1585018 w 1600595"/>
                <a:gd name="connsiteY8" fmla="*/ 1007586 h 1610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0595" h="1610580">
                  <a:moveTo>
                    <a:pt x="1585018" y="1007586"/>
                  </a:moveTo>
                  <a:cubicBezTo>
                    <a:pt x="1473293" y="1437956"/>
                    <a:pt x="1033752" y="1696265"/>
                    <a:pt x="603236" y="1584564"/>
                  </a:cubicBezTo>
                  <a:cubicBezTo>
                    <a:pt x="533568" y="1566466"/>
                    <a:pt x="468521" y="1539884"/>
                    <a:pt x="408791" y="1505997"/>
                  </a:cubicBezTo>
                  <a:cubicBezTo>
                    <a:pt x="98808" y="1330982"/>
                    <a:pt x="-67651" y="963819"/>
                    <a:pt x="26026" y="603047"/>
                  </a:cubicBezTo>
                  <a:cubicBezTo>
                    <a:pt x="34191" y="571577"/>
                    <a:pt x="44127" y="540967"/>
                    <a:pt x="55730" y="511431"/>
                  </a:cubicBezTo>
                  <a:cubicBezTo>
                    <a:pt x="201993" y="136857"/>
                    <a:pt x="608768" y="-77522"/>
                    <a:pt x="1007808" y="26016"/>
                  </a:cubicBezTo>
                  <a:cubicBezTo>
                    <a:pt x="1030422" y="31869"/>
                    <a:pt x="1052498" y="38636"/>
                    <a:pt x="1074038" y="46315"/>
                  </a:cubicBezTo>
                  <a:cubicBezTo>
                    <a:pt x="1045408" y="421855"/>
                    <a:pt x="1256665" y="778116"/>
                    <a:pt x="1600595" y="933048"/>
                  </a:cubicBezTo>
                  <a:cubicBezTo>
                    <a:pt x="1596674" y="957858"/>
                    <a:pt x="1591464" y="982829"/>
                    <a:pt x="1585018" y="1007586"/>
                  </a:cubicBezTo>
                </a:path>
              </a:pathLst>
            </a:custGeom>
            <a:solidFill>
              <a:srgbClr val="1B6CFF">
                <a:alpha val="80000"/>
              </a:srgbClr>
            </a:solidFill>
            <a:ln w="5371"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34A5BA99-23AD-78E5-D9FA-6DABDE619B25}"/>
                </a:ext>
              </a:extLst>
            </p:cNvPr>
            <p:cNvSpPr/>
            <p:nvPr/>
          </p:nvSpPr>
          <p:spPr>
            <a:xfrm>
              <a:off x="4495585" y="1554710"/>
              <a:ext cx="1799913" cy="1799481"/>
            </a:xfrm>
            <a:custGeom>
              <a:avLst/>
              <a:gdLst>
                <a:gd name="connsiteX0" fmla="*/ 1770839 w 1799913"/>
                <a:gd name="connsiteY0" fmla="*/ 1125720 h 1799481"/>
                <a:gd name="connsiteX1" fmla="*/ 673840 w 1799913"/>
                <a:gd name="connsiteY1" fmla="*/ 1770416 h 1799481"/>
                <a:gd name="connsiteX2" fmla="*/ 529135 w 1799913"/>
                <a:gd name="connsiteY2" fmla="*/ 1719399 h 1799481"/>
                <a:gd name="connsiteX3" fmla="*/ 2577 w 1799913"/>
                <a:gd name="connsiteY3" fmla="*/ 832667 h 1799481"/>
                <a:gd name="connsiteX4" fmla="*/ 29004 w 1799913"/>
                <a:gd name="connsiteY4" fmla="*/ 673762 h 1799481"/>
                <a:gd name="connsiteX5" fmla="*/ 1125896 w 1799913"/>
                <a:gd name="connsiteY5" fmla="*/ 29066 h 1799481"/>
                <a:gd name="connsiteX6" fmla="*/ 1251318 w 1799913"/>
                <a:gd name="connsiteY6" fmla="*/ 71598 h 1799481"/>
                <a:gd name="connsiteX7" fmla="*/ 1779003 w 1799913"/>
                <a:gd name="connsiteY7" fmla="*/ 707594 h 1799481"/>
                <a:gd name="connsiteX8" fmla="*/ 1770839 w 1799913"/>
                <a:gd name="connsiteY8" fmla="*/ 1125720 h 179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9913" h="1799481">
                  <a:moveTo>
                    <a:pt x="1770839" y="1125720"/>
                  </a:moveTo>
                  <a:cubicBezTo>
                    <a:pt x="1646008" y="1606571"/>
                    <a:pt x="1154901" y="1895220"/>
                    <a:pt x="673840" y="1770416"/>
                  </a:cubicBezTo>
                  <a:cubicBezTo>
                    <a:pt x="623349" y="1757313"/>
                    <a:pt x="575060" y="1740235"/>
                    <a:pt x="529135" y="1719399"/>
                  </a:cubicBezTo>
                  <a:cubicBezTo>
                    <a:pt x="185205" y="1564468"/>
                    <a:pt x="-25999" y="1208207"/>
                    <a:pt x="2577" y="832667"/>
                  </a:cubicBezTo>
                  <a:cubicBezTo>
                    <a:pt x="6552" y="779931"/>
                    <a:pt x="15254" y="726766"/>
                    <a:pt x="29004" y="673762"/>
                  </a:cubicBezTo>
                  <a:cubicBezTo>
                    <a:pt x="153836" y="192911"/>
                    <a:pt x="644942" y="-95738"/>
                    <a:pt x="1125896" y="29066"/>
                  </a:cubicBezTo>
                  <a:cubicBezTo>
                    <a:pt x="1169351" y="40343"/>
                    <a:pt x="1211193" y="54574"/>
                    <a:pt x="1251318" y="71598"/>
                  </a:cubicBezTo>
                  <a:cubicBezTo>
                    <a:pt x="1325550" y="345104"/>
                    <a:pt x="1515214" y="580642"/>
                    <a:pt x="1779003" y="707594"/>
                  </a:cubicBezTo>
                  <a:cubicBezTo>
                    <a:pt x="1808546" y="841420"/>
                    <a:pt x="1807633" y="984000"/>
                    <a:pt x="1770839" y="1125720"/>
                  </a:cubicBezTo>
                </a:path>
              </a:pathLst>
            </a:custGeom>
            <a:solidFill>
              <a:srgbClr val="1B6CFF">
                <a:alpha val="90000"/>
              </a:srgbClr>
            </a:solidFill>
            <a:ln w="5371"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34B88D73-9501-B399-2B29-244E031B5387}"/>
                </a:ext>
              </a:extLst>
            </p:cNvPr>
            <p:cNvSpPr/>
            <p:nvPr/>
          </p:nvSpPr>
          <p:spPr>
            <a:xfrm>
              <a:off x="5712462" y="372838"/>
              <a:ext cx="1988828" cy="1988422"/>
            </a:xfrm>
            <a:custGeom>
              <a:avLst/>
              <a:gdLst>
                <a:gd name="connsiteX0" fmla="*/ 1956700 w 1988828"/>
                <a:gd name="connsiteY0" fmla="*/ 1243964 h 1988422"/>
                <a:gd name="connsiteX1" fmla="*/ 744699 w 1988828"/>
                <a:gd name="connsiteY1" fmla="*/ 1956325 h 1988422"/>
                <a:gd name="connsiteX2" fmla="*/ 562180 w 1988828"/>
                <a:gd name="connsiteY2" fmla="*/ 1889466 h 1988422"/>
                <a:gd name="connsiteX3" fmla="*/ 34495 w 1988828"/>
                <a:gd name="connsiteY3" fmla="*/ 1253470 h 1988422"/>
                <a:gd name="connsiteX4" fmla="*/ 32131 w 1988828"/>
                <a:gd name="connsiteY4" fmla="*/ 744533 h 1988422"/>
                <a:gd name="connsiteX5" fmla="*/ 1244239 w 1988828"/>
                <a:gd name="connsiteY5" fmla="*/ 32118 h 1988422"/>
                <a:gd name="connsiteX6" fmla="*/ 1956700 w 1988828"/>
                <a:gd name="connsiteY6" fmla="*/ 1243964 h 1988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8828" h="1988422">
                  <a:moveTo>
                    <a:pt x="1956700" y="1243964"/>
                  </a:moveTo>
                  <a:cubicBezTo>
                    <a:pt x="1818762" y="1775241"/>
                    <a:pt x="1276144" y="2094179"/>
                    <a:pt x="744699" y="1956325"/>
                  </a:cubicBezTo>
                  <a:cubicBezTo>
                    <a:pt x="680619" y="1939677"/>
                    <a:pt x="619546" y="1917230"/>
                    <a:pt x="562180" y="1889466"/>
                  </a:cubicBezTo>
                  <a:cubicBezTo>
                    <a:pt x="298445" y="1762513"/>
                    <a:pt x="108727" y="1527029"/>
                    <a:pt x="34495" y="1253470"/>
                  </a:cubicBezTo>
                  <a:cubicBezTo>
                    <a:pt x="-9282" y="1092202"/>
                    <a:pt x="-12828" y="917776"/>
                    <a:pt x="32131" y="744533"/>
                  </a:cubicBezTo>
                  <a:cubicBezTo>
                    <a:pt x="170068" y="213149"/>
                    <a:pt x="712739" y="-105789"/>
                    <a:pt x="1244239" y="32118"/>
                  </a:cubicBezTo>
                  <a:cubicBezTo>
                    <a:pt x="1775684" y="170026"/>
                    <a:pt x="2094637" y="712580"/>
                    <a:pt x="1956700" y="1243964"/>
                  </a:cubicBezTo>
                </a:path>
              </a:pathLst>
            </a:custGeom>
            <a:solidFill>
              <a:srgbClr val="1B6CFF"/>
            </a:solidFill>
            <a:ln w="5371"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64875CE9-FC5F-4391-FEB4-3D2D5969521A}"/>
                </a:ext>
              </a:extLst>
            </p:cNvPr>
            <p:cNvSpPr/>
            <p:nvPr/>
          </p:nvSpPr>
          <p:spPr>
            <a:xfrm>
              <a:off x="81054" y="2360687"/>
              <a:ext cx="57903" cy="127435"/>
            </a:xfrm>
            <a:custGeom>
              <a:avLst/>
              <a:gdLst>
                <a:gd name="connsiteX0" fmla="*/ 0 w 57903"/>
                <a:gd name="connsiteY0" fmla="*/ 127435 h 127435"/>
                <a:gd name="connsiteX1" fmla="*/ 57904 w 57903"/>
                <a:gd name="connsiteY1" fmla="*/ 106062 h 127435"/>
                <a:gd name="connsiteX2" fmla="*/ 0 w 57903"/>
                <a:gd name="connsiteY2" fmla="*/ 0 h 127435"/>
                <a:gd name="connsiteX3" fmla="*/ 0 w 57903"/>
                <a:gd name="connsiteY3" fmla="*/ 127435 h 127435"/>
              </a:gdLst>
              <a:ahLst/>
              <a:cxnLst>
                <a:cxn ang="0">
                  <a:pos x="connsiteX0" y="connsiteY0"/>
                </a:cxn>
                <a:cxn ang="0">
                  <a:pos x="connsiteX1" y="connsiteY1"/>
                </a:cxn>
                <a:cxn ang="0">
                  <a:pos x="connsiteX2" y="connsiteY2"/>
                </a:cxn>
                <a:cxn ang="0">
                  <a:pos x="connsiteX3" y="connsiteY3"/>
                </a:cxn>
              </a:cxnLst>
              <a:rect l="l" t="t" r="r" b="b"/>
              <a:pathLst>
                <a:path w="57903" h="127435">
                  <a:moveTo>
                    <a:pt x="0" y="127435"/>
                  </a:moveTo>
                  <a:cubicBezTo>
                    <a:pt x="18209" y="117876"/>
                    <a:pt x="37653" y="110627"/>
                    <a:pt x="57904" y="106062"/>
                  </a:cubicBezTo>
                  <a:cubicBezTo>
                    <a:pt x="55110" y="63906"/>
                    <a:pt x="33679" y="25079"/>
                    <a:pt x="0" y="0"/>
                  </a:cubicBezTo>
                  <a:lnTo>
                    <a:pt x="0" y="127435"/>
                  </a:lnTo>
                  <a:close/>
                </a:path>
              </a:pathLst>
            </a:custGeom>
            <a:solidFill>
              <a:srgbClr val="1B6CFF">
                <a:alpha val="10000"/>
              </a:srgbClr>
            </a:solidFill>
            <a:ln w="5371"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6A2189F-2DBA-D6E9-7776-39191C0F2722}"/>
                </a:ext>
              </a:extLst>
            </p:cNvPr>
            <p:cNvSpPr/>
            <p:nvPr/>
          </p:nvSpPr>
          <p:spPr>
            <a:xfrm>
              <a:off x="81054" y="2460776"/>
              <a:ext cx="347421" cy="477157"/>
            </a:xfrm>
            <a:custGeom>
              <a:avLst/>
              <a:gdLst>
                <a:gd name="connsiteX0" fmla="*/ 170542 w 347421"/>
                <a:gd name="connsiteY0" fmla="*/ 7691 h 477157"/>
                <a:gd name="connsiteX1" fmla="*/ 57904 w 347421"/>
                <a:gd name="connsiteY1" fmla="*/ 5919 h 477157"/>
                <a:gd name="connsiteX2" fmla="*/ 0 w 347421"/>
                <a:gd name="connsiteY2" fmla="*/ 27292 h 477157"/>
                <a:gd name="connsiteX3" fmla="*/ 0 w 347421"/>
                <a:gd name="connsiteY3" fmla="*/ 449929 h 477157"/>
                <a:gd name="connsiteX4" fmla="*/ 50652 w 347421"/>
                <a:gd name="connsiteY4" fmla="*/ 469477 h 477157"/>
                <a:gd name="connsiteX5" fmla="*/ 111510 w 347421"/>
                <a:gd name="connsiteY5" fmla="*/ 477156 h 477157"/>
                <a:gd name="connsiteX6" fmla="*/ 118009 w 347421"/>
                <a:gd name="connsiteY6" fmla="*/ 445794 h 477157"/>
                <a:gd name="connsiteX7" fmla="*/ 347421 w 347421"/>
                <a:gd name="connsiteY7" fmla="*/ 209665 h 477157"/>
                <a:gd name="connsiteX8" fmla="*/ 170542 w 347421"/>
                <a:gd name="connsiteY8" fmla="*/ 7691 h 477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21" h="477157">
                  <a:moveTo>
                    <a:pt x="170542" y="7691"/>
                  </a:moveTo>
                  <a:cubicBezTo>
                    <a:pt x="132351" y="-2190"/>
                    <a:pt x="93892" y="-2298"/>
                    <a:pt x="57904" y="5919"/>
                  </a:cubicBezTo>
                  <a:cubicBezTo>
                    <a:pt x="37653" y="10537"/>
                    <a:pt x="18209" y="17787"/>
                    <a:pt x="0" y="27292"/>
                  </a:cubicBezTo>
                  <a:lnTo>
                    <a:pt x="0" y="449929"/>
                  </a:lnTo>
                  <a:cubicBezTo>
                    <a:pt x="15792" y="458146"/>
                    <a:pt x="32658" y="464805"/>
                    <a:pt x="50652" y="469477"/>
                  </a:cubicBezTo>
                  <a:cubicBezTo>
                    <a:pt x="71010" y="474740"/>
                    <a:pt x="91421" y="477210"/>
                    <a:pt x="111510" y="477156"/>
                  </a:cubicBezTo>
                  <a:cubicBezTo>
                    <a:pt x="113121" y="466684"/>
                    <a:pt x="115324" y="456213"/>
                    <a:pt x="118009" y="445794"/>
                  </a:cubicBezTo>
                  <a:cubicBezTo>
                    <a:pt x="148573" y="328025"/>
                    <a:pt x="238490" y="241457"/>
                    <a:pt x="347421" y="209665"/>
                  </a:cubicBezTo>
                  <a:cubicBezTo>
                    <a:pt x="336034" y="115418"/>
                    <a:pt x="268247" y="33038"/>
                    <a:pt x="170542" y="7691"/>
                  </a:cubicBezTo>
                  <a:close/>
                </a:path>
              </a:pathLst>
            </a:custGeom>
            <a:solidFill>
              <a:srgbClr val="1B6CFF">
                <a:alpha val="20000"/>
              </a:srgbClr>
            </a:solidFill>
            <a:ln w="5371"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D895EEE8-FF85-7216-E1D3-A064CC954F9F}"/>
              </a:ext>
            </a:extLst>
          </p:cNvPr>
          <p:cNvSpPr>
            <a:spLocks noGrp="1"/>
          </p:cNvSpPr>
          <p:nvPr>
            <p:ph type="ctrTitle"/>
          </p:nvPr>
        </p:nvSpPr>
        <p:spPr>
          <a:xfrm>
            <a:off x="303433" y="1671001"/>
            <a:ext cx="5613180" cy="1368591"/>
          </a:xfrm>
        </p:spPr>
        <p:txBody>
          <a:bodyPr anchor="t" anchorCtr="0"/>
          <a:lstStyle>
            <a:lvl1pPr algn="l">
              <a:lnSpc>
                <a:spcPct val="85000"/>
              </a:lnSpc>
              <a:defRPr sz="5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7678E90-F782-C178-A610-A05D0932347C}"/>
              </a:ext>
            </a:extLst>
          </p:cNvPr>
          <p:cNvSpPr>
            <a:spLocks noGrp="1"/>
          </p:cNvSpPr>
          <p:nvPr>
            <p:ph type="subTitle" idx="1"/>
          </p:nvPr>
        </p:nvSpPr>
        <p:spPr>
          <a:xfrm>
            <a:off x="322351" y="3028174"/>
            <a:ext cx="4867658" cy="394520"/>
          </a:xfrm>
        </p:spPr>
        <p:txBody>
          <a:bodyPr anchor="t" anchorCtr="0"/>
          <a:lstStyle>
            <a:lvl1pPr marL="0" indent="0" algn="l">
              <a:buNone/>
              <a:defRPr sz="2100" b="1" i="0">
                <a:solidFill>
                  <a:schemeClr val="tx1"/>
                </a:solidFill>
                <a:latin typeface="Aptos" panose="020B00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Graphic 11">
            <a:extLst>
              <a:ext uri="{FF2B5EF4-FFF2-40B4-BE49-F238E27FC236}">
                <a16:creationId xmlns:a16="http://schemas.microsoft.com/office/drawing/2014/main" id="{83D02543-3DAC-3F99-23B0-72212C55E25E}"/>
              </a:ext>
            </a:extLst>
          </p:cNvPr>
          <p:cNvSpPr/>
          <p:nvPr/>
        </p:nvSpPr>
        <p:spPr>
          <a:xfrm>
            <a:off x="334963" y="382312"/>
            <a:ext cx="1094377" cy="450106"/>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p>
        </p:txBody>
      </p:sp>
      <p:sp>
        <p:nvSpPr>
          <p:cNvPr id="89" name="Freeform 88">
            <a:extLst>
              <a:ext uri="{FF2B5EF4-FFF2-40B4-BE49-F238E27FC236}">
                <a16:creationId xmlns:a16="http://schemas.microsoft.com/office/drawing/2014/main" id="{1448C075-E8DC-10C4-6F56-3623A5990B8E}"/>
              </a:ext>
            </a:extLst>
          </p:cNvPr>
          <p:cNvSpPr/>
          <p:nvPr/>
        </p:nvSpPr>
        <p:spPr>
          <a:xfrm>
            <a:off x="10941742" y="227296"/>
            <a:ext cx="915296" cy="907821"/>
          </a:xfrm>
          <a:custGeom>
            <a:avLst/>
            <a:gdLst>
              <a:gd name="connsiteX0" fmla="*/ 3825502 w 4803292"/>
              <a:gd name="connsiteY0" fmla="*/ 4632114 h 4764066"/>
              <a:gd name="connsiteX1" fmla="*/ 3891547 w 4803292"/>
              <a:gd name="connsiteY1" fmla="*/ 4698050 h 4764066"/>
              <a:gd name="connsiteX2" fmla="*/ 3825502 w 4803292"/>
              <a:gd name="connsiteY2" fmla="*/ 4764066 h 4764066"/>
              <a:gd name="connsiteX3" fmla="*/ 3759537 w 4803292"/>
              <a:gd name="connsiteY3" fmla="*/ 4698050 h 4764066"/>
              <a:gd name="connsiteX4" fmla="*/ 3825502 w 4803292"/>
              <a:gd name="connsiteY4" fmla="*/ 4632114 h 4764066"/>
              <a:gd name="connsiteX5" fmla="*/ 3925010 w 4803292"/>
              <a:gd name="connsiteY5" fmla="*/ 4414517 h 4764066"/>
              <a:gd name="connsiteX6" fmla="*/ 3990895 w 4803292"/>
              <a:gd name="connsiteY6" fmla="*/ 4480453 h 4764066"/>
              <a:gd name="connsiteX7" fmla="*/ 3925010 w 4803292"/>
              <a:gd name="connsiteY7" fmla="*/ 4546710 h 4764066"/>
              <a:gd name="connsiteX8" fmla="*/ 3858965 w 4803292"/>
              <a:gd name="connsiteY8" fmla="*/ 4480453 h 4764066"/>
              <a:gd name="connsiteX9" fmla="*/ 3925010 w 4803292"/>
              <a:gd name="connsiteY9" fmla="*/ 4414517 h 4764066"/>
              <a:gd name="connsiteX10" fmla="*/ 3661709 w 4803292"/>
              <a:gd name="connsiteY10" fmla="*/ 4414517 h 4764066"/>
              <a:gd name="connsiteX11" fmla="*/ 3727595 w 4803292"/>
              <a:gd name="connsiteY11" fmla="*/ 4480453 h 4764066"/>
              <a:gd name="connsiteX12" fmla="*/ 3661709 w 4803292"/>
              <a:gd name="connsiteY12" fmla="*/ 4546710 h 4764066"/>
              <a:gd name="connsiteX13" fmla="*/ 3595664 w 4803292"/>
              <a:gd name="connsiteY13" fmla="*/ 4480453 h 4764066"/>
              <a:gd name="connsiteX14" fmla="*/ 3661709 w 4803292"/>
              <a:gd name="connsiteY14" fmla="*/ 4414517 h 4764066"/>
              <a:gd name="connsiteX15" fmla="*/ 3982170 w 4803292"/>
              <a:gd name="connsiteY15" fmla="*/ 3933336 h 4764066"/>
              <a:gd name="connsiteX16" fmla="*/ 4048055 w 4803292"/>
              <a:gd name="connsiteY16" fmla="*/ 3999352 h 4764066"/>
              <a:gd name="connsiteX17" fmla="*/ 3982170 w 4803292"/>
              <a:gd name="connsiteY17" fmla="*/ 4065288 h 4764066"/>
              <a:gd name="connsiteX18" fmla="*/ 3915964 w 4803292"/>
              <a:gd name="connsiteY18" fmla="*/ 3999352 h 4764066"/>
              <a:gd name="connsiteX19" fmla="*/ 3982170 w 4803292"/>
              <a:gd name="connsiteY19" fmla="*/ 3933336 h 4764066"/>
              <a:gd name="connsiteX20" fmla="*/ 3471579 w 4803292"/>
              <a:gd name="connsiteY20" fmla="*/ 3904333 h 4764066"/>
              <a:gd name="connsiteX21" fmla="*/ 3560680 w 4803292"/>
              <a:gd name="connsiteY21" fmla="*/ 3993503 h 4764066"/>
              <a:gd name="connsiteX22" fmla="*/ 3471579 w 4803292"/>
              <a:gd name="connsiteY22" fmla="*/ 4082753 h 4764066"/>
              <a:gd name="connsiteX23" fmla="*/ 3382558 w 4803292"/>
              <a:gd name="connsiteY23" fmla="*/ 3993503 h 4764066"/>
              <a:gd name="connsiteX24" fmla="*/ 3471579 w 4803292"/>
              <a:gd name="connsiteY24" fmla="*/ 3904333 h 4764066"/>
              <a:gd name="connsiteX25" fmla="*/ 3793560 w 4803292"/>
              <a:gd name="connsiteY25" fmla="*/ 3678564 h 4764066"/>
              <a:gd name="connsiteX26" fmla="*/ 3882661 w 4803292"/>
              <a:gd name="connsiteY26" fmla="*/ 3767975 h 4764066"/>
              <a:gd name="connsiteX27" fmla="*/ 3793560 w 4803292"/>
              <a:gd name="connsiteY27" fmla="*/ 3857145 h 4764066"/>
              <a:gd name="connsiteX28" fmla="*/ 3704379 w 4803292"/>
              <a:gd name="connsiteY28" fmla="*/ 3767975 h 4764066"/>
              <a:gd name="connsiteX29" fmla="*/ 3793560 w 4803292"/>
              <a:gd name="connsiteY29" fmla="*/ 3678564 h 4764066"/>
              <a:gd name="connsiteX30" fmla="*/ 4302789 w 4803292"/>
              <a:gd name="connsiteY30" fmla="*/ 3612387 h 4764066"/>
              <a:gd name="connsiteX31" fmla="*/ 4368674 w 4803292"/>
              <a:gd name="connsiteY31" fmla="*/ 3678323 h 4764066"/>
              <a:gd name="connsiteX32" fmla="*/ 4302789 w 4803292"/>
              <a:gd name="connsiteY32" fmla="*/ 3744580 h 4764066"/>
              <a:gd name="connsiteX33" fmla="*/ 4236744 w 4803292"/>
              <a:gd name="connsiteY33" fmla="*/ 3678323 h 4764066"/>
              <a:gd name="connsiteX34" fmla="*/ 4302789 w 4803292"/>
              <a:gd name="connsiteY34" fmla="*/ 3612387 h 4764066"/>
              <a:gd name="connsiteX35" fmla="*/ 3298021 w 4803292"/>
              <a:gd name="connsiteY35" fmla="*/ 3579620 h 4764066"/>
              <a:gd name="connsiteX36" fmla="*/ 3411218 w 4803292"/>
              <a:gd name="connsiteY36" fmla="*/ 3692745 h 4764066"/>
              <a:gd name="connsiteX37" fmla="*/ 3298021 w 4803292"/>
              <a:gd name="connsiteY37" fmla="*/ 3806190 h 4764066"/>
              <a:gd name="connsiteX38" fmla="*/ 3184823 w 4803292"/>
              <a:gd name="connsiteY38" fmla="*/ 3692745 h 4764066"/>
              <a:gd name="connsiteX39" fmla="*/ 3298021 w 4803292"/>
              <a:gd name="connsiteY39" fmla="*/ 3579620 h 4764066"/>
              <a:gd name="connsiteX40" fmla="*/ 4071430 w 4803292"/>
              <a:gd name="connsiteY40" fmla="*/ 3400478 h 4764066"/>
              <a:gd name="connsiteX41" fmla="*/ 4160611 w 4803292"/>
              <a:gd name="connsiteY41" fmla="*/ 3489648 h 4764066"/>
              <a:gd name="connsiteX42" fmla="*/ 4071430 w 4803292"/>
              <a:gd name="connsiteY42" fmla="*/ 3578898 h 4764066"/>
              <a:gd name="connsiteX43" fmla="*/ 3982249 w 4803292"/>
              <a:gd name="connsiteY43" fmla="*/ 3489648 h 4764066"/>
              <a:gd name="connsiteX44" fmla="*/ 4071430 w 4803292"/>
              <a:gd name="connsiteY44" fmla="*/ 3400478 h 4764066"/>
              <a:gd name="connsiteX45" fmla="*/ 616663 w 4803292"/>
              <a:gd name="connsiteY45" fmla="*/ 3400318 h 4764066"/>
              <a:gd name="connsiteX46" fmla="*/ 705844 w 4803292"/>
              <a:gd name="connsiteY46" fmla="*/ 3489568 h 4764066"/>
              <a:gd name="connsiteX47" fmla="*/ 616663 w 4803292"/>
              <a:gd name="connsiteY47" fmla="*/ 3578738 h 4764066"/>
              <a:gd name="connsiteX48" fmla="*/ 527482 w 4803292"/>
              <a:gd name="connsiteY48" fmla="*/ 3489568 h 4764066"/>
              <a:gd name="connsiteX49" fmla="*/ 616663 w 4803292"/>
              <a:gd name="connsiteY49" fmla="*/ 3400318 h 4764066"/>
              <a:gd name="connsiteX50" fmla="*/ 3570447 w 4803292"/>
              <a:gd name="connsiteY50" fmla="*/ 3388461 h 4764066"/>
              <a:gd name="connsiteX51" fmla="*/ 3683805 w 4803292"/>
              <a:gd name="connsiteY51" fmla="*/ 3501906 h 4764066"/>
              <a:gd name="connsiteX52" fmla="*/ 3570447 w 4803292"/>
              <a:gd name="connsiteY52" fmla="*/ 3615192 h 4764066"/>
              <a:gd name="connsiteX53" fmla="*/ 3457410 w 4803292"/>
              <a:gd name="connsiteY53" fmla="*/ 3501906 h 4764066"/>
              <a:gd name="connsiteX54" fmla="*/ 3570447 w 4803292"/>
              <a:gd name="connsiteY54" fmla="*/ 3388461 h 4764066"/>
              <a:gd name="connsiteX55" fmla="*/ 2878053 w 4803292"/>
              <a:gd name="connsiteY55" fmla="*/ 3376042 h 4764066"/>
              <a:gd name="connsiteX56" fmla="*/ 3009023 w 4803292"/>
              <a:gd name="connsiteY56" fmla="*/ 3507194 h 4764066"/>
              <a:gd name="connsiteX57" fmla="*/ 2878053 w 4803292"/>
              <a:gd name="connsiteY57" fmla="*/ 3638345 h 4764066"/>
              <a:gd name="connsiteX58" fmla="*/ 2746843 w 4803292"/>
              <a:gd name="connsiteY58" fmla="*/ 3507194 h 4764066"/>
              <a:gd name="connsiteX59" fmla="*/ 2878053 w 4803292"/>
              <a:gd name="connsiteY59" fmla="*/ 3376042 h 4764066"/>
              <a:gd name="connsiteX60" fmla="*/ 3124542 w 4803292"/>
              <a:gd name="connsiteY60" fmla="*/ 3260995 h 4764066"/>
              <a:gd name="connsiteX61" fmla="*/ 3255752 w 4803292"/>
              <a:gd name="connsiteY61" fmla="*/ 3392146 h 4764066"/>
              <a:gd name="connsiteX62" fmla="*/ 3124542 w 4803292"/>
              <a:gd name="connsiteY62" fmla="*/ 3523297 h 4764066"/>
              <a:gd name="connsiteX63" fmla="*/ 2993572 w 4803292"/>
              <a:gd name="connsiteY63" fmla="*/ 3392146 h 4764066"/>
              <a:gd name="connsiteX64" fmla="*/ 3124542 w 4803292"/>
              <a:gd name="connsiteY64" fmla="*/ 3260995 h 4764066"/>
              <a:gd name="connsiteX65" fmla="*/ 4562807 w 4803292"/>
              <a:gd name="connsiteY65" fmla="*/ 3240485 h 4764066"/>
              <a:gd name="connsiteX66" fmla="*/ 4628852 w 4803292"/>
              <a:gd name="connsiteY66" fmla="*/ 3306421 h 4764066"/>
              <a:gd name="connsiteX67" fmla="*/ 4562807 w 4803292"/>
              <a:gd name="connsiteY67" fmla="*/ 3372678 h 4764066"/>
              <a:gd name="connsiteX68" fmla="*/ 4496922 w 4803292"/>
              <a:gd name="connsiteY68" fmla="*/ 3306421 h 4764066"/>
              <a:gd name="connsiteX69" fmla="*/ 4562807 w 4803292"/>
              <a:gd name="connsiteY69" fmla="*/ 3240485 h 4764066"/>
              <a:gd name="connsiteX70" fmla="*/ 3805568 w 4803292"/>
              <a:gd name="connsiteY70" fmla="*/ 3153318 h 4764066"/>
              <a:gd name="connsiteX71" fmla="*/ 3918926 w 4803292"/>
              <a:gd name="connsiteY71" fmla="*/ 3266443 h 4764066"/>
              <a:gd name="connsiteX72" fmla="*/ 3805568 w 4803292"/>
              <a:gd name="connsiteY72" fmla="*/ 3379889 h 4764066"/>
              <a:gd name="connsiteX73" fmla="*/ 3692531 w 4803292"/>
              <a:gd name="connsiteY73" fmla="*/ 3266443 h 4764066"/>
              <a:gd name="connsiteX74" fmla="*/ 3805568 w 4803292"/>
              <a:gd name="connsiteY74" fmla="*/ 3153318 h 4764066"/>
              <a:gd name="connsiteX75" fmla="*/ 882365 w 4803292"/>
              <a:gd name="connsiteY75" fmla="*/ 3152997 h 4764066"/>
              <a:gd name="connsiteX76" fmla="*/ 995722 w 4803292"/>
              <a:gd name="connsiteY76" fmla="*/ 3266442 h 4764066"/>
              <a:gd name="connsiteX77" fmla="*/ 882365 w 4803292"/>
              <a:gd name="connsiteY77" fmla="*/ 3379728 h 4764066"/>
              <a:gd name="connsiteX78" fmla="*/ 769327 w 4803292"/>
              <a:gd name="connsiteY78" fmla="*/ 3266442 h 4764066"/>
              <a:gd name="connsiteX79" fmla="*/ 882365 w 4803292"/>
              <a:gd name="connsiteY79" fmla="*/ 3152997 h 4764066"/>
              <a:gd name="connsiteX80" fmla="*/ 3347574 w 4803292"/>
              <a:gd name="connsiteY80" fmla="*/ 3104847 h 4764066"/>
              <a:gd name="connsiteX81" fmla="*/ 3478544 w 4803292"/>
              <a:gd name="connsiteY81" fmla="*/ 3235998 h 4764066"/>
              <a:gd name="connsiteX82" fmla="*/ 3347574 w 4803292"/>
              <a:gd name="connsiteY82" fmla="*/ 3367069 h 4764066"/>
              <a:gd name="connsiteX83" fmla="*/ 3216364 w 4803292"/>
              <a:gd name="connsiteY83" fmla="*/ 3235998 h 4764066"/>
              <a:gd name="connsiteX84" fmla="*/ 3347574 w 4803292"/>
              <a:gd name="connsiteY84" fmla="*/ 3104847 h 4764066"/>
              <a:gd name="connsiteX85" fmla="*/ 1340279 w 4803292"/>
              <a:gd name="connsiteY85" fmla="*/ 3104687 h 4764066"/>
              <a:gd name="connsiteX86" fmla="*/ 1471329 w 4803292"/>
              <a:gd name="connsiteY86" fmla="*/ 3235838 h 4764066"/>
              <a:gd name="connsiteX87" fmla="*/ 1340279 w 4803292"/>
              <a:gd name="connsiteY87" fmla="*/ 3366910 h 4764066"/>
              <a:gd name="connsiteX88" fmla="*/ 1209229 w 4803292"/>
              <a:gd name="connsiteY88" fmla="*/ 3235838 h 4764066"/>
              <a:gd name="connsiteX89" fmla="*/ 1340279 w 4803292"/>
              <a:gd name="connsiteY89" fmla="*/ 3104687 h 4764066"/>
              <a:gd name="connsiteX90" fmla="*/ 4296945 w 4803292"/>
              <a:gd name="connsiteY90" fmla="*/ 3078329 h 4764066"/>
              <a:gd name="connsiteX91" fmla="*/ 4386046 w 4803292"/>
              <a:gd name="connsiteY91" fmla="*/ 3167499 h 4764066"/>
              <a:gd name="connsiteX92" fmla="*/ 4296945 w 4803292"/>
              <a:gd name="connsiteY92" fmla="*/ 3256669 h 4764066"/>
              <a:gd name="connsiteX93" fmla="*/ 4207924 w 4803292"/>
              <a:gd name="connsiteY93" fmla="*/ 3167499 h 4764066"/>
              <a:gd name="connsiteX94" fmla="*/ 4296945 w 4803292"/>
              <a:gd name="connsiteY94" fmla="*/ 3078329 h 4764066"/>
              <a:gd name="connsiteX95" fmla="*/ 391148 w 4803292"/>
              <a:gd name="connsiteY95" fmla="*/ 3078168 h 4764066"/>
              <a:gd name="connsiteX96" fmla="*/ 480329 w 4803292"/>
              <a:gd name="connsiteY96" fmla="*/ 3167258 h 4764066"/>
              <a:gd name="connsiteX97" fmla="*/ 391148 w 4803292"/>
              <a:gd name="connsiteY97" fmla="*/ 3256508 h 4764066"/>
              <a:gd name="connsiteX98" fmla="*/ 302127 w 4803292"/>
              <a:gd name="connsiteY98" fmla="*/ 3167258 h 4764066"/>
              <a:gd name="connsiteX99" fmla="*/ 391148 w 4803292"/>
              <a:gd name="connsiteY99" fmla="*/ 3078168 h 4764066"/>
              <a:gd name="connsiteX100" fmla="*/ 1148227 w 4803292"/>
              <a:gd name="connsiteY100" fmla="*/ 2912647 h 4764066"/>
              <a:gd name="connsiteX101" fmla="*/ 1279437 w 4803292"/>
              <a:gd name="connsiteY101" fmla="*/ 3043798 h 4764066"/>
              <a:gd name="connsiteX102" fmla="*/ 1148227 w 4803292"/>
              <a:gd name="connsiteY102" fmla="*/ 3174869 h 4764066"/>
              <a:gd name="connsiteX103" fmla="*/ 1017257 w 4803292"/>
              <a:gd name="connsiteY103" fmla="*/ 3043798 h 4764066"/>
              <a:gd name="connsiteX104" fmla="*/ 1148227 w 4803292"/>
              <a:gd name="connsiteY104" fmla="*/ 2912647 h 4764066"/>
              <a:gd name="connsiteX105" fmla="*/ 3540026 w 4803292"/>
              <a:gd name="connsiteY105" fmla="*/ 2912086 h 4764066"/>
              <a:gd name="connsiteX106" fmla="*/ 3670996 w 4803292"/>
              <a:gd name="connsiteY106" fmla="*/ 3043237 h 4764066"/>
              <a:gd name="connsiteX107" fmla="*/ 3540026 w 4803292"/>
              <a:gd name="connsiteY107" fmla="*/ 3174388 h 4764066"/>
              <a:gd name="connsiteX108" fmla="*/ 3408816 w 4803292"/>
              <a:gd name="connsiteY108" fmla="*/ 3043237 h 4764066"/>
              <a:gd name="connsiteX109" fmla="*/ 3540026 w 4803292"/>
              <a:gd name="connsiteY109" fmla="*/ 2912086 h 4764066"/>
              <a:gd name="connsiteX110" fmla="*/ 3996499 w 4803292"/>
              <a:gd name="connsiteY110" fmla="*/ 2880680 h 4764066"/>
              <a:gd name="connsiteX111" fmla="*/ 4109696 w 4803292"/>
              <a:gd name="connsiteY111" fmla="*/ 2993805 h 4764066"/>
              <a:gd name="connsiteX112" fmla="*/ 3996499 w 4803292"/>
              <a:gd name="connsiteY112" fmla="*/ 3107250 h 4764066"/>
              <a:gd name="connsiteX113" fmla="*/ 3883301 w 4803292"/>
              <a:gd name="connsiteY113" fmla="*/ 2993805 h 4764066"/>
              <a:gd name="connsiteX114" fmla="*/ 3996499 w 4803292"/>
              <a:gd name="connsiteY114" fmla="*/ 2880680 h 4764066"/>
              <a:gd name="connsiteX115" fmla="*/ 691675 w 4803292"/>
              <a:gd name="connsiteY115" fmla="*/ 2880600 h 4764066"/>
              <a:gd name="connsiteX116" fmla="*/ 804872 w 4803292"/>
              <a:gd name="connsiteY116" fmla="*/ 2993885 h 4764066"/>
              <a:gd name="connsiteX117" fmla="*/ 691675 w 4803292"/>
              <a:gd name="connsiteY117" fmla="*/ 3107170 h 4764066"/>
              <a:gd name="connsiteX118" fmla="*/ 578477 w 4803292"/>
              <a:gd name="connsiteY118" fmla="*/ 2993885 h 4764066"/>
              <a:gd name="connsiteX119" fmla="*/ 691675 w 4803292"/>
              <a:gd name="connsiteY119" fmla="*/ 2880600 h 4764066"/>
              <a:gd name="connsiteX120" fmla="*/ 4737247 w 4803292"/>
              <a:gd name="connsiteY120" fmla="*/ 2846390 h 4764066"/>
              <a:gd name="connsiteX121" fmla="*/ 4803292 w 4803292"/>
              <a:gd name="connsiteY121" fmla="*/ 2912326 h 4764066"/>
              <a:gd name="connsiteX122" fmla="*/ 4737247 w 4803292"/>
              <a:gd name="connsiteY122" fmla="*/ 2978583 h 4764066"/>
              <a:gd name="connsiteX123" fmla="*/ 4671282 w 4803292"/>
              <a:gd name="connsiteY123" fmla="*/ 2912326 h 4764066"/>
              <a:gd name="connsiteX124" fmla="*/ 4737247 w 4803292"/>
              <a:gd name="connsiteY124" fmla="*/ 2846390 h 4764066"/>
              <a:gd name="connsiteX125" fmla="*/ 4463140 w 4803292"/>
              <a:gd name="connsiteY125" fmla="*/ 2721728 h 4764066"/>
              <a:gd name="connsiteX126" fmla="*/ 4552160 w 4803292"/>
              <a:gd name="connsiteY126" fmla="*/ 2810898 h 4764066"/>
              <a:gd name="connsiteX127" fmla="*/ 4463140 w 4803292"/>
              <a:gd name="connsiteY127" fmla="*/ 2900068 h 4764066"/>
              <a:gd name="connsiteX128" fmla="*/ 4373798 w 4803292"/>
              <a:gd name="connsiteY128" fmla="*/ 2810898 h 4764066"/>
              <a:gd name="connsiteX129" fmla="*/ 4463140 w 4803292"/>
              <a:gd name="connsiteY129" fmla="*/ 2721728 h 4764066"/>
              <a:gd name="connsiteX130" fmla="*/ 225114 w 4803292"/>
              <a:gd name="connsiteY130" fmla="*/ 2721728 h 4764066"/>
              <a:gd name="connsiteX131" fmla="*/ 314215 w 4803292"/>
              <a:gd name="connsiteY131" fmla="*/ 2810898 h 4764066"/>
              <a:gd name="connsiteX132" fmla="*/ 225114 w 4803292"/>
              <a:gd name="connsiteY132" fmla="*/ 2900068 h 4764066"/>
              <a:gd name="connsiteX133" fmla="*/ 135933 w 4803292"/>
              <a:gd name="connsiteY133" fmla="*/ 2810898 h 4764066"/>
              <a:gd name="connsiteX134" fmla="*/ 225114 w 4803292"/>
              <a:gd name="connsiteY134" fmla="*/ 2721728 h 4764066"/>
              <a:gd name="connsiteX135" fmla="*/ 3695973 w 4803292"/>
              <a:gd name="connsiteY135" fmla="*/ 2689041 h 4764066"/>
              <a:gd name="connsiteX136" fmla="*/ 3827023 w 4803292"/>
              <a:gd name="connsiteY136" fmla="*/ 2820192 h 4764066"/>
              <a:gd name="connsiteX137" fmla="*/ 3695973 w 4803292"/>
              <a:gd name="connsiteY137" fmla="*/ 2951263 h 4764066"/>
              <a:gd name="connsiteX138" fmla="*/ 3564923 w 4803292"/>
              <a:gd name="connsiteY138" fmla="*/ 2820192 h 4764066"/>
              <a:gd name="connsiteX139" fmla="*/ 3695973 w 4803292"/>
              <a:gd name="connsiteY139" fmla="*/ 2689041 h 4764066"/>
              <a:gd name="connsiteX140" fmla="*/ 992200 w 4803292"/>
              <a:gd name="connsiteY140" fmla="*/ 2689041 h 4764066"/>
              <a:gd name="connsiteX141" fmla="*/ 1123170 w 4803292"/>
              <a:gd name="connsiteY141" fmla="*/ 2820192 h 4764066"/>
              <a:gd name="connsiteX142" fmla="*/ 992200 w 4803292"/>
              <a:gd name="connsiteY142" fmla="*/ 2951264 h 4764066"/>
              <a:gd name="connsiteX143" fmla="*/ 860990 w 4803292"/>
              <a:gd name="connsiteY143" fmla="*/ 2820192 h 4764066"/>
              <a:gd name="connsiteX144" fmla="*/ 992200 w 4803292"/>
              <a:gd name="connsiteY144" fmla="*/ 2689041 h 4764066"/>
              <a:gd name="connsiteX145" fmla="*/ 4137075 w 4803292"/>
              <a:gd name="connsiteY145" fmla="*/ 2579040 h 4764066"/>
              <a:gd name="connsiteX146" fmla="*/ 4250113 w 4803292"/>
              <a:gd name="connsiteY146" fmla="*/ 2692165 h 4764066"/>
              <a:gd name="connsiteX147" fmla="*/ 4137075 w 4803292"/>
              <a:gd name="connsiteY147" fmla="*/ 2805450 h 4764066"/>
              <a:gd name="connsiteX148" fmla="*/ 4023718 w 4803292"/>
              <a:gd name="connsiteY148" fmla="*/ 2692165 h 4764066"/>
              <a:gd name="connsiteX149" fmla="*/ 4137075 w 4803292"/>
              <a:gd name="connsiteY149" fmla="*/ 2579040 h 4764066"/>
              <a:gd name="connsiteX150" fmla="*/ 551018 w 4803292"/>
              <a:gd name="connsiteY150" fmla="*/ 2578880 h 4764066"/>
              <a:gd name="connsiteX151" fmla="*/ 664375 w 4803292"/>
              <a:gd name="connsiteY151" fmla="*/ 2692005 h 4764066"/>
              <a:gd name="connsiteX152" fmla="*/ 551018 w 4803292"/>
              <a:gd name="connsiteY152" fmla="*/ 2805450 h 4764066"/>
              <a:gd name="connsiteX153" fmla="*/ 437980 w 4803292"/>
              <a:gd name="connsiteY153" fmla="*/ 2692005 h 4764066"/>
              <a:gd name="connsiteX154" fmla="*/ 551018 w 4803292"/>
              <a:gd name="connsiteY154" fmla="*/ 2578880 h 4764066"/>
              <a:gd name="connsiteX155" fmla="*/ 3811092 w 4803292"/>
              <a:gd name="connsiteY155" fmla="*/ 2442281 h 4764066"/>
              <a:gd name="connsiteX156" fmla="*/ 3942062 w 4803292"/>
              <a:gd name="connsiteY156" fmla="*/ 2573432 h 4764066"/>
              <a:gd name="connsiteX157" fmla="*/ 3811092 w 4803292"/>
              <a:gd name="connsiteY157" fmla="*/ 2704583 h 4764066"/>
              <a:gd name="connsiteX158" fmla="*/ 3679882 w 4803292"/>
              <a:gd name="connsiteY158" fmla="*/ 2573432 h 4764066"/>
              <a:gd name="connsiteX159" fmla="*/ 3811092 w 4803292"/>
              <a:gd name="connsiteY159" fmla="*/ 2442281 h 4764066"/>
              <a:gd name="connsiteX160" fmla="*/ 877161 w 4803292"/>
              <a:gd name="connsiteY160" fmla="*/ 2442201 h 4764066"/>
              <a:gd name="connsiteX161" fmla="*/ 1008211 w 4803292"/>
              <a:gd name="connsiteY161" fmla="*/ 2573352 h 4764066"/>
              <a:gd name="connsiteX162" fmla="*/ 877161 w 4803292"/>
              <a:gd name="connsiteY162" fmla="*/ 2704503 h 4764066"/>
              <a:gd name="connsiteX163" fmla="*/ 745951 w 4803292"/>
              <a:gd name="connsiteY163" fmla="*/ 2573352 h 4764066"/>
              <a:gd name="connsiteX164" fmla="*/ 877161 w 4803292"/>
              <a:gd name="connsiteY164" fmla="*/ 2442201 h 4764066"/>
              <a:gd name="connsiteX165" fmla="*/ 4564809 w 4803292"/>
              <a:gd name="connsiteY165" fmla="*/ 2341975 h 4764066"/>
              <a:gd name="connsiteX166" fmla="*/ 4653910 w 4803292"/>
              <a:gd name="connsiteY166" fmla="*/ 2431145 h 4764066"/>
              <a:gd name="connsiteX167" fmla="*/ 4564809 w 4803292"/>
              <a:gd name="connsiteY167" fmla="*/ 2520315 h 4764066"/>
              <a:gd name="connsiteX168" fmla="*/ 4475628 w 4803292"/>
              <a:gd name="connsiteY168" fmla="*/ 2431145 h 4764066"/>
              <a:gd name="connsiteX169" fmla="*/ 4564809 w 4803292"/>
              <a:gd name="connsiteY169" fmla="*/ 2341975 h 4764066"/>
              <a:gd name="connsiteX170" fmla="*/ 123365 w 4803292"/>
              <a:gd name="connsiteY170" fmla="*/ 2341975 h 4764066"/>
              <a:gd name="connsiteX171" fmla="*/ 212466 w 4803292"/>
              <a:gd name="connsiteY171" fmla="*/ 2431145 h 4764066"/>
              <a:gd name="connsiteX172" fmla="*/ 123365 w 4803292"/>
              <a:gd name="connsiteY172" fmla="*/ 2520315 h 4764066"/>
              <a:gd name="connsiteX173" fmla="*/ 34184 w 4803292"/>
              <a:gd name="connsiteY173" fmla="*/ 2431145 h 4764066"/>
              <a:gd name="connsiteX174" fmla="*/ 123365 w 4803292"/>
              <a:gd name="connsiteY174" fmla="*/ 2341975 h 4764066"/>
              <a:gd name="connsiteX175" fmla="*/ 4223054 w 4803292"/>
              <a:gd name="connsiteY175" fmla="*/ 2257692 h 4764066"/>
              <a:gd name="connsiteX176" fmla="*/ 4336252 w 4803292"/>
              <a:gd name="connsiteY176" fmla="*/ 2370897 h 4764066"/>
              <a:gd name="connsiteX177" fmla="*/ 4223054 w 4803292"/>
              <a:gd name="connsiteY177" fmla="*/ 2484262 h 4764066"/>
              <a:gd name="connsiteX178" fmla="*/ 4109857 w 4803292"/>
              <a:gd name="connsiteY178" fmla="*/ 2370897 h 4764066"/>
              <a:gd name="connsiteX179" fmla="*/ 4223054 w 4803292"/>
              <a:gd name="connsiteY179" fmla="*/ 2257692 h 4764066"/>
              <a:gd name="connsiteX180" fmla="*/ 464959 w 4803292"/>
              <a:gd name="connsiteY180" fmla="*/ 2257452 h 4764066"/>
              <a:gd name="connsiteX181" fmla="*/ 578156 w 4803292"/>
              <a:gd name="connsiteY181" fmla="*/ 2370817 h 4764066"/>
              <a:gd name="connsiteX182" fmla="*/ 464959 w 4803292"/>
              <a:gd name="connsiteY182" fmla="*/ 2484183 h 4764066"/>
              <a:gd name="connsiteX183" fmla="*/ 351921 w 4803292"/>
              <a:gd name="connsiteY183" fmla="*/ 2370817 h 4764066"/>
              <a:gd name="connsiteX184" fmla="*/ 464959 w 4803292"/>
              <a:gd name="connsiteY184" fmla="*/ 2257452 h 4764066"/>
              <a:gd name="connsiteX185" fmla="*/ 3881460 w 4803292"/>
              <a:gd name="connsiteY185" fmla="*/ 2179498 h 4764066"/>
              <a:gd name="connsiteX186" fmla="*/ 4012510 w 4803292"/>
              <a:gd name="connsiteY186" fmla="*/ 2310569 h 4764066"/>
              <a:gd name="connsiteX187" fmla="*/ 3881460 w 4803292"/>
              <a:gd name="connsiteY187" fmla="*/ 2441800 h 4764066"/>
              <a:gd name="connsiteX188" fmla="*/ 3750330 w 4803292"/>
              <a:gd name="connsiteY188" fmla="*/ 2310569 h 4764066"/>
              <a:gd name="connsiteX189" fmla="*/ 3881460 w 4803292"/>
              <a:gd name="connsiteY189" fmla="*/ 2179498 h 4764066"/>
              <a:gd name="connsiteX190" fmla="*/ 806713 w 4803292"/>
              <a:gd name="connsiteY190" fmla="*/ 2179498 h 4764066"/>
              <a:gd name="connsiteX191" fmla="*/ 937763 w 4803292"/>
              <a:gd name="connsiteY191" fmla="*/ 2310569 h 4764066"/>
              <a:gd name="connsiteX192" fmla="*/ 806713 w 4803292"/>
              <a:gd name="connsiteY192" fmla="*/ 2441800 h 4764066"/>
              <a:gd name="connsiteX193" fmla="*/ 675583 w 4803292"/>
              <a:gd name="connsiteY193" fmla="*/ 2310569 h 4764066"/>
              <a:gd name="connsiteX194" fmla="*/ 806713 w 4803292"/>
              <a:gd name="connsiteY194" fmla="*/ 2179498 h 4764066"/>
              <a:gd name="connsiteX195" fmla="*/ 89181 w 4803292"/>
              <a:gd name="connsiteY195" fmla="*/ 1950284 h 4764066"/>
              <a:gd name="connsiteX196" fmla="*/ 178282 w 4803292"/>
              <a:gd name="connsiteY196" fmla="*/ 2039454 h 4764066"/>
              <a:gd name="connsiteX197" fmla="*/ 89181 w 4803292"/>
              <a:gd name="connsiteY197" fmla="*/ 2128624 h 4764066"/>
              <a:gd name="connsiteX198" fmla="*/ 0 w 4803292"/>
              <a:gd name="connsiteY198" fmla="*/ 2039454 h 4764066"/>
              <a:gd name="connsiteX199" fmla="*/ 89181 w 4803292"/>
              <a:gd name="connsiteY199" fmla="*/ 1950284 h 4764066"/>
              <a:gd name="connsiteX200" fmla="*/ 4597391 w 4803292"/>
              <a:gd name="connsiteY200" fmla="*/ 1950204 h 4764066"/>
              <a:gd name="connsiteX201" fmla="*/ 4686492 w 4803292"/>
              <a:gd name="connsiteY201" fmla="*/ 2039374 h 4764066"/>
              <a:gd name="connsiteX202" fmla="*/ 4597391 w 4803292"/>
              <a:gd name="connsiteY202" fmla="*/ 2128544 h 4764066"/>
              <a:gd name="connsiteX203" fmla="*/ 4508050 w 4803292"/>
              <a:gd name="connsiteY203" fmla="*/ 2039374 h 4764066"/>
              <a:gd name="connsiteX204" fmla="*/ 4597391 w 4803292"/>
              <a:gd name="connsiteY204" fmla="*/ 1950204 h 4764066"/>
              <a:gd name="connsiteX205" fmla="*/ 4252194 w 4803292"/>
              <a:gd name="connsiteY205" fmla="*/ 1926169 h 4764066"/>
              <a:gd name="connsiteX206" fmla="*/ 4365232 w 4803292"/>
              <a:gd name="connsiteY206" fmla="*/ 2039534 h 4764066"/>
              <a:gd name="connsiteX207" fmla="*/ 4252194 w 4803292"/>
              <a:gd name="connsiteY207" fmla="*/ 2152900 h 4764066"/>
              <a:gd name="connsiteX208" fmla="*/ 4138837 w 4803292"/>
              <a:gd name="connsiteY208" fmla="*/ 2039534 h 4764066"/>
              <a:gd name="connsiteX209" fmla="*/ 4252194 w 4803292"/>
              <a:gd name="connsiteY209" fmla="*/ 1926169 h 4764066"/>
              <a:gd name="connsiteX210" fmla="*/ 436060 w 4803292"/>
              <a:gd name="connsiteY210" fmla="*/ 1926088 h 4764066"/>
              <a:gd name="connsiteX211" fmla="*/ 549257 w 4803292"/>
              <a:gd name="connsiteY211" fmla="*/ 2039454 h 4764066"/>
              <a:gd name="connsiteX212" fmla="*/ 436060 w 4803292"/>
              <a:gd name="connsiteY212" fmla="*/ 2152819 h 4764066"/>
              <a:gd name="connsiteX213" fmla="*/ 322862 w 4803292"/>
              <a:gd name="connsiteY213" fmla="*/ 2039454 h 4764066"/>
              <a:gd name="connsiteX214" fmla="*/ 436060 w 4803292"/>
              <a:gd name="connsiteY214" fmla="*/ 1926088 h 4764066"/>
              <a:gd name="connsiteX215" fmla="*/ 3905237 w 4803292"/>
              <a:gd name="connsiteY215" fmla="*/ 1908383 h 4764066"/>
              <a:gd name="connsiteX216" fmla="*/ 4036287 w 4803292"/>
              <a:gd name="connsiteY216" fmla="*/ 2039534 h 4764066"/>
              <a:gd name="connsiteX217" fmla="*/ 3905237 w 4803292"/>
              <a:gd name="connsiteY217" fmla="*/ 2170685 h 4764066"/>
              <a:gd name="connsiteX218" fmla="*/ 3774107 w 4803292"/>
              <a:gd name="connsiteY218" fmla="*/ 2039534 h 4764066"/>
              <a:gd name="connsiteX219" fmla="*/ 3905237 w 4803292"/>
              <a:gd name="connsiteY219" fmla="*/ 1908383 h 4764066"/>
              <a:gd name="connsiteX220" fmla="*/ 783097 w 4803292"/>
              <a:gd name="connsiteY220" fmla="*/ 1908383 h 4764066"/>
              <a:gd name="connsiteX221" fmla="*/ 914067 w 4803292"/>
              <a:gd name="connsiteY221" fmla="*/ 2039534 h 4764066"/>
              <a:gd name="connsiteX222" fmla="*/ 783097 w 4803292"/>
              <a:gd name="connsiteY222" fmla="*/ 2170685 h 4764066"/>
              <a:gd name="connsiteX223" fmla="*/ 651887 w 4803292"/>
              <a:gd name="connsiteY223" fmla="*/ 2039534 h 4764066"/>
              <a:gd name="connsiteX224" fmla="*/ 783097 w 4803292"/>
              <a:gd name="connsiteY224" fmla="*/ 1908383 h 4764066"/>
              <a:gd name="connsiteX225" fmla="*/ 3881460 w 4803292"/>
              <a:gd name="connsiteY225" fmla="*/ 1637027 h 4764066"/>
              <a:gd name="connsiteX226" fmla="*/ 4012510 w 4803292"/>
              <a:gd name="connsiteY226" fmla="*/ 1768178 h 4764066"/>
              <a:gd name="connsiteX227" fmla="*/ 3881460 w 4803292"/>
              <a:gd name="connsiteY227" fmla="*/ 1899329 h 4764066"/>
              <a:gd name="connsiteX228" fmla="*/ 3750330 w 4803292"/>
              <a:gd name="connsiteY228" fmla="*/ 1768178 h 4764066"/>
              <a:gd name="connsiteX229" fmla="*/ 3881460 w 4803292"/>
              <a:gd name="connsiteY229" fmla="*/ 1637027 h 4764066"/>
              <a:gd name="connsiteX230" fmla="*/ 806633 w 4803292"/>
              <a:gd name="connsiteY230" fmla="*/ 1637027 h 4764066"/>
              <a:gd name="connsiteX231" fmla="*/ 937683 w 4803292"/>
              <a:gd name="connsiteY231" fmla="*/ 1768178 h 4764066"/>
              <a:gd name="connsiteX232" fmla="*/ 806633 w 4803292"/>
              <a:gd name="connsiteY232" fmla="*/ 1899329 h 4764066"/>
              <a:gd name="connsiteX233" fmla="*/ 675503 w 4803292"/>
              <a:gd name="connsiteY233" fmla="*/ 1768178 h 4764066"/>
              <a:gd name="connsiteX234" fmla="*/ 806633 w 4803292"/>
              <a:gd name="connsiteY234" fmla="*/ 1637027 h 4764066"/>
              <a:gd name="connsiteX235" fmla="*/ 4222975 w 4803292"/>
              <a:gd name="connsiteY235" fmla="*/ 1594645 h 4764066"/>
              <a:gd name="connsiteX236" fmla="*/ 4336172 w 4803292"/>
              <a:gd name="connsiteY236" fmla="*/ 1707850 h 4764066"/>
              <a:gd name="connsiteX237" fmla="*/ 4222975 w 4803292"/>
              <a:gd name="connsiteY237" fmla="*/ 1821215 h 4764066"/>
              <a:gd name="connsiteX238" fmla="*/ 4109777 w 4803292"/>
              <a:gd name="connsiteY238" fmla="*/ 1707850 h 4764066"/>
              <a:gd name="connsiteX239" fmla="*/ 4222975 w 4803292"/>
              <a:gd name="connsiteY239" fmla="*/ 1594645 h 4764066"/>
              <a:gd name="connsiteX240" fmla="*/ 464959 w 4803292"/>
              <a:gd name="connsiteY240" fmla="*/ 1594645 h 4764066"/>
              <a:gd name="connsiteX241" fmla="*/ 578156 w 4803292"/>
              <a:gd name="connsiteY241" fmla="*/ 1707850 h 4764066"/>
              <a:gd name="connsiteX242" fmla="*/ 464959 w 4803292"/>
              <a:gd name="connsiteY242" fmla="*/ 1821215 h 4764066"/>
              <a:gd name="connsiteX243" fmla="*/ 351921 w 4803292"/>
              <a:gd name="connsiteY243" fmla="*/ 1707850 h 4764066"/>
              <a:gd name="connsiteX244" fmla="*/ 464959 w 4803292"/>
              <a:gd name="connsiteY244" fmla="*/ 1594645 h 4764066"/>
              <a:gd name="connsiteX245" fmla="*/ 123365 w 4803292"/>
              <a:gd name="connsiteY245" fmla="*/ 1558432 h 4764066"/>
              <a:gd name="connsiteX246" fmla="*/ 212466 w 4803292"/>
              <a:gd name="connsiteY246" fmla="*/ 1647602 h 4764066"/>
              <a:gd name="connsiteX247" fmla="*/ 123365 w 4803292"/>
              <a:gd name="connsiteY247" fmla="*/ 1736772 h 4764066"/>
              <a:gd name="connsiteX248" fmla="*/ 34184 w 4803292"/>
              <a:gd name="connsiteY248" fmla="*/ 1647602 h 4764066"/>
              <a:gd name="connsiteX249" fmla="*/ 123365 w 4803292"/>
              <a:gd name="connsiteY249" fmla="*/ 1558432 h 4764066"/>
              <a:gd name="connsiteX250" fmla="*/ 2354654 w 4803292"/>
              <a:gd name="connsiteY250" fmla="*/ 1508840 h 4764066"/>
              <a:gd name="connsiteX251" fmla="*/ 2878293 w 4803292"/>
              <a:gd name="connsiteY251" fmla="*/ 2032884 h 4764066"/>
              <a:gd name="connsiteX252" fmla="*/ 2354654 w 4803292"/>
              <a:gd name="connsiteY252" fmla="*/ 2556928 h 4764066"/>
              <a:gd name="connsiteX253" fmla="*/ 1831015 w 4803292"/>
              <a:gd name="connsiteY253" fmla="*/ 2032884 h 4764066"/>
              <a:gd name="connsiteX254" fmla="*/ 2354654 w 4803292"/>
              <a:gd name="connsiteY254" fmla="*/ 1508840 h 4764066"/>
              <a:gd name="connsiteX255" fmla="*/ 3811092 w 4803292"/>
              <a:gd name="connsiteY255" fmla="*/ 1374003 h 4764066"/>
              <a:gd name="connsiteX256" fmla="*/ 3942142 w 4803292"/>
              <a:gd name="connsiteY256" fmla="*/ 1505074 h 4764066"/>
              <a:gd name="connsiteX257" fmla="*/ 3811092 w 4803292"/>
              <a:gd name="connsiteY257" fmla="*/ 1636306 h 4764066"/>
              <a:gd name="connsiteX258" fmla="*/ 3679962 w 4803292"/>
              <a:gd name="connsiteY258" fmla="*/ 1505074 h 4764066"/>
              <a:gd name="connsiteX259" fmla="*/ 3811092 w 4803292"/>
              <a:gd name="connsiteY259" fmla="*/ 1374003 h 4764066"/>
              <a:gd name="connsiteX260" fmla="*/ 877161 w 4803292"/>
              <a:gd name="connsiteY260" fmla="*/ 1374003 h 4764066"/>
              <a:gd name="connsiteX261" fmla="*/ 1008211 w 4803292"/>
              <a:gd name="connsiteY261" fmla="*/ 1505074 h 4764066"/>
              <a:gd name="connsiteX262" fmla="*/ 877161 w 4803292"/>
              <a:gd name="connsiteY262" fmla="*/ 1636306 h 4764066"/>
              <a:gd name="connsiteX263" fmla="*/ 745951 w 4803292"/>
              <a:gd name="connsiteY263" fmla="*/ 1505074 h 4764066"/>
              <a:gd name="connsiteX264" fmla="*/ 877161 w 4803292"/>
              <a:gd name="connsiteY264" fmla="*/ 1374003 h 4764066"/>
              <a:gd name="connsiteX265" fmla="*/ 2232810 w 4803292"/>
              <a:gd name="connsiteY265" fmla="*/ 1301498 h 4764066"/>
              <a:gd name="connsiteX266" fmla="*/ 2098078 w 4803292"/>
              <a:gd name="connsiteY266" fmla="*/ 1401804 h 4764066"/>
              <a:gd name="connsiteX267" fmla="*/ 2001611 w 4803292"/>
              <a:gd name="connsiteY267" fmla="*/ 1363027 h 4764066"/>
              <a:gd name="connsiteX268" fmla="*/ 2004734 w 4803292"/>
              <a:gd name="connsiteY268" fmla="*/ 1378650 h 4764066"/>
              <a:gd name="connsiteX269" fmla="*/ 1861195 w 4803292"/>
              <a:gd name="connsiteY269" fmla="*/ 1522220 h 4764066"/>
              <a:gd name="connsiteX270" fmla="*/ 1814443 w 4803292"/>
              <a:gd name="connsiteY270" fmla="*/ 1514288 h 4764066"/>
              <a:gd name="connsiteX271" fmla="*/ 1817806 w 4803292"/>
              <a:gd name="connsiteY271" fmla="*/ 1544973 h 4764066"/>
              <a:gd name="connsiteX272" fmla="*/ 1686356 w 4803292"/>
              <a:gd name="connsiteY272" fmla="*/ 1687901 h 4764066"/>
              <a:gd name="connsiteX273" fmla="*/ 1718057 w 4803292"/>
              <a:gd name="connsiteY273" fmla="*/ 1777712 h 4764066"/>
              <a:gd name="connsiteX274" fmla="*/ 1595974 w 4803292"/>
              <a:gd name="connsiteY274" fmla="*/ 1916955 h 4764066"/>
              <a:gd name="connsiteX275" fmla="*/ 1668663 w 4803292"/>
              <a:gd name="connsiteY275" fmla="*/ 2039374 h 4764066"/>
              <a:gd name="connsiteX276" fmla="*/ 1595974 w 4803292"/>
              <a:gd name="connsiteY276" fmla="*/ 2161712 h 4764066"/>
              <a:gd name="connsiteX277" fmla="*/ 1718057 w 4803292"/>
              <a:gd name="connsiteY277" fmla="*/ 2300955 h 4764066"/>
              <a:gd name="connsiteX278" fmla="*/ 1683153 w 4803292"/>
              <a:gd name="connsiteY278" fmla="*/ 2391888 h 4764066"/>
              <a:gd name="connsiteX279" fmla="*/ 1817806 w 4803292"/>
              <a:gd name="connsiteY279" fmla="*/ 2533614 h 4764066"/>
              <a:gd name="connsiteX280" fmla="*/ 1811241 w 4803292"/>
              <a:gd name="connsiteY280" fmla="*/ 2566542 h 4764066"/>
              <a:gd name="connsiteX281" fmla="*/ 1861195 w 4803292"/>
              <a:gd name="connsiteY281" fmla="*/ 2556448 h 4764066"/>
              <a:gd name="connsiteX282" fmla="*/ 2004734 w 4803292"/>
              <a:gd name="connsiteY282" fmla="*/ 2700097 h 4764066"/>
              <a:gd name="connsiteX283" fmla="*/ 2001611 w 4803292"/>
              <a:gd name="connsiteY283" fmla="*/ 2715800 h 4764066"/>
              <a:gd name="connsiteX284" fmla="*/ 2098078 w 4803292"/>
              <a:gd name="connsiteY284" fmla="*/ 2677184 h 4764066"/>
              <a:gd name="connsiteX285" fmla="*/ 2232810 w 4803292"/>
              <a:gd name="connsiteY285" fmla="*/ 2777250 h 4764066"/>
              <a:gd name="connsiteX286" fmla="*/ 2344006 w 4803292"/>
              <a:gd name="connsiteY286" fmla="*/ 2720847 h 4764066"/>
              <a:gd name="connsiteX287" fmla="*/ 2455202 w 4803292"/>
              <a:gd name="connsiteY287" fmla="*/ 2777330 h 4764066"/>
              <a:gd name="connsiteX288" fmla="*/ 2589855 w 4803292"/>
              <a:gd name="connsiteY288" fmla="*/ 2677104 h 4764066"/>
              <a:gd name="connsiteX289" fmla="*/ 2686401 w 4803292"/>
              <a:gd name="connsiteY289" fmla="*/ 2715720 h 4764066"/>
              <a:gd name="connsiteX290" fmla="*/ 2683119 w 4803292"/>
              <a:gd name="connsiteY290" fmla="*/ 2700017 h 4764066"/>
              <a:gd name="connsiteX291" fmla="*/ 2826737 w 4803292"/>
              <a:gd name="connsiteY291" fmla="*/ 2556528 h 4764066"/>
              <a:gd name="connsiteX292" fmla="*/ 2876771 w 4803292"/>
              <a:gd name="connsiteY292" fmla="*/ 2566623 h 4764066"/>
              <a:gd name="connsiteX293" fmla="*/ 2870207 w 4803292"/>
              <a:gd name="connsiteY293" fmla="*/ 2533694 h 4764066"/>
              <a:gd name="connsiteX294" fmla="*/ 3004859 w 4803292"/>
              <a:gd name="connsiteY294" fmla="*/ 2391968 h 4764066"/>
              <a:gd name="connsiteX295" fmla="*/ 2969795 w 4803292"/>
              <a:gd name="connsiteY295" fmla="*/ 2301035 h 4764066"/>
              <a:gd name="connsiteX296" fmla="*/ 3092039 w 4803292"/>
              <a:gd name="connsiteY296" fmla="*/ 2161792 h 4764066"/>
              <a:gd name="connsiteX297" fmla="*/ 3019109 w 4803292"/>
              <a:gd name="connsiteY297" fmla="*/ 2039454 h 4764066"/>
              <a:gd name="connsiteX298" fmla="*/ 3092039 w 4803292"/>
              <a:gd name="connsiteY298" fmla="*/ 1917035 h 4764066"/>
              <a:gd name="connsiteX299" fmla="*/ 2969795 w 4803292"/>
              <a:gd name="connsiteY299" fmla="*/ 1777792 h 4764066"/>
              <a:gd name="connsiteX300" fmla="*/ 3004859 w 4803292"/>
              <a:gd name="connsiteY300" fmla="*/ 1686860 h 4764066"/>
              <a:gd name="connsiteX301" fmla="*/ 2870207 w 4803292"/>
              <a:gd name="connsiteY301" fmla="*/ 1545053 h 4764066"/>
              <a:gd name="connsiteX302" fmla="*/ 2876771 w 4803292"/>
              <a:gd name="connsiteY302" fmla="*/ 1512205 h 4764066"/>
              <a:gd name="connsiteX303" fmla="*/ 2826737 w 4803292"/>
              <a:gd name="connsiteY303" fmla="*/ 1522220 h 4764066"/>
              <a:gd name="connsiteX304" fmla="*/ 2683119 w 4803292"/>
              <a:gd name="connsiteY304" fmla="*/ 1378650 h 4764066"/>
              <a:gd name="connsiteX305" fmla="*/ 2686401 w 4803292"/>
              <a:gd name="connsiteY305" fmla="*/ 1363027 h 4764066"/>
              <a:gd name="connsiteX306" fmla="*/ 2589855 w 4803292"/>
              <a:gd name="connsiteY306" fmla="*/ 1401804 h 4764066"/>
              <a:gd name="connsiteX307" fmla="*/ 2455202 w 4803292"/>
              <a:gd name="connsiteY307" fmla="*/ 1301578 h 4764066"/>
              <a:gd name="connsiteX308" fmla="*/ 2344006 w 4803292"/>
              <a:gd name="connsiteY308" fmla="*/ 1357900 h 4764066"/>
              <a:gd name="connsiteX309" fmla="*/ 2232810 w 4803292"/>
              <a:gd name="connsiteY309" fmla="*/ 1301498 h 4764066"/>
              <a:gd name="connsiteX310" fmla="*/ 551018 w 4803292"/>
              <a:gd name="connsiteY310" fmla="*/ 1273136 h 4764066"/>
              <a:gd name="connsiteX311" fmla="*/ 664375 w 4803292"/>
              <a:gd name="connsiteY311" fmla="*/ 1386502 h 4764066"/>
              <a:gd name="connsiteX312" fmla="*/ 551018 w 4803292"/>
              <a:gd name="connsiteY312" fmla="*/ 1499787 h 4764066"/>
              <a:gd name="connsiteX313" fmla="*/ 437980 w 4803292"/>
              <a:gd name="connsiteY313" fmla="*/ 1386502 h 4764066"/>
              <a:gd name="connsiteX314" fmla="*/ 551018 w 4803292"/>
              <a:gd name="connsiteY314" fmla="*/ 1273136 h 4764066"/>
              <a:gd name="connsiteX315" fmla="*/ 4137076 w 4803292"/>
              <a:gd name="connsiteY315" fmla="*/ 1273056 h 4764066"/>
              <a:gd name="connsiteX316" fmla="*/ 4250273 w 4803292"/>
              <a:gd name="connsiteY316" fmla="*/ 1386261 h 4764066"/>
              <a:gd name="connsiteX317" fmla="*/ 4137076 w 4803292"/>
              <a:gd name="connsiteY317" fmla="*/ 1499626 h 4764066"/>
              <a:gd name="connsiteX318" fmla="*/ 4023878 w 4803292"/>
              <a:gd name="connsiteY318" fmla="*/ 1386261 h 4764066"/>
              <a:gd name="connsiteX319" fmla="*/ 4137076 w 4803292"/>
              <a:gd name="connsiteY319" fmla="*/ 1273056 h 4764066"/>
              <a:gd name="connsiteX320" fmla="*/ 3694852 w 4803292"/>
              <a:gd name="connsiteY320" fmla="*/ 1127163 h 4764066"/>
              <a:gd name="connsiteX321" fmla="*/ 3825821 w 4803292"/>
              <a:gd name="connsiteY321" fmla="*/ 1258314 h 4764066"/>
              <a:gd name="connsiteX322" fmla="*/ 3694852 w 4803292"/>
              <a:gd name="connsiteY322" fmla="*/ 1389546 h 4764066"/>
              <a:gd name="connsiteX323" fmla="*/ 3563802 w 4803292"/>
              <a:gd name="connsiteY323" fmla="*/ 1258314 h 4764066"/>
              <a:gd name="connsiteX324" fmla="*/ 3694852 w 4803292"/>
              <a:gd name="connsiteY324" fmla="*/ 1127163 h 4764066"/>
              <a:gd name="connsiteX325" fmla="*/ 992120 w 4803292"/>
              <a:gd name="connsiteY325" fmla="*/ 1127163 h 4764066"/>
              <a:gd name="connsiteX326" fmla="*/ 1123090 w 4803292"/>
              <a:gd name="connsiteY326" fmla="*/ 1258314 h 4764066"/>
              <a:gd name="connsiteX327" fmla="*/ 992120 w 4803292"/>
              <a:gd name="connsiteY327" fmla="*/ 1389546 h 4764066"/>
              <a:gd name="connsiteX328" fmla="*/ 860910 w 4803292"/>
              <a:gd name="connsiteY328" fmla="*/ 1258314 h 4764066"/>
              <a:gd name="connsiteX329" fmla="*/ 992120 w 4803292"/>
              <a:gd name="connsiteY329" fmla="*/ 1127163 h 4764066"/>
              <a:gd name="connsiteX330" fmla="*/ 2344006 w 4803292"/>
              <a:gd name="connsiteY330" fmla="*/ 1070601 h 4764066"/>
              <a:gd name="connsiteX331" fmla="*/ 2478739 w 4803292"/>
              <a:gd name="connsiteY331" fmla="*/ 1170827 h 4764066"/>
              <a:gd name="connsiteX332" fmla="*/ 2589775 w 4803292"/>
              <a:gd name="connsiteY332" fmla="*/ 1114345 h 4764066"/>
              <a:gd name="connsiteX333" fmla="*/ 2733393 w 4803292"/>
              <a:gd name="connsiteY333" fmla="*/ 1258074 h 4764066"/>
              <a:gd name="connsiteX334" fmla="*/ 2730271 w 4803292"/>
              <a:gd name="connsiteY334" fmla="*/ 1273617 h 4764066"/>
              <a:gd name="connsiteX335" fmla="*/ 2826737 w 4803292"/>
              <a:gd name="connsiteY335" fmla="*/ 1235081 h 4764066"/>
              <a:gd name="connsiteX336" fmla="*/ 2970275 w 4803292"/>
              <a:gd name="connsiteY336" fmla="*/ 1378570 h 4764066"/>
              <a:gd name="connsiteX337" fmla="*/ 2963711 w 4803292"/>
              <a:gd name="connsiteY337" fmla="*/ 1411418 h 4764066"/>
              <a:gd name="connsiteX338" fmla="*/ 3013665 w 4803292"/>
              <a:gd name="connsiteY338" fmla="*/ 1401243 h 4764066"/>
              <a:gd name="connsiteX339" fmla="*/ 3157204 w 4803292"/>
              <a:gd name="connsiteY339" fmla="*/ 1544893 h 4764066"/>
              <a:gd name="connsiteX340" fmla="*/ 3122299 w 4803292"/>
              <a:gd name="connsiteY340" fmla="*/ 1635745 h 4764066"/>
              <a:gd name="connsiteX341" fmla="*/ 3256952 w 4803292"/>
              <a:gd name="connsiteY341" fmla="*/ 1777632 h 4764066"/>
              <a:gd name="connsiteX342" fmla="*/ 3184102 w 4803292"/>
              <a:gd name="connsiteY342" fmla="*/ 1899971 h 4764066"/>
              <a:gd name="connsiteX343" fmla="*/ 3306186 w 4803292"/>
              <a:gd name="connsiteY343" fmla="*/ 2039374 h 4764066"/>
              <a:gd name="connsiteX344" fmla="*/ 3184102 w 4803292"/>
              <a:gd name="connsiteY344" fmla="*/ 2178617 h 4764066"/>
              <a:gd name="connsiteX345" fmla="*/ 3256952 w 4803292"/>
              <a:gd name="connsiteY345" fmla="*/ 2300955 h 4764066"/>
              <a:gd name="connsiteX346" fmla="*/ 3122299 w 4803292"/>
              <a:gd name="connsiteY346" fmla="*/ 2442842 h 4764066"/>
              <a:gd name="connsiteX347" fmla="*/ 3157204 w 4803292"/>
              <a:gd name="connsiteY347" fmla="*/ 2533614 h 4764066"/>
              <a:gd name="connsiteX348" fmla="*/ 3013665 w 4803292"/>
              <a:gd name="connsiteY348" fmla="*/ 2677344 h 4764066"/>
              <a:gd name="connsiteX349" fmla="*/ 2963711 w 4803292"/>
              <a:gd name="connsiteY349" fmla="*/ 2667249 h 4764066"/>
              <a:gd name="connsiteX350" fmla="*/ 2970275 w 4803292"/>
              <a:gd name="connsiteY350" fmla="*/ 2700017 h 4764066"/>
              <a:gd name="connsiteX351" fmla="*/ 2826817 w 4803292"/>
              <a:gd name="connsiteY351" fmla="*/ 2843827 h 4764066"/>
              <a:gd name="connsiteX352" fmla="*/ 2730351 w 4803292"/>
              <a:gd name="connsiteY352" fmla="*/ 2805050 h 4764066"/>
              <a:gd name="connsiteX353" fmla="*/ 2733473 w 4803292"/>
              <a:gd name="connsiteY353" fmla="*/ 2820593 h 4764066"/>
              <a:gd name="connsiteX354" fmla="*/ 2589855 w 4803292"/>
              <a:gd name="connsiteY354" fmla="*/ 2964242 h 4764066"/>
              <a:gd name="connsiteX355" fmla="*/ 2478819 w 4803292"/>
              <a:gd name="connsiteY355" fmla="*/ 2907840 h 4764066"/>
              <a:gd name="connsiteX356" fmla="*/ 2344086 w 4803292"/>
              <a:gd name="connsiteY356" fmla="*/ 3008146 h 4764066"/>
              <a:gd name="connsiteX357" fmla="*/ 2209354 w 4803292"/>
              <a:gd name="connsiteY357" fmla="*/ 2907840 h 4764066"/>
              <a:gd name="connsiteX358" fmla="*/ 2098158 w 4803292"/>
              <a:gd name="connsiteY358" fmla="*/ 2964242 h 4764066"/>
              <a:gd name="connsiteX359" fmla="*/ 1954699 w 4803292"/>
              <a:gd name="connsiteY359" fmla="*/ 2820593 h 4764066"/>
              <a:gd name="connsiteX360" fmla="*/ 1957822 w 4803292"/>
              <a:gd name="connsiteY360" fmla="*/ 2805050 h 4764066"/>
              <a:gd name="connsiteX361" fmla="*/ 1861355 w 4803292"/>
              <a:gd name="connsiteY361" fmla="*/ 2843827 h 4764066"/>
              <a:gd name="connsiteX362" fmla="*/ 1717977 w 4803292"/>
              <a:gd name="connsiteY362" fmla="*/ 2700097 h 4764066"/>
              <a:gd name="connsiteX363" fmla="*/ 1724542 w 4803292"/>
              <a:gd name="connsiteY363" fmla="*/ 2667329 h 4764066"/>
              <a:gd name="connsiteX364" fmla="*/ 1674507 w 4803292"/>
              <a:gd name="connsiteY364" fmla="*/ 2677424 h 4764066"/>
              <a:gd name="connsiteX365" fmla="*/ 1530889 w 4803292"/>
              <a:gd name="connsiteY365" fmla="*/ 2533694 h 4764066"/>
              <a:gd name="connsiteX366" fmla="*/ 1565793 w 4803292"/>
              <a:gd name="connsiteY366" fmla="*/ 2442922 h 4764066"/>
              <a:gd name="connsiteX367" fmla="*/ 1431301 w 4803292"/>
              <a:gd name="connsiteY367" fmla="*/ 2301035 h 4764066"/>
              <a:gd name="connsiteX368" fmla="*/ 1504151 w 4803292"/>
              <a:gd name="connsiteY368" fmla="*/ 2178697 h 4764066"/>
              <a:gd name="connsiteX369" fmla="*/ 1382067 w 4803292"/>
              <a:gd name="connsiteY369" fmla="*/ 2039454 h 4764066"/>
              <a:gd name="connsiteX370" fmla="*/ 1504151 w 4803292"/>
              <a:gd name="connsiteY370" fmla="*/ 1900050 h 4764066"/>
              <a:gd name="connsiteX371" fmla="*/ 1431301 w 4803292"/>
              <a:gd name="connsiteY371" fmla="*/ 1777712 h 4764066"/>
              <a:gd name="connsiteX372" fmla="*/ 1562671 w 4803292"/>
              <a:gd name="connsiteY372" fmla="*/ 1634784 h 4764066"/>
              <a:gd name="connsiteX373" fmla="*/ 1530969 w 4803292"/>
              <a:gd name="connsiteY373" fmla="*/ 1544973 h 4764066"/>
              <a:gd name="connsiteX374" fmla="*/ 1674267 w 4803292"/>
              <a:gd name="connsiteY374" fmla="*/ 1401323 h 4764066"/>
              <a:gd name="connsiteX375" fmla="*/ 1721259 w 4803292"/>
              <a:gd name="connsiteY375" fmla="*/ 1409335 h 4764066"/>
              <a:gd name="connsiteX376" fmla="*/ 1717897 w 4803292"/>
              <a:gd name="connsiteY376" fmla="*/ 1378570 h 4764066"/>
              <a:gd name="connsiteX377" fmla="*/ 1861275 w 4803292"/>
              <a:gd name="connsiteY377" fmla="*/ 1235081 h 4764066"/>
              <a:gd name="connsiteX378" fmla="*/ 1957742 w 4803292"/>
              <a:gd name="connsiteY378" fmla="*/ 1273617 h 4764066"/>
              <a:gd name="connsiteX379" fmla="*/ 1954619 w 4803292"/>
              <a:gd name="connsiteY379" fmla="*/ 1258074 h 4764066"/>
              <a:gd name="connsiteX380" fmla="*/ 2098078 w 4803292"/>
              <a:gd name="connsiteY380" fmla="*/ 1114345 h 4764066"/>
              <a:gd name="connsiteX381" fmla="*/ 2209274 w 4803292"/>
              <a:gd name="connsiteY381" fmla="*/ 1170827 h 4764066"/>
              <a:gd name="connsiteX382" fmla="*/ 2344006 w 4803292"/>
              <a:gd name="connsiteY382" fmla="*/ 1070601 h 4764066"/>
              <a:gd name="connsiteX383" fmla="*/ 3996579 w 4803292"/>
              <a:gd name="connsiteY383" fmla="*/ 971336 h 4764066"/>
              <a:gd name="connsiteX384" fmla="*/ 4109616 w 4803292"/>
              <a:gd name="connsiteY384" fmla="*/ 1084701 h 4764066"/>
              <a:gd name="connsiteX385" fmla="*/ 3996579 w 4803292"/>
              <a:gd name="connsiteY385" fmla="*/ 1198067 h 4764066"/>
              <a:gd name="connsiteX386" fmla="*/ 3883061 w 4803292"/>
              <a:gd name="connsiteY386" fmla="*/ 1084701 h 4764066"/>
              <a:gd name="connsiteX387" fmla="*/ 3996579 w 4803292"/>
              <a:gd name="connsiteY387" fmla="*/ 971336 h 4764066"/>
              <a:gd name="connsiteX388" fmla="*/ 2245699 w 4803292"/>
              <a:gd name="connsiteY388" fmla="*/ 915014 h 4764066"/>
              <a:gd name="connsiteX389" fmla="*/ 2156758 w 4803292"/>
              <a:gd name="connsiteY389" fmla="*/ 977826 h 4764066"/>
              <a:gd name="connsiteX390" fmla="*/ 2051966 w 4803292"/>
              <a:gd name="connsiteY390" fmla="*/ 949304 h 4764066"/>
              <a:gd name="connsiteX391" fmla="*/ 1975434 w 4803292"/>
              <a:gd name="connsiteY391" fmla="*/ 1026537 h 4764066"/>
              <a:gd name="connsiteX392" fmla="*/ 1867280 w 4803292"/>
              <a:gd name="connsiteY392" fmla="*/ 1016522 h 4764066"/>
              <a:gd name="connsiteX393" fmla="*/ 1805237 w 4803292"/>
              <a:gd name="connsiteY393" fmla="*/ 1105852 h 4764066"/>
              <a:gd name="connsiteX394" fmla="*/ 1696763 w 4803292"/>
              <a:gd name="connsiteY394" fmla="*/ 1114986 h 4764066"/>
              <a:gd name="connsiteX395" fmla="*/ 1651212 w 4803292"/>
              <a:gd name="connsiteY395" fmla="*/ 1213770 h 4764066"/>
              <a:gd name="connsiteX396" fmla="*/ 1546020 w 4803292"/>
              <a:gd name="connsiteY396" fmla="*/ 1241490 h 4764066"/>
              <a:gd name="connsiteX397" fmla="*/ 1518481 w 4803292"/>
              <a:gd name="connsiteY397" fmla="*/ 1346604 h 4764066"/>
              <a:gd name="connsiteX398" fmla="*/ 1419853 w 4803292"/>
              <a:gd name="connsiteY398" fmla="*/ 1392110 h 4764066"/>
              <a:gd name="connsiteX399" fmla="*/ 1410727 w 4803292"/>
              <a:gd name="connsiteY399" fmla="*/ 1500588 h 4764066"/>
              <a:gd name="connsiteX400" fmla="*/ 1321546 w 4803292"/>
              <a:gd name="connsiteY400" fmla="*/ 1562518 h 4764066"/>
              <a:gd name="connsiteX401" fmla="*/ 1331393 w 4803292"/>
              <a:gd name="connsiteY401" fmla="*/ 1670996 h 4764066"/>
              <a:gd name="connsiteX402" fmla="*/ 1254220 w 4803292"/>
              <a:gd name="connsiteY402" fmla="*/ 1747588 h 4764066"/>
              <a:gd name="connsiteX403" fmla="*/ 1282879 w 4803292"/>
              <a:gd name="connsiteY403" fmla="*/ 1852541 h 4764066"/>
              <a:gd name="connsiteX404" fmla="*/ 1220116 w 4803292"/>
              <a:gd name="connsiteY404" fmla="*/ 1941391 h 4764066"/>
              <a:gd name="connsiteX405" fmla="*/ 1266308 w 4803292"/>
              <a:gd name="connsiteY405" fmla="*/ 2039774 h 4764066"/>
              <a:gd name="connsiteX406" fmla="*/ 1220116 w 4803292"/>
              <a:gd name="connsiteY406" fmla="*/ 2138238 h 4764066"/>
              <a:gd name="connsiteX407" fmla="*/ 1282719 w 4803292"/>
              <a:gd name="connsiteY407" fmla="*/ 2227087 h 4764066"/>
              <a:gd name="connsiteX408" fmla="*/ 1254220 w 4803292"/>
              <a:gd name="connsiteY408" fmla="*/ 2332041 h 4764066"/>
              <a:gd name="connsiteX409" fmla="*/ 1331313 w 4803292"/>
              <a:gd name="connsiteY409" fmla="*/ 2408472 h 4764066"/>
              <a:gd name="connsiteX410" fmla="*/ 1321626 w 4803292"/>
              <a:gd name="connsiteY410" fmla="*/ 2516469 h 4764066"/>
              <a:gd name="connsiteX411" fmla="*/ 1410807 w 4803292"/>
              <a:gd name="connsiteY411" fmla="*/ 2578560 h 4764066"/>
              <a:gd name="connsiteX412" fmla="*/ 1419933 w 4803292"/>
              <a:gd name="connsiteY412" fmla="*/ 2686958 h 4764066"/>
              <a:gd name="connsiteX413" fmla="*/ 1518401 w 4803292"/>
              <a:gd name="connsiteY413" fmla="*/ 2732544 h 4764066"/>
              <a:gd name="connsiteX414" fmla="*/ 1546100 w 4803292"/>
              <a:gd name="connsiteY414" fmla="*/ 2837658 h 4764066"/>
              <a:gd name="connsiteX415" fmla="*/ 1651292 w 4803292"/>
              <a:gd name="connsiteY415" fmla="*/ 2865538 h 4764066"/>
              <a:gd name="connsiteX416" fmla="*/ 1696843 w 4803292"/>
              <a:gd name="connsiteY416" fmla="*/ 2964162 h 4764066"/>
              <a:gd name="connsiteX417" fmla="*/ 1805157 w 4803292"/>
              <a:gd name="connsiteY417" fmla="*/ 2973296 h 4764066"/>
              <a:gd name="connsiteX418" fmla="*/ 1867120 w 4803292"/>
              <a:gd name="connsiteY418" fmla="*/ 3062546 h 4764066"/>
              <a:gd name="connsiteX419" fmla="*/ 1975434 w 4803292"/>
              <a:gd name="connsiteY419" fmla="*/ 3052691 h 4764066"/>
              <a:gd name="connsiteX420" fmla="*/ 2052047 w 4803292"/>
              <a:gd name="connsiteY420" fmla="*/ 3129924 h 4764066"/>
              <a:gd name="connsiteX421" fmla="*/ 2156838 w 4803292"/>
              <a:gd name="connsiteY421" fmla="*/ 3101402 h 4764066"/>
              <a:gd name="connsiteX422" fmla="*/ 2245859 w 4803292"/>
              <a:gd name="connsiteY422" fmla="*/ 3163893 h 4764066"/>
              <a:gd name="connsiteX423" fmla="*/ 2344087 w 4803292"/>
              <a:gd name="connsiteY423" fmla="*/ 3117666 h 4764066"/>
              <a:gd name="connsiteX424" fmla="*/ 2442314 w 4803292"/>
              <a:gd name="connsiteY424" fmla="*/ 3164054 h 4764066"/>
              <a:gd name="connsiteX425" fmla="*/ 2531255 w 4803292"/>
              <a:gd name="connsiteY425" fmla="*/ 3101402 h 4764066"/>
              <a:gd name="connsiteX426" fmla="*/ 2636127 w 4803292"/>
              <a:gd name="connsiteY426" fmla="*/ 3129924 h 4764066"/>
              <a:gd name="connsiteX427" fmla="*/ 2712659 w 4803292"/>
              <a:gd name="connsiteY427" fmla="*/ 3052691 h 4764066"/>
              <a:gd name="connsiteX428" fmla="*/ 2820733 w 4803292"/>
              <a:gd name="connsiteY428" fmla="*/ 3062706 h 4764066"/>
              <a:gd name="connsiteX429" fmla="*/ 2882856 w 4803292"/>
              <a:gd name="connsiteY429" fmla="*/ 2973296 h 4764066"/>
              <a:gd name="connsiteX430" fmla="*/ 2991250 w 4803292"/>
              <a:gd name="connsiteY430" fmla="*/ 2964322 h 4764066"/>
              <a:gd name="connsiteX431" fmla="*/ 3036641 w 4803292"/>
              <a:gd name="connsiteY431" fmla="*/ 2865538 h 4764066"/>
              <a:gd name="connsiteX432" fmla="*/ 3141913 w 4803292"/>
              <a:gd name="connsiteY432" fmla="*/ 2837658 h 4764066"/>
              <a:gd name="connsiteX433" fmla="*/ 3169532 w 4803292"/>
              <a:gd name="connsiteY433" fmla="*/ 2732544 h 4764066"/>
              <a:gd name="connsiteX434" fmla="*/ 3268240 w 4803292"/>
              <a:gd name="connsiteY434" fmla="*/ 2686958 h 4764066"/>
              <a:gd name="connsiteX435" fmla="*/ 3277286 w 4803292"/>
              <a:gd name="connsiteY435" fmla="*/ 2578560 h 4764066"/>
              <a:gd name="connsiteX436" fmla="*/ 3366547 w 4803292"/>
              <a:gd name="connsiteY436" fmla="*/ 2516550 h 4764066"/>
              <a:gd name="connsiteX437" fmla="*/ 3356621 w 4803292"/>
              <a:gd name="connsiteY437" fmla="*/ 2408232 h 4764066"/>
              <a:gd name="connsiteX438" fmla="*/ 3433794 w 4803292"/>
              <a:gd name="connsiteY438" fmla="*/ 2331960 h 4764066"/>
              <a:gd name="connsiteX439" fmla="*/ 3405134 w 4803292"/>
              <a:gd name="connsiteY439" fmla="*/ 2227007 h 4764066"/>
              <a:gd name="connsiteX440" fmla="*/ 3468057 w 4803292"/>
              <a:gd name="connsiteY440" fmla="*/ 2138158 h 4764066"/>
              <a:gd name="connsiteX441" fmla="*/ 3421545 w 4803292"/>
              <a:gd name="connsiteY441" fmla="*/ 2039694 h 4764066"/>
              <a:gd name="connsiteX442" fmla="*/ 3467897 w 4803292"/>
              <a:gd name="connsiteY442" fmla="*/ 1941311 h 4764066"/>
              <a:gd name="connsiteX443" fmla="*/ 3405134 w 4803292"/>
              <a:gd name="connsiteY443" fmla="*/ 1852461 h 4764066"/>
              <a:gd name="connsiteX444" fmla="*/ 3433794 w 4803292"/>
              <a:gd name="connsiteY444" fmla="*/ 1747508 h 4764066"/>
              <a:gd name="connsiteX445" fmla="*/ 3356621 w 4803292"/>
              <a:gd name="connsiteY445" fmla="*/ 1670756 h 4764066"/>
              <a:gd name="connsiteX446" fmla="*/ 3366547 w 4803292"/>
              <a:gd name="connsiteY446" fmla="*/ 1562438 h 4764066"/>
              <a:gd name="connsiteX447" fmla="*/ 3277286 w 4803292"/>
              <a:gd name="connsiteY447" fmla="*/ 1500508 h 4764066"/>
              <a:gd name="connsiteX448" fmla="*/ 3268240 w 4803292"/>
              <a:gd name="connsiteY448" fmla="*/ 1392030 h 4764066"/>
              <a:gd name="connsiteX449" fmla="*/ 3169532 w 4803292"/>
              <a:gd name="connsiteY449" fmla="*/ 1346523 h 4764066"/>
              <a:gd name="connsiteX450" fmla="*/ 3141913 w 4803292"/>
              <a:gd name="connsiteY450" fmla="*/ 1241250 h 4764066"/>
              <a:gd name="connsiteX451" fmla="*/ 3036641 w 4803292"/>
              <a:gd name="connsiteY451" fmla="*/ 1213610 h 4764066"/>
              <a:gd name="connsiteX452" fmla="*/ 2991250 w 4803292"/>
              <a:gd name="connsiteY452" fmla="*/ 1114745 h 4764066"/>
              <a:gd name="connsiteX453" fmla="*/ 2882856 w 4803292"/>
              <a:gd name="connsiteY453" fmla="*/ 1105692 h 4764066"/>
              <a:gd name="connsiteX454" fmla="*/ 2820733 w 4803292"/>
              <a:gd name="connsiteY454" fmla="*/ 1016362 h 4764066"/>
              <a:gd name="connsiteX455" fmla="*/ 2712579 w 4803292"/>
              <a:gd name="connsiteY455" fmla="*/ 1026457 h 4764066"/>
              <a:gd name="connsiteX456" fmla="*/ 2636047 w 4803292"/>
              <a:gd name="connsiteY456" fmla="*/ 948984 h 4764066"/>
              <a:gd name="connsiteX457" fmla="*/ 2531175 w 4803292"/>
              <a:gd name="connsiteY457" fmla="*/ 977666 h 4764066"/>
              <a:gd name="connsiteX458" fmla="*/ 2442234 w 4803292"/>
              <a:gd name="connsiteY458" fmla="*/ 915014 h 4764066"/>
              <a:gd name="connsiteX459" fmla="*/ 2344007 w 4803292"/>
              <a:gd name="connsiteY459" fmla="*/ 961402 h 4764066"/>
              <a:gd name="connsiteX460" fmla="*/ 2245699 w 4803292"/>
              <a:gd name="connsiteY460" fmla="*/ 915014 h 4764066"/>
              <a:gd name="connsiteX461" fmla="*/ 3539946 w 4803292"/>
              <a:gd name="connsiteY461" fmla="*/ 904118 h 4764066"/>
              <a:gd name="connsiteX462" fmla="*/ 3670996 w 4803292"/>
              <a:gd name="connsiteY462" fmla="*/ 1035349 h 4764066"/>
              <a:gd name="connsiteX463" fmla="*/ 3539946 w 4803292"/>
              <a:gd name="connsiteY463" fmla="*/ 1166501 h 4764066"/>
              <a:gd name="connsiteX464" fmla="*/ 3408816 w 4803292"/>
              <a:gd name="connsiteY464" fmla="*/ 1035349 h 4764066"/>
              <a:gd name="connsiteX465" fmla="*/ 3539946 w 4803292"/>
              <a:gd name="connsiteY465" fmla="*/ 904118 h 4764066"/>
              <a:gd name="connsiteX466" fmla="*/ 1148147 w 4803292"/>
              <a:gd name="connsiteY466" fmla="*/ 904118 h 4764066"/>
              <a:gd name="connsiteX467" fmla="*/ 1279357 w 4803292"/>
              <a:gd name="connsiteY467" fmla="*/ 1035349 h 4764066"/>
              <a:gd name="connsiteX468" fmla="*/ 1148147 w 4803292"/>
              <a:gd name="connsiteY468" fmla="*/ 1166501 h 4764066"/>
              <a:gd name="connsiteX469" fmla="*/ 1017177 w 4803292"/>
              <a:gd name="connsiteY469" fmla="*/ 1035349 h 4764066"/>
              <a:gd name="connsiteX470" fmla="*/ 1148147 w 4803292"/>
              <a:gd name="connsiteY470" fmla="*/ 904118 h 4764066"/>
              <a:gd name="connsiteX471" fmla="*/ 3347895 w 4803292"/>
              <a:gd name="connsiteY471" fmla="*/ 711517 h 4764066"/>
              <a:gd name="connsiteX472" fmla="*/ 3478945 w 4803292"/>
              <a:gd name="connsiteY472" fmla="*/ 842668 h 4764066"/>
              <a:gd name="connsiteX473" fmla="*/ 3347895 w 4803292"/>
              <a:gd name="connsiteY473" fmla="*/ 973820 h 4764066"/>
              <a:gd name="connsiteX474" fmla="*/ 3216765 w 4803292"/>
              <a:gd name="connsiteY474" fmla="*/ 842668 h 4764066"/>
              <a:gd name="connsiteX475" fmla="*/ 3347895 w 4803292"/>
              <a:gd name="connsiteY475" fmla="*/ 711517 h 4764066"/>
              <a:gd name="connsiteX476" fmla="*/ 3805808 w 4803292"/>
              <a:gd name="connsiteY476" fmla="*/ 698699 h 4764066"/>
              <a:gd name="connsiteX477" fmla="*/ 3919006 w 4803292"/>
              <a:gd name="connsiteY477" fmla="*/ 812064 h 4764066"/>
              <a:gd name="connsiteX478" fmla="*/ 3805808 w 4803292"/>
              <a:gd name="connsiteY478" fmla="*/ 925430 h 4764066"/>
              <a:gd name="connsiteX479" fmla="*/ 3692611 w 4803292"/>
              <a:gd name="connsiteY479" fmla="*/ 812064 h 4764066"/>
              <a:gd name="connsiteX480" fmla="*/ 3805808 w 4803292"/>
              <a:gd name="connsiteY480" fmla="*/ 698699 h 4764066"/>
              <a:gd name="connsiteX481" fmla="*/ 2344247 w 4803292"/>
              <a:gd name="connsiteY481" fmla="*/ 687883 h 4764066"/>
              <a:gd name="connsiteX482" fmla="*/ 2456484 w 4803292"/>
              <a:gd name="connsiteY482" fmla="*/ 754220 h 4764066"/>
              <a:gd name="connsiteX483" fmla="*/ 2578807 w 4803292"/>
              <a:gd name="connsiteY483" fmla="*/ 708313 h 4764066"/>
              <a:gd name="connsiteX484" fmla="*/ 2677835 w 4803292"/>
              <a:gd name="connsiteY484" fmla="*/ 793477 h 4764066"/>
              <a:gd name="connsiteX485" fmla="*/ 2806243 w 4803292"/>
              <a:gd name="connsiteY485" fmla="*/ 769202 h 4764066"/>
              <a:gd name="connsiteX486" fmla="*/ 2888860 w 4803292"/>
              <a:gd name="connsiteY486" fmla="*/ 870149 h 4764066"/>
              <a:gd name="connsiteX487" fmla="*/ 3019349 w 4803292"/>
              <a:gd name="connsiteY487" fmla="*/ 868947 h 4764066"/>
              <a:gd name="connsiteX488" fmla="*/ 3083473 w 4803292"/>
              <a:gd name="connsiteY488" fmla="*/ 982713 h 4764066"/>
              <a:gd name="connsiteX489" fmla="*/ 3212522 w 4803292"/>
              <a:gd name="connsiteY489" fmla="*/ 1003944 h 4764066"/>
              <a:gd name="connsiteX490" fmla="*/ 3255591 w 4803292"/>
              <a:gd name="connsiteY490" fmla="*/ 1127244 h 4764066"/>
              <a:gd name="connsiteX491" fmla="*/ 3378796 w 4803292"/>
              <a:gd name="connsiteY491" fmla="*/ 1170667 h 4764066"/>
              <a:gd name="connsiteX492" fmla="*/ 3400090 w 4803292"/>
              <a:gd name="connsiteY492" fmla="*/ 1299655 h 4764066"/>
              <a:gd name="connsiteX493" fmla="*/ 3513848 w 4803292"/>
              <a:gd name="connsiteY493" fmla="*/ 1363668 h 4764066"/>
              <a:gd name="connsiteX494" fmla="*/ 3512488 w 4803292"/>
              <a:gd name="connsiteY494" fmla="*/ 1494259 h 4764066"/>
              <a:gd name="connsiteX495" fmla="*/ 3613596 w 4803292"/>
              <a:gd name="connsiteY495" fmla="*/ 1577180 h 4764066"/>
              <a:gd name="connsiteX496" fmla="*/ 3589260 w 4803292"/>
              <a:gd name="connsiteY496" fmla="*/ 1705527 h 4764066"/>
              <a:gd name="connsiteX497" fmla="*/ 3674438 w 4803292"/>
              <a:gd name="connsiteY497" fmla="*/ 1804792 h 4764066"/>
              <a:gd name="connsiteX498" fmla="*/ 3628487 w 4803292"/>
              <a:gd name="connsiteY498" fmla="*/ 1927130 h 4764066"/>
              <a:gd name="connsiteX499" fmla="*/ 3695093 w 4803292"/>
              <a:gd name="connsiteY499" fmla="*/ 2039694 h 4764066"/>
              <a:gd name="connsiteX500" fmla="*/ 3628487 w 4803292"/>
              <a:gd name="connsiteY500" fmla="*/ 2151858 h 4764066"/>
              <a:gd name="connsiteX501" fmla="*/ 3674438 w 4803292"/>
              <a:gd name="connsiteY501" fmla="*/ 2274276 h 4764066"/>
              <a:gd name="connsiteX502" fmla="*/ 3589260 w 4803292"/>
              <a:gd name="connsiteY502" fmla="*/ 2373301 h 4764066"/>
              <a:gd name="connsiteX503" fmla="*/ 3613596 w 4803292"/>
              <a:gd name="connsiteY503" fmla="*/ 2501648 h 4764066"/>
              <a:gd name="connsiteX504" fmla="*/ 3512488 w 4803292"/>
              <a:gd name="connsiteY504" fmla="*/ 2584408 h 4764066"/>
              <a:gd name="connsiteX505" fmla="*/ 3513848 w 4803292"/>
              <a:gd name="connsiteY505" fmla="*/ 2715239 h 4764066"/>
              <a:gd name="connsiteX506" fmla="*/ 3400090 w 4803292"/>
              <a:gd name="connsiteY506" fmla="*/ 2779092 h 4764066"/>
              <a:gd name="connsiteX507" fmla="*/ 3378796 w 4803292"/>
              <a:gd name="connsiteY507" fmla="*/ 2908161 h 4764066"/>
              <a:gd name="connsiteX508" fmla="*/ 3255591 w 4803292"/>
              <a:gd name="connsiteY508" fmla="*/ 2951584 h 4764066"/>
              <a:gd name="connsiteX509" fmla="*/ 3212362 w 4803292"/>
              <a:gd name="connsiteY509" fmla="*/ 3074804 h 4764066"/>
              <a:gd name="connsiteX510" fmla="*/ 3083393 w 4803292"/>
              <a:gd name="connsiteY510" fmla="*/ 3096115 h 4764066"/>
              <a:gd name="connsiteX511" fmla="*/ 3019269 w 4803292"/>
              <a:gd name="connsiteY511" fmla="*/ 3209961 h 4764066"/>
              <a:gd name="connsiteX512" fmla="*/ 2888860 w 4803292"/>
              <a:gd name="connsiteY512" fmla="*/ 3208438 h 4764066"/>
              <a:gd name="connsiteX513" fmla="*/ 2805923 w 4803292"/>
              <a:gd name="connsiteY513" fmla="*/ 3309546 h 4764066"/>
              <a:gd name="connsiteX514" fmla="*/ 2678075 w 4803292"/>
              <a:gd name="connsiteY514" fmla="*/ 3285351 h 4764066"/>
              <a:gd name="connsiteX515" fmla="*/ 2578888 w 4803292"/>
              <a:gd name="connsiteY515" fmla="*/ 3370675 h 4764066"/>
              <a:gd name="connsiteX516" fmla="*/ 2456644 w 4803292"/>
              <a:gd name="connsiteY516" fmla="*/ 3324368 h 4764066"/>
              <a:gd name="connsiteX517" fmla="*/ 2344407 w 4803292"/>
              <a:gd name="connsiteY517" fmla="*/ 3391025 h 4764066"/>
              <a:gd name="connsiteX518" fmla="*/ 2232010 w 4803292"/>
              <a:gd name="connsiteY518" fmla="*/ 3324368 h 4764066"/>
              <a:gd name="connsiteX519" fmla="*/ 2109766 w 4803292"/>
              <a:gd name="connsiteY519" fmla="*/ 3370355 h 4764066"/>
              <a:gd name="connsiteX520" fmla="*/ 2010578 w 4803292"/>
              <a:gd name="connsiteY520" fmla="*/ 3285190 h 4764066"/>
              <a:gd name="connsiteX521" fmla="*/ 1882330 w 4803292"/>
              <a:gd name="connsiteY521" fmla="*/ 3309386 h 4764066"/>
              <a:gd name="connsiteX522" fmla="*/ 1799393 w 4803292"/>
              <a:gd name="connsiteY522" fmla="*/ 3208519 h 4764066"/>
              <a:gd name="connsiteX523" fmla="*/ 1668904 w 4803292"/>
              <a:gd name="connsiteY523" fmla="*/ 3209721 h 4764066"/>
              <a:gd name="connsiteX524" fmla="*/ 1604940 w 4803292"/>
              <a:gd name="connsiteY524" fmla="*/ 3095874 h 4764066"/>
              <a:gd name="connsiteX525" fmla="*/ 1476052 w 4803292"/>
              <a:gd name="connsiteY525" fmla="*/ 3074723 h 4764066"/>
              <a:gd name="connsiteX526" fmla="*/ 1432902 w 4803292"/>
              <a:gd name="connsiteY526" fmla="*/ 2951424 h 4764066"/>
              <a:gd name="connsiteX527" fmla="*/ 1309698 w 4803292"/>
              <a:gd name="connsiteY527" fmla="*/ 2908000 h 4764066"/>
              <a:gd name="connsiteX528" fmla="*/ 1288403 w 4803292"/>
              <a:gd name="connsiteY528" fmla="*/ 2779012 h 4764066"/>
              <a:gd name="connsiteX529" fmla="*/ 1174405 w 4803292"/>
              <a:gd name="connsiteY529" fmla="*/ 2715079 h 4764066"/>
              <a:gd name="connsiteX530" fmla="*/ 1176006 w 4803292"/>
              <a:gd name="connsiteY530" fmla="*/ 2584328 h 4764066"/>
              <a:gd name="connsiteX531" fmla="*/ 1075057 w 4803292"/>
              <a:gd name="connsiteY531" fmla="*/ 2501568 h 4764066"/>
              <a:gd name="connsiteX532" fmla="*/ 1099073 w 4803292"/>
              <a:gd name="connsiteY532" fmla="*/ 2373220 h 4764066"/>
              <a:gd name="connsiteX533" fmla="*/ 1013895 w 4803292"/>
              <a:gd name="connsiteY533" fmla="*/ 2274196 h 4764066"/>
              <a:gd name="connsiteX534" fmla="*/ 1060167 w 4803292"/>
              <a:gd name="connsiteY534" fmla="*/ 2151858 h 4764066"/>
              <a:gd name="connsiteX535" fmla="*/ 993481 w 4803292"/>
              <a:gd name="connsiteY535" fmla="*/ 2039534 h 4764066"/>
              <a:gd name="connsiteX536" fmla="*/ 1060167 w 4803292"/>
              <a:gd name="connsiteY536" fmla="*/ 1927130 h 4764066"/>
              <a:gd name="connsiteX537" fmla="*/ 1013895 w 4803292"/>
              <a:gd name="connsiteY537" fmla="*/ 1804792 h 4764066"/>
              <a:gd name="connsiteX538" fmla="*/ 1099073 w 4803292"/>
              <a:gd name="connsiteY538" fmla="*/ 1705527 h 4764066"/>
              <a:gd name="connsiteX539" fmla="*/ 1075057 w 4803292"/>
              <a:gd name="connsiteY539" fmla="*/ 1577180 h 4764066"/>
              <a:gd name="connsiteX540" fmla="*/ 1176166 w 4803292"/>
              <a:gd name="connsiteY540" fmla="*/ 1494259 h 4764066"/>
              <a:gd name="connsiteX541" fmla="*/ 1174325 w 4803292"/>
              <a:gd name="connsiteY541" fmla="*/ 1363668 h 4764066"/>
              <a:gd name="connsiteX542" fmla="*/ 1288323 w 4803292"/>
              <a:gd name="connsiteY542" fmla="*/ 1299655 h 4764066"/>
              <a:gd name="connsiteX543" fmla="*/ 1309618 w 4803292"/>
              <a:gd name="connsiteY543" fmla="*/ 1170667 h 4764066"/>
              <a:gd name="connsiteX544" fmla="*/ 1432822 w 4803292"/>
              <a:gd name="connsiteY544" fmla="*/ 1127324 h 4764066"/>
              <a:gd name="connsiteX545" fmla="*/ 1475972 w 4803292"/>
              <a:gd name="connsiteY545" fmla="*/ 1003944 h 4764066"/>
              <a:gd name="connsiteX546" fmla="*/ 1604860 w 4803292"/>
              <a:gd name="connsiteY546" fmla="*/ 982873 h 4764066"/>
              <a:gd name="connsiteX547" fmla="*/ 1668824 w 4803292"/>
              <a:gd name="connsiteY547" fmla="*/ 868947 h 4764066"/>
              <a:gd name="connsiteX548" fmla="*/ 1799473 w 4803292"/>
              <a:gd name="connsiteY548" fmla="*/ 870309 h 4764066"/>
              <a:gd name="connsiteX549" fmla="*/ 1882250 w 4803292"/>
              <a:gd name="connsiteY549" fmla="*/ 769202 h 4764066"/>
              <a:gd name="connsiteX550" fmla="*/ 2010578 w 4803292"/>
              <a:gd name="connsiteY550" fmla="*/ 793477 h 4764066"/>
              <a:gd name="connsiteX551" fmla="*/ 2109606 w 4803292"/>
              <a:gd name="connsiteY551" fmla="*/ 708313 h 4764066"/>
              <a:gd name="connsiteX552" fmla="*/ 2231850 w 4803292"/>
              <a:gd name="connsiteY552" fmla="*/ 754540 h 4764066"/>
              <a:gd name="connsiteX553" fmla="*/ 2344247 w 4803292"/>
              <a:gd name="connsiteY553" fmla="*/ 687883 h 4764066"/>
              <a:gd name="connsiteX554" fmla="*/ 3570447 w 4803292"/>
              <a:gd name="connsiteY554" fmla="*/ 463396 h 4764066"/>
              <a:gd name="connsiteX555" fmla="*/ 3683805 w 4803292"/>
              <a:gd name="connsiteY555" fmla="*/ 576761 h 4764066"/>
              <a:gd name="connsiteX556" fmla="*/ 3570447 w 4803292"/>
              <a:gd name="connsiteY556" fmla="*/ 690127 h 4764066"/>
              <a:gd name="connsiteX557" fmla="*/ 3457410 w 4803292"/>
              <a:gd name="connsiteY557" fmla="*/ 576761 h 4764066"/>
              <a:gd name="connsiteX558" fmla="*/ 3570447 w 4803292"/>
              <a:gd name="connsiteY558" fmla="*/ 463396 h 4764066"/>
              <a:gd name="connsiteX559" fmla="*/ 2072861 w 4803292"/>
              <a:gd name="connsiteY559" fmla="*/ 369899 h 4764066"/>
              <a:gd name="connsiteX560" fmla="*/ 2203911 w 4803292"/>
              <a:gd name="connsiteY560" fmla="*/ 500970 h 4764066"/>
              <a:gd name="connsiteX561" fmla="*/ 2072861 w 4803292"/>
              <a:gd name="connsiteY561" fmla="*/ 632202 h 4764066"/>
              <a:gd name="connsiteX562" fmla="*/ 1941891 w 4803292"/>
              <a:gd name="connsiteY562" fmla="*/ 500970 h 4764066"/>
              <a:gd name="connsiteX563" fmla="*/ 2072861 w 4803292"/>
              <a:gd name="connsiteY563" fmla="*/ 369899 h 4764066"/>
              <a:gd name="connsiteX564" fmla="*/ 2615072 w 4803292"/>
              <a:gd name="connsiteY564" fmla="*/ 369579 h 4764066"/>
              <a:gd name="connsiteX565" fmla="*/ 2746122 w 4803292"/>
              <a:gd name="connsiteY565" fmla="*/ 500810 h 4764066"/>
              <a:gd name="connsiteX566" fmla="*/ 2615072 w 4803292"/>
              <a:gd name="connsiteY566" fmla="*/ 631962 h 4764066"/>
              <a:gd name="connsiteX567" fmla="*/ 2483942 w 4803292"/>
              <a:gd name="connsiteY567" fmla="*/ 500810 h 4764066"/>
              <a:gd name="connsiteX568" fmla="*/ 2615072 w 4803292"/>
              <a:gd name="connsiteY568" fmla="*/ 369579 h 4764066"/>
              <a:gd name="connsiteX569" fmla="*/ 2344087 w 4803292"/>
              <a:gd name="connsiteY569" fmla="*/ 346024 h 4764066"/>
              <a:gd name="connsiteX570" fmla="*/ 2475137 w 4803292"/>
              <a:gd name="connsiteY570" fmla="*/ 477255 h 4764066"/>
              <a:gd name="connsiteX571" fmla="*/ 2344087 w 4803292"/>
              <a:gd name="connsiteY571" fmla="*/ 608407 h 4764066"/>
              <a:gd name="connsiteX572" fmla="*/ 2213037 w 4803292"/>
              <a:gd name="connsiteY572" fmla="*/ 477255 h 4764066"/>
              <a:gd name="connsiteX573" fmla="*/ 2344087 w 4803292"/>
              <a:gd name="connsiteY573" fmla="*/ 346024 h 4764066"/>
              <a:gd name="connsiteX574" fmla="*/ 3298021 w 4803292"/>
              <a:gd name="connsiteY574" fmla="*/ 272557 h 4764066"/>
              <a:gd name="connsiteX575" fmla="*/ 3411218 w 4803292"/>
              <a:gd name="connsiteY575" fmla="*/ 385762 h 4764066"/>
              <a:gd name="connsiteX576" fmla="*/ 3298021 w 4803292"/>
              <a:gd name="connsiteY576" fmla="*/ 499127 h 4764066"/>
              <a:gd name="connsiteX577" fmla="*/ 3184823 w 4803292"/>
              <a:gd name="connsiteY577" fmla="*/ 385762 h 4764066"/>
              <a:gd name="connsiteX578" fmla="*/ 3298021 w 4803292"/>
              <a:gd name="connsiteY578" fmla="*/ 272557 h 4764066"/>
              <a:gd name="connsiteX579" fmla="*/ 3793320 w 4803292"/>
              <a:gd name="connsiteY579" fmla="*/ 224968 h 4764066"/>
              <a:gd name="connsiteX580" fmla="*/ 3882421 w 4803292"/>
              <a:gd name="connsiteY580" fmla="*/ 314138 h 4764066"/>
              <a:gd name="connsiteX581" fmla="*/ 3793320 w 4803292"/>
              <a:gd name="connsiteY581" fmla="*/ 403468 h 4764066"/>
              <a:gd name="connsiteX582" fmla="*/ 3703979 w 4803292"/>
              <a:gd name="connsiteY582" fmla="*/ 314138 h 4764066"/>
              <a:gd name="connsiteX583" fmla="*/ 3793320 w 4803292"/>
              <a:gd name="connsiteY583" fmla="*/ 224968 h 4764066"/>
              <a:gd name="connsiteX584" fmla="*/ 3473821 w 4803292"/>
              <a:gd name="connsiteY584" fmla="*/ 0 h 4764066"/>
              <a:gd name="connsiteX585" fmla="*/ 3562922 w 4803292"/>
              <a:gd name="connsiteY585" fmla="*/ 89170 h 4764066"/>
              <a:gd name="connsiteX586" fmla="*/ 3473821 w 4803292"/>
              <a:gd name="connsiteY586" fmla="*/ 178340 h 4764066"/>
              <a:gd name="connsiteX587" fmla="*/ 3384560 w 4803292"/>
              <a:gd name="connsiteY587" fmla="*/ 89170 h 4764066"/>
              <a:gd name="connsiteX588" fmla="*/ 3473821 w 4803292"/>
              <a:gd name="connsiteY588" fmla="*/ 0 h 476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Lst>
            <a:rect l="l" t="t" r="r" b="b"/>
            <a:pathLst>
              <a:path w="4803292" h="4764066">
                <a:moveTo>
                  <a:pt x="3825502" y="4632114"/>
                </a:moveTo>
                <a:cubicBezTo>
                  <a:pt x="3861927" y="4632114"/>
                  <a:pt x="3891547" y="4661597"/>
                  <a:pt x="3891547" y="4698050"/>
                </a:cubicBezTo>
                <a:cubicBezTo>
                  <a:pt x="3891547" y="4734583"/>
                  <a:pt x="3861927" y="4764066"/>
                  <a:pt x="3825502" y="4764066"/>
                </a:cubicBezTo>
                <a:cubicBezTo>
                  <a:pt x="3789157" y="4764066"/>
                  <a:pt x="3759537" y="4734663"/>
                  <a:pt x="3759537" y="4698050"/>
                </a:cubicBezTo>
                <a:cubicBezTo>
                  <a:pt x="3759537" y="4661597"/>
                  <a:pt x="3789077" y="4632114"/>
                  <a:pt x="3825502" y="4632114"/>
                </a:cubicBezTo>
                <a:close/>
                <a:moveTo>
                  <a:pt x="3925010" y="4414517"/>
                </a:moveTo>
                <a:cubicBezTo>
                  <a:pt x="3961355" y="4414517"/>
                  <a:pt x="3990816" y="4444000"/>
                  <a:pt x="3990895" y="4480453"/>
                </a:cubicBezTo>
                <a:cubicBezTo>
                  <a:pt x="3990895" y="4517066"/>
                  <a:pt x="3961435" y="4546710"/>
                  <a:pt x="3925010" y="4546710"/>
                </a:cubicBezTo>
                <a:cubicBezTo>
                  <a:pt x="3888585" y="4546710"/>
                  <a:pt x="3858965" y="4517066"/>
                  <a:pt x="3858965" y="4480453"/>
                </a:cubicBezTo>
                <a:cubicBezTo>
                  <a:pt x="3858965" y="4444000"/>
                  <a:pt x="3888585" y="4414517"/>
                  <a:pt x="3925010" y="4414517"/>
                </a:cubicBezTo>
                <a:close/>
                <a:moveTo>
                  <a:pt x="3661709" y="4414517"/>
                </a:moveTo>
                <a:cubicBezTo>
                  <a:pt x="3698135" y="4414517"/>
                  <a:pt x="3727595" y="4444000"/>
                  <a:pt x="3727595" y="4480453"/>
                </a:cubicBezTo>
                <a:cubicBezTo>
                  <a:pt x="3727595" y="4517066"/>
                  <a:pt x="3698135" y="4546710"/>
                  <a:pt x="3661709" y="4546710"/>
                </a:cubicBezTo>
                <a:cubicBezTo>
                  <a:pt x="3625284" y="4546710"/>
                  <a:pt x="3595664" y="4517066"/>
                  <a:pt x="3595664" y="4480453"/>
                </a:cubicBezTo>
                <a:cubicBezTo>
                  <a:pt x="3595664" y="4444000"/>
                  <a:pt x="3625284" y="4414517"/>
                  <a:pt x="3661709" y="4414517"/>
                </a:cubicBezTo>
                <a:close/>
                <a:moveTo>
                  <a:pt x="3982170" y="3933336"/>
                </a:moveTo>
                <a:cubicBezTo>
                  <a:pt x="4018514" y="3933336"/>
                  <a:pt x="4047974" y="3962739"/>
                  <a:pt x="4048055" y="3999352"/>
                </a:cubicBezTo>
                <a:cubicBezTo>
                  <a:pt x="4048055" y="4035805"/>
                  <a:pt x="4018594" y="4065288"/>
                  <a:pt x="3982170" y="4065288"/>
                </a:cubicBezTo>
                <a:cubicBezTo>
                  <a:pt x="3945584" y="4065288"/>
                  <a:pt x="3915964" y="4035805"/>
                  <a:pt x="3915964" y="3999352"/>
                </a:cubicBezTo>
                <a:cubicBezTo>
                  <a:pt x="3915964" y="3962819"/>
                  <a:pt x="3945584" y="3933336"/>
                  <a:pt x="3982170" y="3933336"/>
                </a:cubicBezTo>
                <a:close/>
                <a:moveTo>
                  <a:pt x="3471579" y="3904333"/>
                </a:moveTo>
                <a:cubicBezTo>
                  <a:pt x="3520653" y="3904333"/>
                  <a:pt x="3560600" y="3944312"/>
                  <a:pt x="3560680" y="3993503"/>
                </a:cubicBezTo>
                <a:cubicBezTo>
                  <a:pt x="3560680" y="4042775"/>
                  <a:pt x="3520733" y="4082753"/>
                  <a:pt x="3471579" y="4082753"/>
                </a:cubicBezTo>
                <a:cubicBezTo>
                  <a:pt x="3422426" y="4082753"/>
                  <a:pt x="3382558" y="4042775"/>
                  <a:pt x="3382558" y="3993503"/>
                </a:cubicBezTo>
                <a:cubicBezTo>
                  <a:pt x="3382558" y="3944312"/>
                  <a:pt x="3422346" y="3904333"/>
                  <a:pt x="3471579" y="3904333"/>
                </a:cubicBezTo>
                <a:close/>
                <a:moveTo>
                  <a:pt x="3793560" y="3678564"/>
                </a:moveTo>
                <a:cubicBezTo>
                  <a:pt x="3842714" y="3678564"/>
                  <a:pt x="3882661" y="3718542"/>
                  <a:pt x="3882661" y="3767975"/>
                </a:cubicBezTo>
                <a:cubicBezTo>
                  <a:pt x="3882661" y="3817167"/>
                  <a:pt x="3842714" y="3857145"/>
                  <a:pt x="3793560" y="3857145"/>
                </a:cubicBezTo>
                <a:cubicBezTo>
                  <a:pt x="3744246" y="3857145"/>
                  <a:pt x="3704379" y="3817167"/>
                  <a:pt x="3704379" y="3767975"/>
                </a:cubicBezTo>
                <a:cubicBezTo>
                  <a:pt x="3704379" y="3718542"/>
                  <a:pt x="3744167" y="3678564"/>
                  <a:pt x="3793560" y="3678564"/>
                </a:cubicBezTo>
                <a:close/>
                <a:moveTo>
                  <a:pt x="4302789" y="3612387"/>
                </a:moveTo>
                <a:cubicBezTo>
                  <a:pt x="4339134" y="3612387"/>
                  <a:pt x="4368674" y="3641870"/>
                  <a:pt x="4368674" y="3678323"/>
                </a:cubicBezTo>
                <a:cubicBezTo>
                  <a:pt x="4368674" y="3714937"/>
                  <a:pt x="4339054" y="3744580"/>
                  <a:pt x="4302789" y="3744580"/>
                </a:cubicBezTo>
                <a:cubicBezTo>
                  <a:pt x="4266204" y="3744580"/>
                  <a:pt x="4236744" y="3714937"/>
                  <a:pt x="4236744" y="3678323"/>
                </a:cubicBezTo>
                <a:cubicBezTo>
                  <a:pt x="4236744" y="3641870"/>
                  <a:pt x="4266204" y="3612387"/>
                  <a:pt x="4302789" y="3612387"/>
                </a:cubicBezTo>
                <a:close/>
                <a:moveTo>
                  <a:pt x="3298021" y="3579620"/>
                </a:moveTo>
                <a:cubicBezTo>
                  <a:pt x="3360704" y="3579620"/>
                  <a:pt x="3411299" y="3630254"/>
                  <a:pt x="3411218" y="3692745"/>
                </a:cubicBezTo>
                <a:cubicBezTo>
                  <a:pt x="3411218" y="3755396"/>
                  <a:pt x="3360624" y="3806190"/>
                  <a:pt x="3298021" y="3806190"/>
                </a:cubicBezTo>
                <a:cubicBezTo>
                  <a:pt x="3235578" y="3806190"/>
                  <a:pt x="3184823" y="3755396"/>
                  <a:pt x="3184823" y="3692745"/>
                </a:cubicBezTo>
                <a:cubicBezTo>
                  <a:pt x="3184823" y="3630254"/>
                  <a:pt x="3235578" y="3579620"/>
                  <a:pt x="3298021" y="3579620"/>
                </a:cubicBezTo>
                <a:close/>
                <a:moveTo>
                  <a:pt x="4071430" y="3400478"/>
                </a:moveTo>
                <a:cubicBezTo>
                  <a:pt x="4120744" y="3400478"/>
                  <a:pt x="4160691" y="3440456"/>
                  <a:pt x="4160611" y="3489648"/>
                </a:cubicBezTo>
                <a:cubicBezTo>
                  <a:pt x="4160611" y="3538920"/>
                  <a:pt x="4120664" y="3578898"/>
                  <a:pt x="4071430" y="3578898"/>
                </a:cubicBezTo>
                <a:cubicBezTo>
                  <a:pt x="4022196" y="3578898"/>
                  <a:pt x="3982249" y="3538920"/>
                  <a:pt x="3982249" y="3489648"/>
                </a:cubicBezTo>
                <a:cubicBezTo>
                  <a:pt x="3982249" y="3440456"/>
                  <a:pt x="4022196" y="3400478"/>
                  <a:pt x="4071430" y="3400478"/>
                </a:cubicBezTo>
                <a:close/>
                <a:moveTo>
                  <a:pt x="616663" y="3400318"/>
                </a:moveTo>
                <a:cubicBezTo>
                  <a:pt x="665897" y="3400318"/>
                  <a:pt x="705844" y="3440296"/>
                  <a:pt x="705844" y="3489568"/>
                </a:cubicBezTo>
                <a:cubicBezTo>
                  <a:pt x="705844" y="3538840"/>
                  <a:pt x="665897" y="3578738"/>
                  <a:pt x="616663" y="3578738"/>
                </a:cubicBezTo>
                <a:cubicBezTo>
                  <a:pt x="567429" y="3578738"/>
                  <a:pt x="527482" y="3538840"/>
                  <a:pt x="527482" y="3489568"/>
                </a:cubicBezTo>
                <a:cubicBezTo>
                  <a:pt x="527482" y="3440296"/>
                  <a:pt x="567429" y="3400318"/>
                  <a:pt x="616663" y="3400318"/>
                </a:cubicBezTo>
                <a:close/>
                <a:moveTo>
                  <a:pt x="3570447" y="3388461"/>
                </a:moveTo>
                <a:cubicBezTo>
                  <a:pt x="3633050" y="3388461"/>
                  <a:pt x="3683805" y="3439255"/>
                  <a:pt x="3683805" y="3501906"/>
                </a:cubicBezTo>
                <a:cubicBezTo>
                  <a:pt x="3683805" y="3564397"/>
                  <a:pt x="3633050" y="3615192"/>
                  <a:pt x="3570447" y="3615192"/>
                </a:cubicBezTo>
                <a:cubicBezTo>
                  <a:pt x="3508005" y="3615192"/>
                  <a:pt x="3457410" y="3564397"/>
                  <a:pt x="3457410" y="3501906"/>
                </a:cubicBezTo>
                <a:cubicBezTo>
                  <a:pt x="3457410" y="3439255"/>
                  <a:pt x="3508005" y="3388461"/>
                  <a:pt x="3570447" y="3388461"/>
                </a:cubicBezTo>
                <a:close/>
                <a:moveTo>
                  <a:pt x="2878053" y="3376042"/>
                </a:moveTo>
                <a:cubicBezTo>
                  <a:pt x="2950262" y="3376042"/>
                  <a:pt x="3009023" y="3434768"/>
                  <a:pt x="3009023" y="3507194"/>
                </a:cubicBezTo>
                <a:cubicBezTo>
                  <a:pt x="3009023" y="3579619"/>
                  <a:pt x="2950262" y="3638345"/>
                  <a:pt x="2878053" y="3638345"/>
                </a:cubicBezTo>
                <a:cubicBezTo>
                  <a:pt x="2805523" y="3638345"/>
                  <a:pt x="2746843" y="3579619"/>
                  <a:pt x="2746843" y="3507194"/>
                </a:cubicBezTo>
                <a:cubicBezTo>
                  <a:pt x="2746843" y="3434768"/>
                  <a:pt x="2805523" y="3376042"/>
                  <a:pt x="2878053" y="3376042"/>
                </a:cubicBezTo>
                <a:close/>
                <a:moveTo>
                  <a:pt x="3124542" y="3260995"/>
                </a:moveTo>
                <a:cubicBezTo>
                  <a:pt x="3196831" y="3260995"/>
                  <a:pt x="3255752" y="3319560"/>
                  <a:pt x="3255752" y="3392146"/>
                </a:cubicBezTo>
                <a:cubicBezTo>
                  <a:pt x="3255752" y="3464492"/>
                  <a:pt x="3196831" y="3523297"/>
                  <a:pt x="3124542" y="3523297"/>
                </a:cubicBezTo>
                <a:cubicBezTo>
                  <a:pt x="3052252" y="3523297"/>
                  <a:pt x="2993572" y="3464492"/>
                  <a:pt x="2993572" y="3392146"/>
                </a:cubicBezTo>
                <a:cubicBezTo>
                  <a:pt x="2993572" y="3319560"/>
                  <a:pt x="3052252" y="3260995"/>
                  <a:pt x="3124542" y="3260995"/>
                </a:cubicBezTo>
                <a:close/>
                <a:moveTo>
                  <a:pt x="4562807" y="3240485"/>
                </a:moveTo>
                <a:cubicBezTo>
                  <a:pt x="4599312" y="3240485"/>
                  <a:pt x="4628852" y="3269968"/>
                  <a:pt x="4628852" y="3306421"/>
                </a:cubicBezTo>
                <a:cubicBezTo>
                  <a:pt x="4628852" y="3343034"/>
                  <a:pt x="4599392" y="3372678"/>
                  <a:pt x="4562807" y="3372678"/>
                </a:cubicBezTo>
                <a:cubicBezTo>
                  <a:pt x="4526542" y="3372678"/>
                  <a:pt x="4496922" y="3343034"/>
                  <a:pt x="4496922" y="3306421"/>
                </a:cubicBezTo>
                <a:cubicBezTo>
                  <a:pt x="4496922" y="3269968"/>
                  <a:pt x="4526542" y="3240485"/>
                  <a:pt x="4562807" y="3240485"/>
                </a:cubicBezTo>
                <a:close/>
                <a:moveTo>
                  <a:pt x="3805568" y="3153318"/>
                </a:moveTo>
                <a:cubicBezTo>
                  <a:pt x="3868171" y="3153318"/>
                  <a:pt x="3918926" y="3203952"/>
                  <a:pt x="3918926" y="3266443"/>
                </a:cubicBezTo>
                <a:cubicBezTo>
                  <a:pt x="3918926" y="3329094"/>
                  <a:pt x="3868171" y="3379889"/>
                  <a:pt x="3805568" y="3379889"/>
                </a:cubicBezTo>
                <a:cubicBezTo>
                  <a:pt x="3743126" y="3379889"/>
                  <a:pt x="3692531" y="3329094"/>
                  <a:pt x="3692531" y="3266443"/>
                </a:cubicBezTo>
                <a:cubicBezTo>
                  <a:pt x="3692531" y="3203952"/>
                  <a:pt x="3743126" y="3153318"/>
                  <a:pt x="3805568" y="3153318"/>
                </a:cubicBezTo>
                <a:close/>
                <a:moveTo>
                  <a:pt x="882365" y="3152997"/>
                </a:moveTo>
                <a:cubicBezTo>
                  <a:pt x="944967" y="3152997"/>
                  <a:pt x="995722" y="3203791"/>
                  <a:pt x="995722" y="3266442"/>
                </a:cubicBezTo>
                <a:cubicBezTo>
                  <a:pt x="995722" y="3329094"/>
                  <a:pt x="944967" y="3379728"/>
                  <a:pt x="882365" y="3379728"/>
                </a:cubicBezTo>
                <a:cubicBezTo>
                  <a:pt x="819762" y="3379728"/>
                  <a:pt x="769327" y="3329094"/>
                  <a:pt x="769327" y="3266442"/>
                </a:cubicBezTo>
                <a:cubicBezTo>
                  <a:pt x="769327" y="3203791"/>
                  <a:pt x="819762" y="3152997"/>
                  <a:pt x="882365" y="3152997"/>
                </a:cubicBezTo>
                <a:close/>
                <a:moveTo>
                  <a:pt x="3347574" y="3104847"/>
                </a:moveTo>
                <a:cubicBezTo>
                  <a:pt x="3419864" y="3104847"/>
                  <a:pt x="3478544" y="3163493"/>
                  <a:pt x="3478544" y="3235998"/>
                </a:cubicBezTo>
                <a:cubicBezTo>
                  <a:pt x="3478544" y="3308344"/>
                  <a:pt x="3419864" y="3367069"/>
                  <a:pt x="3347574" y="3367069"/>
                </a:cubicBezTo>
                <a:cubicBezTo>
                  <a:pt x="3275124" y="3367069"/>
                  <a:pt x="3216364" y="3308344"/>
                  <a:pt x="3216364" y="3235998"/>
                </a:cubicBezTo>
                <a:cubicBezTo>
                  <a:pt x="3216364" y="3163573"/>
                  <a:pt x="3275124" y="3104847"/>
                  <a:pt x="3347574" y="3104847"/>
                </a:cubicBezTo>
                <a:close/>
                <a:moveTo>
                  <a:pt x="1340279" y="3104687"/>
                </a:moveTo>
                <a:cubicBezTo>
                  <a:pt x="1412728" y="3104687"/>
                  <a:pt x="1471329" y="3163333"/>
                  <a:pt x="1471329" y="3235838"/>
                </a:cubicBezTo>
                <a:cubicBezTo>
                  <a:pt x="1471329" y="3308344"/>
                  <a:pt x="1412648" y="3366910"/>
                  <a:pt x="1340279" y="3366910"/>
                </a:cubicBezTo>
                <a:cubicBezTo>
                  <a:pt x="1267909" y="3366910"/>
                  <a:pt x="1209229" y="3308264"/>
                  <a:pt x="1209229" y="3235838"/>
                </a:cubicBezTo>
                <a:cubicBezTo>
                  <a:pt x="1209229" y="3163413"/>
                  <a:pt x="1267829" y="3104687"/>
                  <a:pt x="1340279" y="3104687"/>
                </a:cubicBezTo>
                <a:close/>
                <a:moveTo>
                  <a:pt x="4296945" y="3078329"/>
                </a:moveTo>
                <a:cubicBezTo>
                  <a:pt x="4346019" y="3078329"/>
                  <a:pt x="4386046" y="3118147"/>
                  <a:pt x="4386046" y="3167499"/>
                </a:cubicBezTo>
                <a:cubicBezTo>
                  <a:pt x="4386046" y="3216691"/>
                  <a:pt x="4346098" y="3256669"/>
                  <a:pt x="4296945" y="3256669"/>
                </a:cubicBezTo>
                <a:cubicBezTo>
                  <a:pt x="4247791" y="3256669"/>
                  <a:pt x="4207924" y="3216691"/>
                  <a:pt x="4207924" y="3167499"/>
                </a:cubicBezTo>
                <a:cubicBezTo>
                  <a:pt x="4207924" y="3118227"/>
                  <a:pt x="4247711" y="3078329"/>
                  <a:pt x="4296945" y="3078329"/>
                </a:cubicBezTo>
                <a:close/>
                <a:moveTo>
                  <a:pt x="391148" y="3078168"/>
                </a:moveTo>
                <a:cubicBezTo>
                  <a:pt x="440382" y="3078168"/>
                  <a:pt x="480409" y="3118226"/>
                  <a:pt x="480329" y="3167258"/>
                </a:cubicBezTo>
                <a:cubicBezTo>
                  <a:pt x="480329" y="3216610"/>
                  <a:pt x="440382" y="3256508"/>
                  <a:pt x="391148" y="3256508"/>
                </a:cubicBezTo>
                <a:cubicBezTo>
                  <a:pt x="341914" y="3256508"/>
                  <a:pt x="302127" y="3216690"/>
                  <a:pt x="302127" y="3167258"/>
                </a:cubicBezTo>
                <a:cubicBezTo>
                  <a:pt x="302127" y="3118147"/>
                  <a:pt x="341914" y="3078168"/>
                  <a:pt x="391148" y="3078168"/>
                </a:cubicBezTo>
                <a:close/>
                <a:moveTo>
                  <a:pt x="1148227" y="2912647"/>
                </a:moveTo>
                <a:cubicBezTo>
                  <a:pt x="1220757" y="2912647"/>
                  <a:pt x="1279437" y="2971132"/>
                  <a:pt x="1279437" y="3043798"/>
                </a:cubicBezTo>
                <a:cubicBezTo>
                  <a:pt x="1279437" y="3116304"/>
                  <a:pt x="1220757" y="3174869"/>
                  <a:pt x="1148227" y="3174869"/>
                </a:cubicBezTo>
                <a:cubicBezTo>
                  <a:pt x="1075937" y="3174869"/>
                  <a:pt x="1017257" y="3116304"/>
                  <a:pt x="1017257" y="3043798"/>
                </a:cubicBezTo>
                <a:cubicBezTo>
                  <a:pt x="1017257" y="2971212"/>
                  <a:pt x="1075937" y="2912647"/>
                  <a:pt x="1148227" y="2912647"/>
                </a:cubicBezTo>
                <a:close/>
                <a:moveTo>
                  <a:pt x="3540026" y="2912086"/>
                </a:moveTo>
                <a:cubicBezTo>
                  <a:pt x="3612315" y="2912086"/>
                  <a:pt x="3670996" y="2970732"/>
                  <a:pt x="3670996" y="3043237"/>
                </a:cubicBezTo>
                <a:cubicBezTo>
                  <a:pt x="3670996" y="3115583"/>
                  <a:pt x="3612315" y="3174388"/>
                  <a:pt x="3540026" y="3174388"/>
                </a:cubicBezTo>
                <a:cubicBezTo>
                  <a:pt x="3467656" y="3174388"/>
                  <a:pt x="3408816" y="3115583"/>
                  <a:pt x="3408816" y="3043237"/>
                </a:cubicBezTo>
                <a:cubicBezTo>
                  <a:pt x="3408816" y="2970812"/>
                  <a:pt x="3467576" y="2912086"/>
                  <a:pt x="3540026" y="2912086"/>
                </a:cubicBezTo>
                <a:close/>
                <a:moveTo>
                  <a:pt x="3996499" y="2880680"/>
                </a:moveTo>
                <a:cubicBezTo>
                  <a:pt x="4058941" y="2880680"/>
                  <a:pt x="4109696" y="2931314"/>
                  <a:pt x="4109696" y="2993805"/>
                </a:cubicBezTo>
                <a:cubicBezTo>
                  <a:pt x="4109696" y="3056456"/>
                  <a:pt x="4058941" y="3107250"/>
                  <a:pt x="3996499" y="3107250"/>
                </a:cubicBezTo>
                <a:cubicBezTo>
                  <a:pt x="3934056" y="3107250"/>
                  <a:pt x="3883301" y="3056456"/>
                  <a:pt x="3883301" y="2993805"/>
                </a:cubicBezTo>
                <a:cubicBezTo>
                  <a:pt x="3883301" y="2931314"/>
                  <a:pt x="3934056" y="2880680"/>
                  <a:pt x="3996499" y="2880680"/>
                </a:cubicBezTo>
                <a:close/>
                <a:moveTo>
                  <a:pt x="691675" y="2880600"/>
                </a:moveTo>
                <a:cubicBezTo>
                  <a:pt x="754117" y="2880600"/>
                  <a:pt x="804872" y="2931234"/>
                  <a:pt x="804872" y="2993885"/>
                </a:cubicBezTo>
                <a:cubicBezTo>
                  <a:pt x="804872" y="3056376"/>
                  <a:pt x="754117" y="3107170"/>
                  <a:pt x="691675" y="3107170"/>
                </a:cubicBezTo>
                <a:cubicBezTo>
                  <a:pt x="629152" y="3107170"/>
                  <a:pt x="578477" y="3056376"/>
                  <a:pt x="578477" y="2993885"/>
                </a:cubicBezTo>
                <a:cubicBezTo>
                  <a:pt x="578477" y="2931234"/>
                  <a:pt x="629152" y="2880600"/>
                  <a:pt x="691675" y="2880600"/>
                </a:cubicBezTo>
                <a:close/>
                <a:moveTo>
                  <a:pt x="4737247" y="2846390"/>
                </a:moveTo>
                <a:cubicBezTo>
                  <a:pt x="4773832" y="2846390"/>
                  <a:pt x="4803292" y="2875873"/>
                  <a:pt x="4803292" y="2912326"/>
                </a:cubicBezTo>
                <a:cubicBezTo>
                  <a:pt x="4803292" y="2948940"/>
                  <a:pt x="4773832" y="2978583"/>
                  <a:pt x="4737247" y="2978583"/>
                </a:cubicBezTo>
                <a:cubicBezTo>
                  <a:pt x="4700902" y="2978583"/>
                  <a:pt x="4671282" y="2948940"/>
                  <a:pt x="4671282" y="2912326"/>
                </a:cubicBezTo>
                <a:cubicBezTo>
                  <a:pt x="4671282" y="2875873"/>
                  <a:pt x="4700822" y="2846390"/>
                  <a:pt x="4737247" y="2846390"/>
                </a:cubicBezTo>
                <a:close/>
                <a:moveTo>
                  <a:pt x="4463140" y="2721728"/>
                </a:moveTo>
                <a:cubicBezTo>
                  <a:pt x="4512213" y="2721728"/>
                  <a:pt x="4552160" y="2761786"/>
                  <a:pt x="4552160" y="2810898"/>
                </a:cubicBezTo>
                <a:cubicBezTo>
                  <a:pt x="4552160" y="2860170"/>
                  <a:pt x="4512213" y="2900068"/>
                  <a:pt x="4463140" y="2900068"/>
                </a:cubicBezTo>
                <a:cubicBezTo>
                  <a:pt x="4413745" y="2900068"/>
                  <a:pt x="4373798" y="2860170"/>
                  <a:pt x="4373798" y="2810898"/>
                </a:cubicBezTo>
                <a:cubicBezTo>
                  <a:pt x="4373798" y="2761786"/>
                  <a:pt x="4413745" y="2721728"/>
                  <a:pt x="4463140" y="2721728"/>
                </a:cubicBezTo>
                <a:close/>
                <a:moveTo>
                  <a:pt x="225114" y="2721728"/>
                </a:moveTo>
                <a:cubicBezTo>
                  <a:pt x="274268" y="2721728"/>
                  <a:pt x="314215" y="2761626"/>
                  <a:pt x="314215" y="2810898"/>
                </a:cubicBezTo>
                <a:cubicBezTo>
                  <a:pt x="314215" y="2860170"/>
                  <a:pt x="274268" y="2900068"/>
                  <a:pt x="225114" y="2900068"/>
                </a:cubicBezTo>
                <a:cubicBezTo>
                  <a:pt x="175720" y="2900068"/>
                  <a:pt x="135933" y="2860170"/>
                  <a:pt x="135933" y="2810898"/>
                </a:cubicBezTo>
                <a:cubicBezTo>
                  <a:pt x="135933" y="2761626"/>
                  <a:pt x="175720" y="2721728"/>
                  <a:pt x="225114" y="2721728"/>
                </a:cubicBezTo>
                <a:close/>
                <a:moveTo>
                  <a:pt x="3695973" y="2689041"/>
                </a:moveTo>
                <a:cubicBezTo>
                  <a:pt x="3768342" y="2689041"/>
                  <a:pt x="3827023" y="2747847"/>
                  <a:pt x="3827023" y="2820192"/>
                </a:cubicBezTo>
                <a:cubicBezTo>
                  <a:pt x="3827023" y="2892538"/>
                  <a:pt x="3768342" y="2951263"/>
                  <a:pt x="3695973" y="2951263"/>
                </a:cubicBezTo>
                <a:cubicBezTo>
                  <a:pt x="3623843" y="2951263"/>
                  <a:pt x="3564923" y="2892538"/>
                  <a:pt x="3564923" y="2820192"/>
                </a:cubicBezTo>
                <a:cubicBezTo>
                  <a:pt x="3564923" y="2747847"/>
                  <a:pt x="3623763" y="2689041"/>
                  <a:pt x="3695973" y="2689041"/>
                </a:cubicBezTo>
                <a:close/>
                <a:moveTo>
                  <a:pt x="992200" y="2689041"/>
                </a:moveTo>
                <a:cubicBezTo>
                  <a:pt x="1064489" y="2689041"/>
                  <a:pt x="1123170" y="2747847"/>
                  <a:pt x="1123170" y="2820192"/>
                </a:cubicBezTo>
                <a:cubicBezTo>
                  <a:pt x="1123170" y="2892538"/>
                  <a:pt x="1064489" y="2951264"/>
                  <a:pt x="992200" y="2951264"/>
                </a:cubicBezTo>
                <a:cubicBezTo>
                  <a:pt x="919750" y="2951264"/>
                  <a:pt x="860990" y="2892538"/>
                  <a:pt x="860990" y="2820192"/>
                </a:cubicBezTo>
                <a:cubicBezTo>
                  <a:pt x="860990" y="2747847"/>
                  <a:pt x="919750" y="2688961"/>
                  <a:pt x="992200" y="2689041"/>
                </a:cubicBezTo>
                <a:close/>
                <a:moveTo>
                  <a:pt x="4137075" y="2579040"/>
                </a:moveTo>
                <a:cubicBezTo>
                  <a:pt x="4199518" y="2579040"/>
                  <a:pt x="4250113" y="2629674"/>
                  <a:pt x="4250113" y="2692165"/>
                </a:cubicBezTo>
                <a:cubicBezTo>
                  <a:pt x="4250113" y="2754816"/>
                  <a:pt x="4199598" y="2805450"/>
                  <a:pt x="4137075" y="2805450"/>
                </a:cubicBezTo>
                <a:cubicBezTo>
                  <a:pt x="4074473" y="2805450"/>
                  <a:pt x="4023718" y="2754816"/>
                  <a:pt x="4023718" y="2692165"/>
                </a:cubicBezTo>
                <a:cubicBezTo>
                  <a:pt x="4023718" y="2629674"/>
                  <a:pt x="4074473" y="2579040"/>
                  <a:pt x="4137075" y="2579040"/>
                </a:cubicBezTo>
                <a:close/>
                <a:moveTo>
                  <a:pt x="551018" y="2578880"/>
                </a:moveTo>
                <a:cubicBezTo>
                  <a:pt x="613620" y="2578880"/>
                  <a:pt x="664375" y="2629594"/>
                  <a:pt x="664375" y="2692005"/>
                </a:cubicBezTo>
                <a:cubicBezTo>
                  <a:pt x="664375" y="2754656"/>
                  <a:pt x="613620" y="2805450"/>
                  <a:pt x="551018" y="2805450"/>
                </a:cubicBezTo>
                <a:cubicBezTo>
                  <a:pt x="488575" y="2805450"/>
                  <a:pt x="437980" y="2754656"/>
                  <a:pt x="437980" y="2692005"/>
                </a:cubicBezTo>
                <a:cubicBezTo>
                  <a:pt x="437980" y="2629674"/>
                  <a:pt x="488575" y="2578880"/>
                  <a:pt x="551018" y="2578880"/>
                </a:cubicBezTo>
                <a:close/>
                <a:moveTo>
                  <a:pt x="3811092" y="2442281"/>
                </a:moveTo>
                <a:cubicBezTo>
                  <a:pt x="3883381" y="2442281"/>
                  <a:pt x="3942062" y="2501007"/>
                  <a:pt x="3942062" y="2573432"/>
                </a:cubicBezTo>
                <a:cubicBezTo>
                  <a:pt x="3942062" y="2645858"/>
                  <a:pt x="3883381" y="2704583"/>
                  <a:pt x="3811092" y="2704583"/>
                </a:cubicBezTo>
                <a:cubicBezTo>
                  <a:pt x="3738562" y="2704583"/>
                  <a:pt x="3679802" y="2645858"/>
                  <a:pt x="3679882" y="2573432"/>
                </a:cubicBezTo>
                <a:cubicBezTo>
                  <a:pt x="3679882" y="2501007"/>
                  <a:pt x="3738562" y="2442281"/>
                  <a:pt x="3811092" y="2442281"/>
                </a:cubicBezTo>
                <a:close/>
                <a:moveTo>
                  <a:pt x="877161" y="2442201"/>
                </a:moveTo>
                <a:cubicBezTo>
                  <a:pt x="949450" y="2442201"/>
                  <a:pt x="1008291" y="2501007"/>
                  <a:pt x="1008211" y="2573352"/>
                </a:cubicBezTo>
                <a:cubicBezTo>
                  <a:pt x="1008211" y="2645778"/>
                  <a:pt x="949450" y="2704503"/>
                  <a:pt x="877161" y="2704503"/>
                </a:cubicBezTo>
                <a:cubicBezTo>
                  <a:pt x="804871" y="2704503"/>
                  <a:pt x="745951" y="2645858"/>
                  <a:pt x="745951" y="2573352"/>
                </a:cubicBezTo>
                <a:cubicBezTo>
                  <a:pt x="745951" y="2500927"/>
                  <a:pt x="804871" y="2442201"/>
                  <a:pt x="877161" y="2442201"/>
                </a:cubicBezTo>
                <a:close/>
                <a:moveTo>
                  <a:pt x="4564809" y="2341975"/>
                </a:moveTo>
                <a:cubicBezTo>
                  <a:pt x="4613963" y="2341975"/>
                  <a:pt x="4653910" y="2381873"/>
                  <a:pt x="4653910" y="2431145"/>
                </a:cubicBezTo>
                <a:cubicBezTo>
                  <a:pt x="4653910" y="2480337"/>
                  <a:pt x="4613963" y="2520315"/>
                  <a:pt x="4564809" y="2520315"/>
                </a:cubicBezTo>
                <a:cubicBezTo>
                  <a:pt x="4515575" y="2520315"/>
                  <a:pt x="4475628" y="2480337"/>
                  <a:pt x="4475628" y="2431145"/>
                </a:cubicBezTo>
                <a:cubicBezTo>
                  <a:pt x="4475628" y="2381873"/>
                  <a:pt x="4515575" y="2341975"/>
                  <a:pt x="4564809" y="2341975"/>
                </a:cubicBezTo>
                <a:close/>
                <a:moveTo>
                  <a:pt x="123365" y="2341975"/>
                </a:moveTo>
                <a:cubicBezTo>
                  <a:pt x="172679" y="2341975"/>
                  <a:pt x="212466" y="2381953"/>
                  <a:pt x="212466" y="2431145"/>
                </a:cubicBezTo>
                <a:cubicBezTo>
                  <a:pt x="212466" y="2480337"/>
                  <a:pt x="172679" y="2520315"/>
                  <a:pt x="123365" y="2520315"/>
                </a:cubicBezTo>
                <a:cubicBezTo>
                  <a:pt x="73971" y="2520315"/>
                  <a:pt x="34184" y="2480337"/>
                  <a:pt x="34184" y="2431145"/>
                </a:cubicBezTo>
                <a:cubicBezTo>
                  <a:pt x="34184" y="2381953"/>
                  <a:pt x="73971" y="2341975"/>
                  <a:pt x="123365" y="2341975"/>
                </a:cubicBezTo>
                <a:close/>
                <a:moveTo>
                  <a:pt x="4223054" y="2257692"/>
                </a:moveTo>
                <a:cubicBezTo>
                  <a:pt x="4285497" y="2257692"/>
                  <a:pt x="4336252" y="2308326"/>
                  <a:pt x="4336252" y="2370897"/>
                </a:cubicBezTo>
                <a:cubicBezTo>
                  <a:pt x="4336252" y="2433548"/>
                  <a:pt x="4285497" y="2484262"/>
                  <a:pt x="4223054" y="2484262"/>
                </a:cubicBezTo>
                <a:cubicBezTo>
                  <a:pt x="4160612" y="2484262"/>
                  <a:pt x="4109857" y="2433548"/>
                  <a:pt x="4109857" y="2370897"/>
                </a:cubicBezTo>
                <a:cubicBezTo>
                  <a:pt x="4109857" y="2308326"/>
                  <a:pt x="4160612" y="2257692"/>
                  <a:pt x="4223054" y="2257692"/>
                </a:cubicBezTo>
                <a:close/>
                <a:moveTo>
                  <a:pt x="464959" y="2257452"/>
                </a:moveTo>
                <a:cubicBezTo>
                  <a:pt x="527561" y="2257452"/>
                  <a:pt x="578156" y="2308246"/>
                  <a:pt x="578156" y="2370817"/>
                </a:cubicBezTo>
                <a:cubicBezTo>
                  <a:pt x="578156" y="2433469"/>
                  <a:pt x="527561" y="2484183"/>
                  <a:pt x="464959" y="2484183"/>
                </a:cubicBezTo>
                <a:cubicBezTo>
                  <a:pt x="402356" y="2484183"/>
                  <a:pt x="351921" y="2433469"/>
                  <a:pt x="351921" y="2370817"/>
                </a:cubicBezTo>
                <a:cubicBezTo>
                  <a:pt x="351921" y="2308246"/>
                  <a:pt x="402356" y="2257452"/>
                  <a:pt x="464959" y="2257452"/>
                </a:cubicBezTo>
                <a:close/>
                <a:moveTo>
                  <a:pt x="3881460" y="2179498"/>
                </a:moveTo>
                <a:cubicBezTo>
                  <a:pt x="3953909" y="2179498"/>
                  <a:pt x="4012510" y="2238224"/>
                  <a:pt x="4012510" y="2310569"/>
                </a:cubicBezTo>
                <a:cubicBezTo>
                  <a:pt x="4012510" y="2382995"/>
                  <a:pt x="3953909" y="2441800"/>
                  <a:pt x="3881460" y="2441800"/>
                </a:cubicBezTo>
                <a:cubicBezTo>
                  <a:pt x="3809171" y="2441800"/>
                  <a:pt x="3750330" y="2382995"/>
                  <a:pt x="3750330" y="2310569"/>
                </a:cubicBezTo>
                <a:cubicBezTo>
                  <a:pt x="3750330" y="2238224"/>
                  <a:pt x="3809171" y="2179498"/>
                  <a:pt x="3881460" y="2179498"/>
                </a:cubicBezTo>
                <a:close/>
                <a:moveTo>
                  <a:pt x="806713" y="2179498"/>
                </a:moveTo>
                <a:cubicBezTo>
                  <a:pt x="879082" y="2179498"/>
                  <a:pt x="937763" y="2238144"/>
                  <a:pt x="937763" y="2310569"/>
                </a:cubicBezTo>
                <a:cubicBezTo>
                  <a:pt x="937763" y="2382995"/>
                  <a:pt x="879162" y="2441800"/>
                  <a:pt x="806713" y="2441800"/>
                </a:cubicBezTo>
                <a:cubicBezTo>
                  <a:pt x="734423" y="2441800"/>
                  <a:pt x="675583" y="2382995"/>
                  <a:pt x="675583" y="2310569"/>
                </a:cubicBezTo>
                <a:cubicBezTo>
                  <a:pt x="675583" y="2238224"/>
                  <a:pt x="734343" y="2179498"/>
                  <a:pt x="806713" y="2179498"/>
                </a:cubicBezTo>
                <a:close/>
                <a:moveTo>
                  <a:pt x="89181" y="1950284"/>
                </a:moveTo>
                <a:cubicBezTo>
                  <a:pt x="138335" y="1950284"/>
                  <a:pt x="178282" y="1990262"/>
                  <a:pt x="178282" y="2039454"/>
                </a:cubicBezTo>
                <a:cubicBezTo>
                  <a:pt x="178282" y="2088726"/>
                  <a:pt x="138255" y="2128624"/>
                  <a:pt x="89181" y="2128624"/>
                </a:cubicBezTo>
                <a:cubicBezTo>
                  <a:pt x="39947" y="2128624"/>
                  <a:pt x="0" y="2088646"/>
                  <a:pt x="0" y="2039454"/>
                </a:cubicBezTo>
                <a:cubicBezTo>
                  <a:pt x="0" y="1990262"/>
                  <a:pt x="39947" y="1950284"/>
                  <a:pt x="89181" y="1950284"/>
                </a:cubicBezTo>
                <a:close/>
                <a:moveTo>
                  <a:pt x="4597391" y="1950204"/>
                </a:moveTo>
                <a:cubicBezTo>
                  <a:pt x="4646545" y="1950204"/>
                  <a:pt x="4686492" y="1990182"/>
                  <a:pt x="4686492" y="2039374"/>
                </a:cubicBezTo>
                <a:cubicBezTo>
                  <a:pt x="4686492" y="2088566"/>
                  <a:pt x="4646545" y="2128544"/>
                  <a:pt x="4597391" y="2128544"/>
                </a:cubicBezTo>
                <a:cubicBezTo>
                  <a:pt x="4547997" y="2128544"/>
                  <a:pt x="4508050" y="2088566"/>
                  <a:pt x="4508050" y="2039374"/>
                </a:cubicBezTo>
                <a:cubicBezTo>
                  <a:pt x="4508050" y="1990182"/>
                  <a:pt x="4547997" y="1950204"/>
                  <a:pt x="4597391" y="1950204"/>
                </a:cubicBezTo>
                <a:close/>
                <a:moveTo>
                  <a:pt x="4252194" y="1926169"/>
                </a:moveTo>
                <a:cubicBezTo>
                  <a:pt x="4314558" y="1926169"/>
                  <a:pt x="4365312" y="1976963"/>
                  <a:pt x="4365232" y="2039534"/>
                </a:cubicBezTo>
                <a:cubicBezTo>
                  <a:pt x="4365232" y="2102105"/>
                  <a:pt x="4314477" y="2152900"/>
                  <a:pt x="4252194" y="2152900"/>
                </a:cubicBezTo>
                <a:cubicBezTo>
                  <a:pt x="4189592" y="2152900"/>
                  <a:pt x="4138837" y="2102105"/>
                  <a:pt x="4138837" y="2039534"/>
                </a:cubicBezTo>
                <a:cubicBezTo>
                  <a:pt x="4138837" y="1977043"/>
                  <a:pt x="4189592" y="1926169"/>
                  <a:pt x="4252194" y="1926169"/>
                </a:cubicBezTo>
                <a:close/>
                <a:moveTo>
                  <a:pt x="436060" y="1926088"/>
                </a:moveTo>
                <a:cubicBezTo>
                  <a:pt x="498662" y="1926088"/>
                  <a:pt x="549257" y="1976962"/>
                  <a:pt x="549257" y="2039454"/>
                </a:cubicBezTo>
                <a:cubicBezTo>
                  <a:pt x="549257" y="2102025"/>
                  <a:pt x="498662" y="2152819"/>
                  <a:pt x="436060" y="2152819"/>
                </a:cubicBezTo>
                <a:cubicBezTo>
                  <a:pt x="373537" y="2152819"/>
                  <a:pt x="322862" y="2102105"/>
                  <a:pt x="322862" y="2039454"/>
                </a:cubicBezTo>
                <a:cubicBezTo>
                  <a:pt x="322862" y="1976962"/>
                  <a:pt x="373537" y="1926088"/>
                  <a:pt x="436060" y="1926088"/>
                </a:cubicBezTo>
                <a:close/>
                <a:moveTo>
                  <a:pt x="3905237" y="1908383"/>
                </a:moveTo>
                <a:cubicBezTo>
                  <a:pt x="3977606" y="1908383"/>
                  <a:pt x="4036287" y="1967109"/>
                  <a:pt x="4036287" y="2039534"/>
                </a:cubicBezTo>
                <a:cubicBezTo>
                  <a:pt x="4036287" y="2111960"/>
                  <a:pt x="3977686" y="2170685"/>
                  <a:pt x="3905237" y="2170685"/>
                </a:cubicBezTo>
                <a:cubicBezTo>
                  <a:pt x="3832787" y="2170685"/>
                  <a:pt x="3774107" y="2111960"/>
                  <a:pt x="3774107" y="2039534"/>
                </a:cubicBezTo>
                <a:cubicBezTo>
                  <a:pt x="3774107" y="1967109"/>
                  <a:pt x="3832787" y="1908383"/>
                  <a:pt x="3905237" y="1908383"/>
                </a:cubicBezTo>
                <a:close/>
                <a:moveTo>
                  <a:pt x="783097" y="1908383"/>
                </a:moveTo>
                <a:cubicBezTo>
                  <a:pt x="855386" y="1908383"/>
                  <a:pt x="914067" y="1967109"/>
                  <a:pt x="914067" y="2039534"/>
                </a:cubicBezTo>
                <a:cubicBezTo>
                  <a:pt x="914067" y="2111960"/>
                  <a:pt x="855386" y="2170685"/>
                  <a:pt x="783097" y="2170685"/>
                </a:cubicBezTo>
                <a:cubicBezTo>
                  <a:pt x="710567" y="2170685"/>
                  <a:pt x="651887" y="2111960"/>
                  <a:pt x="651887" y="2039534"/>
                </a:cubicBezTo>
                <a:cubicBezTo>
                  <a:pt x="651887" y="1967109"/>
                  <a:pt x="710487" y="1908383"/>
                  <a:pt x="783097" y="1908383"/>
                </a:cubicBezTo>
                <a:close/>
                <a:moveTo>
                  <a:pt x="3881460" y="1637027"/>
                </a:moveTo>
                <a:cubicBezTo>
                  <a:pt x="3953909" y="1637027"/>
                  <a:pt x="4012510" y="1695753"/>
                  <a:pt x="4012510" y="1768178"/>
                </a:cubicBezTo>
                <a:cubicBezTo>
                  <a:pt x="4012510" y="1840764"/>
                  <a:pt x="3953909" y="1899329"/>
                  <a:pt x="3881460" y="1899329"/>
                </a:cubicBezTo>
                <a:cubicBezTo>
                  <a:pt x="3809171" y="1899329"/>
                  <a:pt x="3750330" y="1840764"/>
                  <a:pt x="3750330" y="1768178"/>
                </a:cubicBezTo>
                <a:cubicBezTo>
                  <a:pt x="3750330" y="1695753"/>
                  <a:pt x="3809171" y="1637027"/>
                  <a:pt x="3881460" y="1637027"/>
                </a:cubicBezTo>
                <a:close/>
                <a:moveTo>
                  <a:pt x="806633" y="1637027"/>
                </a:moveTo>
                <a:cubicBezTo>
                  <a:pt x="879002" y="1637027"/>
                  <a:pt x="937683" y="1695753"/>
                  <a:pt x="937683" y="1768178"/>
                </a:cubicBezTo>
                <a:cubicBezTo>
                  <a:pt x="937683" y="1840764"/>
                  <a:pt x="879082" y="1899329"/>
                  <a:pt x="806633" y="1899329"/>
                </a:cubicBezTo>
                <a:cubicBezTo>
                  <a:pt x="734343" y="1899329"/>
                  <a:pt x="675583" y="1840764"/>
                  <a:pt x="675503" y="1768178"/>
                </a:cubicBezTo>
                <a:cubicBezTo>
                  <a:pt x="675503" y="1695753"/>
                  <a:pt x="734343" y="1637027"/>
                  <a:pt x="806633" y="1637027"/>
                </a:cubicBezTo>
                <a:close/>
                <a:moveTo>
                  <a:pt x="4222975" y="1594645"/>
                </a:moveTo>
                <a:cubicBezTo>
                  <a:pt x="4285417" y="1594645"/>
                  <a:pt x="4336172" y="1645199"/>
                  <a:pt x="4336172" y="1707850"/>
                </a:cubicBezTo>
                <a:cubicBezTo>
                  <a:pt x="4336172" y="1770421"/>
                  <a:pt x="4285417" y="1821215"/>
                  <a:pt x="4222975" y="1821215"/>
                </a:cubicBezTo>
                <a:cubicBezTo>
                  <a:pt x="4160532" y="1821215"/>
                  <a:pt x="4109777" y="1770421"/>
                  <a:pt x="4109777" y="1707850"/>
                </a:cubicBezTo>
                <a:cubicBezTo>
                  <a:pt x="4109777" y="1645199"/>
                  <a:pt x="4160532" y="1594645"/>
                  <a:pt x="4222975" y="1594645"/>
                </a:cubicBezTo>
                <a:close/>
                <a:moveTo>
                  <a:pt x="464959" y="1594645"/>
                </a:moveTo>
                <a:cubicBezTo>
                  <a:pt x="527561" y="1594645"/>
                  <a:pt x="578156" y="1645359"/>
                  <a:pt x="578156" y="1707850"/>
                </a:cubicBezTo>
                <a:cubicBezTo>
                  <a:pt x="578156" y="1770421"/>
                  <a:pt x="527561" y="1821215"/>
                  <a:pt x="464959" y="1821215"/>
                </a:cubicBezTo>
                <a:cubicBezTo>
                  <a:pt x="402356" y="1821215"/>
                  <a:pt x="351921" y="1770421"/>
                  <a:pt x="351921" y="1707850"/>
                </a:cubicBezTo>
                <a:cubicBezTo>
                  <a:pt x="351921" y="1645359"/>
                  <a:pt x="402356" y="1594645"/>
                  <a:pt x="464959" y="1594645"/>
                </a:cubicBezTo>
                <a:close/>
                <a:moveTo>
                  <a:pt x="123365" y="1558432"/>
                </a:moveTo>
                <a:cubicBezTo>
                  <a:pt x="172679" y="1558432"/>
                  <a:pt x="212466" y="1598250"/>
                  <a:pt x="212466" y="1647602"/>
                </a:cubicBezTo>
                <a:cubicBezTo>
                  <a:pt x="212466" y="1696794"/>
                  <a:pt x="172679" y="1736772"/>
                  <a:pt x="123365" y="1736772"/>
                </a:cubicBezTo>
                <a:cubicBezTo>
                  <a:pt x="74051" y="1736772"/>
                  <a:pt x="34184" y="1696874"/>
                  <a:pt x="34184" y="1647602"/>
                </a:cubicBezTo>
                <a:cubicBezTo>
                  <a:pt x="34184" y="1598250"/>
                  <a:pt x="73971" y="1558432"/>
                  <a:pt x="123365" y="1558432"/>
                </a:cubicBezTo>
                <a:close/>
                <a:moveTo>
                  <a:pt x="2354654" y="1508840"/>
                </a:moveTo>
                <a:cubicBezTo>
                  <a:pt x="2643972" y="1508840"/>
                  <a:pt x="2878373" y="1743582"/>
                  <a:pt x="2878293" y="2032884"/>
                </a:cubicBezTo>
                <a:cubicBezTo>
                  <a:pt x="2878293" y="2322426"/>
                  <a:pt x="2643972" y="2556928"/>
                  <a:pt x="2354654" y="2556928"/>
                </a:cubicBezTo>
                <a:cubicBezTo>
                  <a:pt x="2065656" y="2556928"/>
                  <a:pt x="1831015" y="2322426"/>
                  <a:pt x="1831015" y="2032884"/>
                </a:cubicBezTo>
                <a:cubicBezTo>
                  <a:pt x="1831015" y="1743582"/>
                  <a:pt x="2065656" y="1508840"/>
                  <a:pt x="2354654" y="1508840"/>
                </a:cubicBezTo>
                <a:close/>
                <a:moveTo>
                  <a:pt x="3811092" y="1374003"/>
                </a:moveTo>
                <a:cubicBezTo>
                  <a:pt x="3883381" y="1374003"/>
                  <a:pt x="3942142" y="1432649"/>
                  <a:pt x="3942142" y="1505074"/>
                </a:cubicBezTo>
                <a:cubicBezTo>
                  <a:pt x="3942142" y="1577580"/>
                  <a:pt x="3883381" y="1636306"/>
                  <a:pt x="3811092" y="1636306"/>
                </a:cubicBezTo>
                <a:cubicBezTo>
                  <a:pt x="3738642" y="1636306"/>
                  <a:pt x="3679962" y="1577580"/>
                  <a:pt x="3679962" y="1505074"/>
                </a:cubicBezTo>
                <a:cubicBezTo>
                  <a:pt x="3679962" y="1432729"/>
                  <a:pt x="3738642" y="1374003"/>
                  <a:pt x="3811092" y="1374003"/>
                </a:cubicBezTo>
                <a:close/>
                <a:moveTo>
                  <a:pt x="877161" y="1374003"/>
                </a:moveTo>
                <a:cubicBezTo>
                  <a:pt x="949450" y="1374003"/>
                  <a:pt x="1008211" y="1432649"/>
                  <a:pt x="1008211" y="1505074"/>
                </a:cubicBezTo>
                <a:cubicBezTo>
                  <a:pt x="1008211" y="1577580"/>
                  <a:pt x="949450" y="1636306"/>
                  <a:pt x="877161" y="1636306"/>
                </a:cubicBezTo>
                <a:cubicBezTo>
                  <a:pt x="804871" y="1636306"/>
                  <a:pt x="745951" y="1577580"/>
                  <a:pt x="745951" y="1505074"/>
                </a:cubicBezTo>
                <a:cubicBezTo>
                  <a:pt x="745951" y="1432729"/>
                  <a:pt x="804871" y="1374003"/>
                  <a:pt x="877161" y="1374003"/>
                </a:cubicBezTo>
                <a:close/>
                <a:moveTo>
                  <a:pt x="2232810" y="1301498"/>
                </a:moveTo>
                <a:cubicBezTo>
                  <a:pt x="2214317" y="1359262"/>
                  <a:pt x="2162041" y="1401804"/>
                  <a:pt x="2098078" y="1401804"/>
                </a:cubicBezTo>
                <a:cubicBezTo>
                  <a:pt x="2060532" y="1401804"/>
                  <a:pt x="2027229" y="1386502"/>
                  <a:pt x="2001611" y="1363027"/>
                </a:cubicBezTo>
                <a:cubicBezTo>
                  <a:pt x="2002092" y="1368555"/>
                  <a:pt x="2004734" y="1373042"/>
                  <a:pt x="2004734" y="1378650"/>
                </a:cubicBezTo>
                <a:cubicBezTo>
                  <a:pt x="2004734" y="1458046"/>
                  <a:pt x="1940450" y="1522220"/>
                  <a:pt x="1861195" y="1522220"/>
                </a:cubicBezTo>
                <a:cubicBezTo>
                  <a:pt x="1844784" y="1522220"/>
                  <a:pt x="1829093" y="1519335"/>
                  <a:pt x="1814443" y="1514288"/>
                </a:cubicBezTo>
                <a:cubicBezTo>
                  <a:pt x="1816605" y="1524142"/>
                  <a:pt x="1817806" y="1534397"/>
                  <a:pt x="1817806" y="1544973"/>
                </a:cubicBezTo>
                <a:cubicBezTo>
                  <a:pt x="1817806" y="1620122"/>
                  <a:pt x="1760006" y="1681652"/>
                  <a:pt x="1686356" y="1687901"/>
                </a:cubicBezTo>
                <a:cubicBezTo>
                  <a:pt x="1706129" y="1712497"/>
                  <a:pt x="1718057" y="1743663"/>
                  <a:pt x="1718057" y="1777712"/>
                </a:cubicBezTo>
                <a:cubicBezTo>
                  <a:pt x="1718057" y="1849577"/>
                  <a:pt x="1664420" y="1906300"/>
                  <a:pt x="1595974" y="1916955"/>
                </a:cubicBezTo>
                <a:cubicBezTo>
                  <a:pt x="1638643" y="1941792"/>
                  <a:pt x="1668663" y="1986256"/>
                  <a:pt x="1668663" y="2039374"/>
                </a:cubicBezTo>
                <a:cubicBezTo>
                  <a:pt x="1668663" y="2092411"/>
                  <a:pt x="1638643" y="2136796"/>
                  <a:pt x="1595974" y="2161712"/>
                </a:cubicBezTo>
                <a:cubicBezTo>
                  <a:pt x="1664420" y="2172368"/>
                  <a:pt x="1718057" y="2229251"/>
                  <a:pt x="1718057" y="2300955"/>
                </a:cubicBezTo>
                <a:cubicBezTo>
                  <a:pt x="1718057" y="2335966"/>
                  <a:pt x="1704048" y="2367052"/>
                  <a:pt x="1683153" y="2391888"/>
                </a:cubicBezTo>
                <a:cubicBezTo>
                  <a:pt x="1757925" y="2396775"/>
                  <a:pt x="1817806" y="2457504"/>
                  <a:pt x="1817806" y="2533614"/>
                </a:cubicBezTo>
                <a:cubicBezTo>
                  <a:pt x="1817806" y="2545392"/>
                  <a:pt x="1813723" y="2555727"/>
                  <a:pt x="1811241" y="2566542"/>
                </a:cubicBezTo>
                <a:cubicBezTo>
                  <a:pt x="1826772" y="2560694"/>
                  <a:pt x="1843503" y="2556448"/>
                  <a:pt x="1861195" y="2556448"/>
                </a:cubicBezTo>
                <a:cubicBezTo>
                  <a:pt x="1940530" y="2556448"/>
                  <a:pt x="2004734" y="2620782"/>
                  <a:pt x="2004734" y="2700097"/>
                </a:cubicBezTo>
                <a:cubicBezTo>
                  <a:pt x="2004734" y="2705705"/>
                  <a:pt x="2002172" y="2710352"/>
                  <a:pt x="2001611" y="2715800"/>
                </a:cubicBezTo>
                <a:cubicBezTo>
                  <a:pt x="2027309" y="2692326"/>
                  <a:pt x="2060612" y="2677184"/>
                  <a:pt x="2098078" y="2677184"/>
                </a:cubicBezTo>
                <a:cubicBezTo>
                  <a:pt x="2162041" y="2677184"/>
                  <a:pt x="2214237" y="2719485"/>
                  <a:pt x="2232810" y="2777250"/>
                </a:cubicBezTo>
                <a:cubicBezTo>
                  <a:pt x="2259148" y="2743761"/>
                  <a:pt x="2298055" y="2720847"/>
                  <a:pt x="2344006" y="2720847"/>
                </a:cubicBezTo>
                <a:cubicBezTo>
                  <a:pt x="2389878" y="2720847"/>
                  <a:pt x="2429024" y="2743761"/>
                  <a:pt x="2455202" y="2777330"/>
                </a:cubicBezTo>
                <a:cubicBezTo>
                  <a:pt x="2473775" y="2719566"/>
                  <a:pt x="2525971" y="2677104"/>
                  <a:pt x="2589855" y="2677104"/>
                </a:cubicBezTo>
                <a:cubicBezTo>
                  <a:pt x="2627481" y="2677104"/>
                  <a:pt x="2660863" y="2692246"/>
                  <a:pt x="2686401" y="2715720"/>
                </a:cubicBezTo>
                <a:cubicBezTo>
                  <a:pt x="2685840" y="2710272"/>
                  <a:pt x="2683119" y="2705625"/>
                  <a:pt x="2683119" y="2700017"/>
                </a:cubicBezTo>
                <a:cubicBezTo>
                  <a:pt x="2683119" y="2620782"/>
                  <a:pt x="2747403" y="2556448"/>
                  <a:pt x="2826737" y="2556528"/>
                </a:cubicBezTo>
                <a:cubicBezTo>
                  <a:pt x="2844509" y="2556528"/>
                  <a:pt x="2861081" y="2560774"/>
                  <a:pt x="2876771" y="2566623"/>
                </a:cubicBezTo>
                <a:cubicBezTo>
                  <a:pt x="2874049" y="2555807"/>
                  <a:pt x="2870207" y="2545392"/>
                  <a:pt x="2870207" y="2533694"/>
                </a:cubicBezTo>
                <a:cubicBezTo>
                  <a:pt x="2870207" y="2457583"/>
                  <a:pt x="2929848" y="2396855"/>
                  <a:pt x="3004859" y="2391968"/>
                </a:cubicBezTo>
                <a:cubicBezTo>
                  <a:pt x="2983885" y="2367132"/>
                  <a:pt x="2969795" y="2336127"/>
                  <a:pt x="2969795" y="2301035"/>
                </a:cubicBezTo>
                <a:cubicBezTo>
                  <a:pt x="2969795" y="2229331"/>
                  <a:pt x="3023272" y="2172448"/>
                  <a:pt x="3092039" y="2161792"/>
                </a:cubicBezTo>
                <a:cubicBezTo>
                  <a:pt x="3049290" y="2136876"/>
                  <a:pt x="3019109" y="2092411"/>
                  <a:pt x="3019109" y="2039454"/>
                </a:cubicBezTo>
                <a:cubicBezTo>
                  <a:pt x="3019109" y="1986336"/>
                  <a:pt x="3049210" y="1941871"/>
                  <a:pt x="3092039" y="1917035"/>
                </a:cubicBezTo>
                <a:cubicBezTo>
                  <a:pt x="3023272" y="1906380"/>
                  <a:pt x="2969795" y="1849657"/>
                  <a:pt x="2969795" y="1777792"/>
                </a:cubicBezTo>
                <a:cubicBezTo>
                  <a:pt x="2969795" y="1742781"/>
                  <a:pt x="2983885" y="1711696"/>
                  <a:pt x="3004859" y="1686860"/>
                </a:cubicBezTo>
                <a:cubicBezTo>
                  <a:pt x="2929848" y="1682053"/>
                  <a:pt x="2870207" y="1621244"/>
                  <a:pt x="2870207" y="1545053"/>
                </a:cubicBezTo>
                <a:cubicBezTo>
                  <a:pt x="2870207" y="1533436"/>
                  <a:pt x="2874049" y="1523021"/>
                  <a:pt x="2876771" y="1512205"/>
                </a:cubicBezTo>
                <a:cubicBezTo>
                  <a:pt x="2861161" y="1518054"/>
                  <a:pt x="2844509" y="1522220"/>
                  <a:pt x="2826737" y="1522220"/>
                </a:cubicBezTo>
                <a:cubicBezTo>
                  <a:pt x="2747323" y="1522220"/>
                  <a:pt x="2683119" y="1458046"/>
                  <a:pt x="2683119" y="1378650"/>
                </a:cubicBezTo>
                <a:cubicBezTo>
                  <a:pt x="2683119" y="1373042"/>
                  <a:pt x="2685840" y="1368555"/>
                  <a:pt x="2686401" y="1363027"/>
                </a:cubicBezTo>
                <a:cubicBezTo>
                  <a:pt x="2660863" y="1386582"/>
                  <a:pt x="2627481" y="1401804"/>
                  <a:pt x="2589855" y="1401804"/>
                </a:cubicBezTo>
                <a:cubicBezTo>
                  <a:pt x="2525971" y="1401804"/>
                  <a:pt x="2473775" y="1359262"/>
                  <a:pt x="2455202" y="1301578"/>
                </a:cubicBezTo>
                <a:cubicBezTo>
                  <a:pt x="2428944" y="1334987"/>
                  <a:pt x="2389878" y="1357900"/>
                  <a:pt x="2344006" y="1357900"/>
                </a:cubicBezTo>
                <a:cubicBezTo>
                  <a:pt x="2297975" y="1357900"/>
                  <a:pt x="2259148" y="1334987"/>
                  <a:pt x="2232810" y="1301498"/>
                </a:cubicBezTo>
                <a:close/>
                <a:moveTo>
                  <a:pt x="551018" y="1273136"/>
                </a:moveTo>
                <a:cubicBezTo>
                  <a:pt x="613620" y="1273136"/>
                  <a:pt x="664375" y="1323850"/>
                  <a:pt x="664375" y="1386502"/>
                </a:cubicBezTo>
                <a:cubicBezTo>
                  <a:pt x="664375" y="1448912"/>
                  <a:pt x="613620" y="1499787"/>
                  <a:pt x="551018" y="1499787"/>
                </a:cubicBezTo>
                <a:cubicBezTo>
                  <a:pt x="488575" y="1499787"/>
                  <a:pt x="437980" y="1448832"/>
                  <a:pt x="437980" y="1386502"/>
                </a:cubicBezTo>
                <a:cubicBezTo>
                  <a:pt x="437980" y="1323850"/>
                  <a:pt x="488575" y="1273136"/>
                  <a:pt x="551018" y="1273136"/>
                </a:cubicBezTo>
                <a:close/>
                <a:moveTo>
                  <a:pt x="4137076" y="1273056"/>
                </a:moveTo>
                <a:cubicBezTo>
                  <a:pt x="4199518" y="1273056"/>
                  <a:pt x="4250273" y="1323850"/>
                  <a:pt x="4250273" y="1386261"/>
                </a:cubicBezTo>
                <a:cubicBezTo>
                  <a:pt x="4250273" y="1448912"/>
                  <a:pt x="4199518" y="1499626"/>
                  <a:pt x="4137076" y="1499626"/>
                </a:cubicBezTo>
                <a:cubicBezTo>
                  <a:pt x="4074473" y="1499626"/>
                  <a:pt x="4023878" y="1448912"/>
                  <a:pt x="4023878" y="1386261"/>
                </a:cubicBezTo>
                <a:cubicBezTo>
                  <a:pt x="4023878" y="1323850"/>
                  <a:pt x="4074473" y="1273056"/>
                  <a:pt x="4137076" y="1273056"/>
                </a:cubicBezTo>
                <a:close/>
                <a:moveTo>
                  <a:pt x="3694852" y="1127163"/>
                </a:moveTo>
                <a:cubicBezTo>
                  <a:pt x="3767142" y="1127163"/>
                  <a:pt x="3825821" y="1185889"/>
                  <a:pt x="3825821" y="1258314"/>
                </a:cubicBezTo>
                <a:cubicBezTo>
                  <a:pt x="3825821" y="1330820"/>
                  <a:pt x="3767142" y="1389546"/>
                  <a:pt x="3694852" y="1389546"/>
                </a:cubicBezTo>
                <a:cubicBezTo>
                  <a:pt x="3622242" y="1389546"/>
                  <a:pt x="3563802" y="1330900"/>
                  <a:pt x="3563802" y="1258314"/>
                </a:cubicBezTo>
                <a:cubicBezTo>
                  <a:pt x="3563802" y="1185889"/>
                  <a:pt x="3622242" y="1127163"/>
                  <a:pt x="3694852" y="1127163"/>
                </a:cubicBezTo>
                <a:close/>
                <a:moveTo>
                  <a:pt x="992120" y="1127163"/>
                </a:moveTo>
                <a:cubicBezTo>
                  <a:pt x="1064410" y="1127163"/>
                  <a:pt x="1123090" y="1185889"/>
                  <a:pt x="1123090" y="1258314"/>
                </a:cubicBezTo>
                <a:cubicBezTo>
                  <a:pt x="1123090" y="1330820"/>
                  <a:pt x="1064410" y="1389546"/>
                  <a:pt x="992120" y="1389546"/>
                </a:cubicBezTo>
                <a:cubicBezTo>
                  <a:pt x="919750" y="1389546"/>
                  <a:pt x="860990" y="1330900"/>
                  <a:pt x="860910" y="1258314"/>
                </a:cubicBezTo>
                <a:cubicBezTo>
                  <a:pt x="860910" y="1185889"/>
                  <a:pt x="919670" y="1127163"/>
                  <a:pt x="992120" y="1127163"/>
                </a:cubicBezTo>
                <a:close/>
                <a:moveTo>
                  <a:pt x="2344006" y="1070601"/>
                </a:moveTo>
                <a:cubicBezTo>
                  <a:pt x="2407970" y="1070601"/>
                  <a:pt x="2460086" y="1113063"/>
                  <a:pt x="2478739" y="1170827"/>
                </a:cubicBezTo>
                <a:cubicBezTo>
                  <a:pt x="2505077" y="1137258"/>
                  <a:pt x="2544063" y="1114345"/>
                  <a:pt x="2589775" y="1114345"/>
                </a:cubicBezTo>
                <a:cubicBezTo>
                  <a:pt x="2669189" y="1114345"/>
                  <a:pt x="2733393" y="1178679"/>
                  <a:pt x="2733393" y="1258074"/>
                </a:cubicBezTo>
                <a:cubicBezTo>
                  <a:pt x="2733393" y="1263602"/>
                  <a:pt x="2730911" y="1268249"/>
                  <a:pt x="2730271" y="1273617"/>
                </a:cubicBezTo>
                <a:cubicBezTo>
                  <a:pt x="2755809" y="1250143"/>
                  <a:pt x="2789352" y="1235081"/>
                  <a:pt x="2826737" y="1235081"/>
                </a:cubicBezTo>
                <a:cubicBezTo>
                  <a:pt x="2906071" y="1235081"/>
                  <a:pt x="2970275" y="1299335"/>
                  <a:pt x="2970275" y="1378570"/>
                </a:cubicBezTo>
                <a:cubicBezTo>
                  <a:pt x="2970275" y="1390187"/>
                  <a:pt x="2966193" y="1400602"/>
                  <a:pt x="2963711" y="1411418"/>
                </a:cubicBezTo>
                <a:cubicBezTo>
                  <a:pt x="2979242" y="1405409"/>
                  <a:pt x="2995973" y="1401243"/>
                  <a:pt x="3013665" y="1401243"/>
                </a:cubicBezTo>
                <a:cubicBezTo>
                  <a:pt x="3093080" y="1401243"/>
                  <a:pt x="3157204" y="1465657"/>
                  <a:pt x="3157204" y="1544893"/>
                </a:cubicBezTo>
                <a:cubicBezTo>
                  <a:pt x="3157204" y="1579984"/>
                  <a:pt x="3143194" y="1610909"/>
                  <a:pt x="3122299" y="1635745"/>
                </a:cubicBezTo>
                <a:cubicBezTo>
                  <a:pt x="3197311" y="1640632"/>
                  <a:pt x="3256952" y="1701441"/>
                  <a:pt x="3256952" y="1777632"/>
                </a:cubicBezTo>
                <a:cubicBezTo>
                  <a:pt x="3256952" y="1830749"/>
                  <a:pt x="3226931" y="1875134"/>
                  <a:pt x="3184102" y="1899971"/>
                </a:cubicBezTo>
                <a:cubicBezTo>
                  <a:pt x="3252789" y="1910786"/>
                  <a:pt x="3306186" y="1967669"/>
                  <a:pt x="3306186" y="2039374"/>
                </a:cubicBezTo>
                <a:cubicBezTo>
                  <a:pt x="3306186" y="2111078"/>
                  <a:pt x="3252869" y="2167801"/>
                  <a:pt x="3184102" y="2178617"/>
                </a:cubicBezTo>
                <a:cubicBezTo>
                  <a:pt x="3226931" y="2203453"/>
                  <a:pt x="3256952" y="2247838"/>
                  <a:pt x="3256952" y="2300955"/>
                </a:cubicBezTo>
                <a:cubicBezTo>
                  <a:pt x="3256952" y="2377146"/>
                  <a:pt x="3197311" y="2437955"/>
                  <a:pt x="3122299" y="2442842"/>
                </a:cubicBezTo>
                <a:cubicBezTo>
                  <a:pt x="3143114" y="2467678"/>
                  <a:pt x="3157204" y="2498603"/>
                  <a:pt x="3157204" y="2533614"/>
                </a:cubicBezTo>
                <a:cubicBezTo>
                  <a:pt x="3157204" y="2613090"/>
                  <a:pt x="3093080" y="2677344"/>
                  <a:pt x="3013665" y="2677344"/>
                </a:cubicBezTo>
                <a:cubicBezTo>
                  <a:pt x="2995893" y="2677344"/>
                  <a:pt x="2979242" y="2673098"/>
                  <a:pt x="2963711" y="2667249"/>
                </a:cubicBezTo>
                <a:cubicBezTo>
                  <a:pt x="2966193" y="2678065"/>
                  <a:pt x="2970275" y="2688400"/>
                  <a:pt x="2970275" y="2700017"/>
                </a:cubicBezTo>
                <a:cubicBezTo>
                  <a:pt x="2970275" y="2779413"/>
                  <a:pt x="2906071" y="2843747"/>
                  <a:pt x="2826817" y="2843827"/>
                </a:cubicBezTo>
                <a:cubicBezTo>
                  <a:pt x="2789431" y="2843827"/>
                  <a:pt x="2755888" y="2828524"/>
                  <a:pt x="2730351" y="2805050"/>
                </a:cubicBezTo>
                <a:cubicBezTo>
                  <a:pt x="2730991" y="2810338"/>
                  <a:pt x="2733473" y="2815145"/>
                  <a:pt x="2733473" y="2820593"/>
                </a:cubicBezTo>
                <a:cubicBezTo>
                  <a:pt x="2733473" y="2899989"/>
                  <a:pt x="2669269" y="2964242"/>
                  <a:pt x="2589855" y="2964242"/>
                </a:cubicBezTo>
                <a:cubicBezTo>
                  <a:pt x="2544143" y="2964242"/>
                  <a:pt x="2505157" y="2941249"/>
                  <a:pt x="2478819" y="2907840"/>
                </a:cubicBezTo>
                <a:cubicBezTo>
                  <a:pt x="2460166" y="2965444"/>
                  <a:pt x="2407970" y="3008146"/>
                  <a:pt x="2344086" y="3008146"/>
                </a:cubicBezTo>
                <a:cubicBezTo>
                  <a:pt x="2280122" y="3008146"/>
                  <a:pt x="2227927" y="2965444"/>
                  <a:pt x="2209354" y="2907840"/>
                </a:cubicBezTo>
                <a:cubicBezTo>
                  <a:pt x="2183016" y="2941329"/>
                  <a:pt x="2144109" y="2964242"/>
                  <a:pt x="2098158" y="2964242"/>
                </a:cubicBezTo>
                <a:cubicBezTo>
                  <a:pt x="2018903" y="2964242"/>
                  <a:pt x="1954699" y="2899909"/>
                  <a:pt x="1954699" y="2820593"/>
                </a:cubicBezTo>
                <a:cubicBezTo>
                  <a:pt x="1954699" y="2815145"/>
                  <a:pt x="1957261" y="2810338"/>
                  <a:pt x="1957822" y="2805050"/>
                </a:cubicBezTo>
                <a:cubicBezTo>
                  <a:pt x="1932124" y="2828524"/>
                  <a:pt x="1898901" y="2843827"/>
                  <a:pt x="1861355" y="2843827"/>
                </a:cubicBezTo>
                <a:cubicBezTo>
                  <a:pt x="1782101" y="2843827"/>
                  <a:pt x="1717977" y="2779413"/>
                  <a:pt x="1717977" y="2700097"/>
                </a:cubicBezTo>
                <a:cubicBezTo>
                  <a:pt x="1717977" y="2688480"/>
                  <a:pt x="1721820" y="2678145"/>
                  <a:pt x="1724542" y="2667329"/>
                </a:cubicBezTo>
                <a:cubicBezTo>
                  <a:pt x="1708931" y="2673178"/>
                  <a:pt x="1692280" y="2677424"/>
                  <a:pt x="1674507" y="2677424"/>
                </a:cubicBezTo>
                <a:cubicBezTo>
                  <a:pt x="1595093" y="2677424"/>
                  <a:pt x="1530889" y="2613170"/>
                  <a:pt x="1530889" y="2533694"/>
                </a:cubicBezTo>
                <a:cubicBezTo>
                  <a:pt x="1530889" y="2498683"/>
                  <a:pt x="1545059" y="2467758"/>
                  <a:pt x="1565793" y="2442922"/>
                </a:cubicBezTo>
                <a:cubicBezTo>
                  <a:pt x="1491022" y="2438035"/>
                  <a:pt x="1431301" y="2377226"/>
                  <a:pt x="1431301" y="2301035"/>
                </a:cubicBezTo>
                <a:cubicBezTo>
                  <a:pt x="1431301" y="2247918"/>
                  <a:pt x="1461321" y="2203533"/>
                  <a:pt x="1504151" y="2178697"/>
                </a:cubicBezTo>
                <a:cubicBezTo>
                  <a:pt x="1435384" y="2167881"/>
                  <a:pt x="1382067" y="2111239"/>
                  <a:pt x="1382067" y="2039454"/>
                </a:cubicBezTo>
                <a:cubicBezTo>
                  <a:pt x="1382067" y="1967669"/>
                  <a:pt x="1435384" y="1910866"/>
                  <a:pt x="1504151" y="1900050"/>
                </a:cubicBezTo>
                <a:cubicBezTo>
                  <a:pt x="1461321" y="1875214"/>
                  <a:pt x="1431301" y="1830830"/>
                  <a:pt x="1431301" y="1777712"/>
                </a:cubicBezTo>
                <a:cubicBezTo>
                  <a:pt x="1431301" y="1702563"/>
                  <a:pt x="1489020" y="1640953"/>
                  <a:pt x="1562671" y="1634784"/>
                </a:cubicBezTo>
                <a:cubicBezTo>
                  <a:pt x="1542897" y="1610188"/>
                  <a:pt x="1530969" y="1579023"/>
                  <a:pt x="1530969" y="1544973"/>
                </a:cubicBezTo>
                <a:cubicBezTo>
                  <a:pt x="1530969" y="1465737"/>
                  <a:pt x="1595173" y="1401323"/>
                  <a:pt x="1674267" y="1401323"/>
                </a:cubicBezTo>
                <a:cubicBezTo>
                  <a:pt x="1690759" y="1401323"/>
                  <a:pt x="1706529" y="1404208"/>
                  <a:pt x="1721259" y="1409335"/>
                </a:cubicBezTo>
                <a:cubicBezTo>
                  <a:pt x="1719098" y="1399401"/>
                  <a:pt x="1717897" y="1389146"/>
                  <a:pt x="1717897" y="1378570"/>
                </a:cubicBezTo>
                <a:cubicBezTo>
                  <a:pt x="1717897" y="1299415"/>
                  <a:pt x="1782021" y="1235081"/>
                  <a:pt x="1861275" y="1235081"/>
                </a:cubicBezTo>
                <a:cubicBezTo>
                  <a:pt x="1898821" y="1235081"/>
                  <a:pt x="1932124" y="1250143"/>
                  <a:pt x="1957742" y="1273617"/>
                </a:cubicBezTo>
                <a:cubicBezTo>
                  <a:pt x="1957181" y="1268249"/>
                  <a:pt x="1954619" y="1263522"/>
                  <a:pt x="1954619" y="1258074"/>
                </a:cubicBezTo>
                <a:cubicBezTo>
                  <a:pt x="1954619" y="1178679"/>
                  <a:pt x="2018823" y="1114345"/>
                  <a:pt x="2098078" y="1114345"/>
                </a:cubicBezTo>
                <a:cubicBezTo>
                  <a:pt x="2144109" y="1114345"/>
                  <a:pt x="2182936" y="1137258"/>
                  <a:pt x="2209274" y="1170827"/>
                </a:cubicBezTo>
                <a:cubicBezTo>
                  <a:pt x="2227766" y="1113143"/>
                  <a:pt x="2280043" y="1070601"/>
                  <a:pt x="2344006" y="1070601"/>
                </a:cubicBezTo>
                <a:close/>
                <a:moveTo>
                  <a:pt x="3996579" y="971336"/>
                </a:moveTo>
                <a:cubicBezTo>
                  <a:pt x="4059021" y="971336"/>
                  <a:pt x="4109616" y="1022130"/>
                  <a:pt x="4109616" y="1084701"/>
                </a:cubicBezTo>
                <a:cubicBezTo>
                  <a:pt x="4109616" y="1147192"/>
                  <a:pt x="4059021" y="1198067"/>
                  <a:pt x="3996579" y="1198067"/>
                </a:cubicBezTo>
                <a:cubicBezTo>
                  <a:pt x="3933976" y="1198067"/>
                  <a:pt x="3883061" y="1147192"/>
                  <a:pt x="3883061" y="1084701"/>
                </a:cubicBezTo>
                <a:cubicBezTo>
                  <a:pt x="3883061" y="1022130"/>
                  <a:pt x="3933976" y="971336"/>
                  <a:pt x="3996579" y="971336"/>
                </a:cubicBezTo>
                <a:close/>
                <a:moveTo>
                  <a:pt x="2245699" y="915014"/>
                </a:moveTo>
                <a:cubicBezTo>
                  <a:pt x="2227127" y="946740"/>
                  <a:pt x="2195905" y="971016"/>
                  <a:pt x="2156758" y="977826"/>
                </a:cubicBezTo>
                <a:cubicBezTo>
                  <a:pt x="2117852" y="984636"/>
                  <a:pt x="2080066" y="972778"/>
                  <a:pt x="2051966" y="949304"/>
                </a:cubicBezTo>
                <a:cubicBezTo>
                  <a:pt x="2039398" y="983835"/>
                  <a:pt x="2012659" y="1012917"/>
                  <a:pt x="1975434" y="1026537"/>
                </a:cubicBezTo>
                <a:cubicBezTo>
                  <a:pt x="1938209" y="1039997"/>
                  <a:pt x="1898902" y="1034869"/>
                  <a:pt x="1867280" y="1016522"/>
                </a:cubicBezTo>
                <a:cubicBezTo>
                  <a:pt x="1860635" y="1052815"/>
                  <a:pt x="1839661" y="1085984"/>
                  <a:pt x="1805237" y="1105852"/>
                </a:cubicBezTo>
                <a:cubicBezTo>
                  <a:pt x="1770814" y="1125721"/>
                  <a:pt x="1731267" y="1127404"/>
                  <a:pt x="1696763" y="1114986"/>
                </a:cubicBezTo>
                <a:cubicBezTo>
                  <a:pt x="1696603" y="1151679"/>
                  <a:pt x="1681793" y="1188213"/>
                  <a:pt x="1651212" y="1213770"/>
                </a:cubicBezTo>
                <a:cubicBezTo>
                  <a:pt x="1620791" y="1239247"/>
                  <a:pt x="1582445" y="1247819"/>
                  <a:pt x="1546020" y="1241490"/>
                </a:cubicBezTo>
                <a:cubicBezTo>
                  <a:pt x="1552424" y="1277623"/>
                  <a:pt x="1543938" y="1316239"/>
                  <a:pt x="1518481" y="1346604"/>
                </a:cubicBezTo>
                <a:cubicBezTo>
                  <a:pt x="1492943" y="1377048"/>
                  <a:pt x="1456518" y="1392110"/>
                  <a:pt x="1419853" y="1392110"/>
                </a:cubicBezTo>
                <a:cubicBezTo>
                  <a:pt x="1432262" y="1426801"/>
                  <a:pt x="1430500" y="1466218"/>
                  <a:pt x="1410727" y="1500588"/>
                </a:cubicBezTo>
                <a:cubicBezTo>
                  <a:pt x="1390953" y="1534798"/>
                  <a:pt x="1357731" y="1556189"/>
                  <a:pt x="1321546" y="1562518"/>
                </a:cubicBezTo>
                <a:cubicBezTo>
                  <a:pt x="1339879" y="1594565"/>
                  <a:pt x="1345002" y="1633662"/>
                  <a:pt x="1331393" y="1670996"/>
                </a:cubicBezTo>
                <a:cubicBezTo>
                  <a:pt x="1317943" y="1708171"/>
                  <a:pt x="1288723" y="1734930"/>
                  <a:pt x="1254220" y="1747588"/>
                </a:cubicBezTo>
                <a:cubicBezTo>
                  <a:pt x="1277836" y="1775789"/>
                  <a:pt x="1289684" y="1813444"/>
                  <a:pt x="1282879" y="1852541"/>
                </a:cubicBezTo>
                <a:cubicBezTo>
                  <a:pt x="1276075" y="1891638"/>
                  <a:pt x="1252058" y="1922964"/>
                  <a:pt x="1220116" y="1941391"/>
                </a:cubicBezTo>
                <a:cubicBezTo>
                  <a:pt x="1248216" y="1965105"/>
                  <a:pt x="1266308" y="2000197"/>
                  <a:pt x="1266308" y="2039774"/>
                </a:cubicBezTo>
                <a:cubicBezTo>
                  <a:pt x="1266548" y="2079432"/>
                  <a:pt x="1248216" y="2114363"/>
                  <a:pt x="1220116" y="2138238"/>
                </a:cubicBezTo>
                <a:cubicBezTo>
                  <a:pt x="1251898" y="2156665"/>
                  <a:pt x="1275915" y="2188071"/>
                  <a:pt x="1282719" y="2227087"/>
                </a:cubicBezTo>
                <a:cubicBezTo>
                  <a:pt x="1289684" y="2266024"/>
                  <a:pt x="1277836" y="2303759"/>
                  <a:pt x="1254220" y="2332041"/>
                </a:cubicBezTo>
                <a:cubicBezTo>
                  <a:pt x="1288723" y="2344539"/>
                  <a:pt x="1317943" y="2371138"/>
                  <a:pt x="1331313" y="2408472"/>
                </a:cubicBezTo>
                <a:cubicBezTo>
                  <a:pt x="1345082" y="2445646"/>
                  <a:pt x="1339958" y="2484583"/>
                  <a:pt x="1321626" y="2516469"/>
                </a:cubicBezTo>
                <a:cubicBezTo>
                  <a:pt x="1357731" y="2522959"/>
                  <a:pt x="1391033" y="2544190"/>
                  <a:pt x="1410807" y="2578560"/>
                </a:cubicBezTo>
                <a:cubicBezTo>
                  <a:pt x="1430581" y="2612850"/>
                  <a:pt x="1432342" y="2652428"/>
                  <a:pt x="1419933" y="2686958"/>
                </a:cubicBezTo>
                <a:cubicBezTo>
                  <a:pt x="1456598" y="2687118"/>
                  <a:pt x="1492863" y="2702260"/>
                  <a:pt x="1518401" y="2732544"/>
                </a:cubicBezTo>
                <a:cubicBezTo>
                  <a:pt x="1544018" y="2762829"/>
                  <a:pt x="1552504" y="2801445"/>
                  <a:pt x="1546100" y="2837658"/>
                </a:cubicBezTo>
                <a:cubicBezTo>
                  <a:pt x="1582525" y="2831409"/>
                  <a:pt x="1620871" y="2840141"/>
                  <a:pt x="1651292" y="2865538"/>
                </a:cubicBezTo>
                <a:cubicBezTo>
                  <a:pt x="1681873" y="2890855"/>
                  <a:pt x="1696843" y="2927469"/>
                  <a:pt x="1696843" y="2964162"/>
                </a:cubicBezTo>
                <a:cubicBezTo>
                  <a:pt x="1731347" y="2951744"/>
                  <a:pt x="1770894" y="2953346"/>
                  <a:pt x="1805157" y="2973296"/>
                </a:cubicBezTo>
                <a:cubicBezTo>
                  <a:pt x="1839581" y="2993085"/>
                  <a:pt x="1860715" y="3026333"/>
                  <a:pt x="1867120" y="3062546"/>
                </a:cubicBezTo>
                <a:cubicBezTo>
                  <a:pt x="1899062" y="3044279"/>
                  <a:pt x="1938289" y="3039072"/>
                  <a:pt x="1975434" y="3052691"/>
                </a:cubicBezTo>
                <a:cubicBezTo>
                  <a:pt x="2012820" y="3066151"/>
                  <a:pt x="2039398" y="3095394"/>
                  <a:pt x="2052047" y="3129924"/>
                </a:cubicBezTo>
                <a:cubicBezTo>
                  <a:pt x="2080146" y="3106130"/>
                  <a:pt x="2117932" y="3094272"/>
                  <a:pt x="2156838" y="3101402"/>
                </a:cubicBezTo>
                <a:cubicBezTo>
                  <a:pt x="2195905" y="3108052"/>
                  <a:pt x="2227207" y="3132087"/>
                  <a:pt x="2245859" y="3163893"/>
                </a:cubicBezTo>
                <a:cubicBezTo>
                  <a:pt x="2269476" y="3135933"/>
                  <a:pt x="2304540" y="3117666"/>
                  <a:pt x="2344087" y="3117666"/>
                </a:cubicBezTo>
                <a:cubicBezTo>
                  <a:pt x="2383634" y="3117666"/>
                  <a:pt x="2418698" y="3136093"/>
                  <a:pt x="2442314" y="3164054"/>
                </a:cubicBezTo>
                <a:cubicBezTo>
                  <a:pt x="2461047" y="3132247"/>
                  <a:pt x="2492268" y="3108212"/>
                  <a:pt x="2531255" y="3101402"/>
                </a:cubicBezTo>
                <a:cubicBezTo>
                  <a:pt x="2570242" y="3094272"/>
                  <a:pt x="2607948" y="3106289"/>
                  <a:pt x="2636127" y="3129924"/>
                </a:cubicBezTo>
                <a:cubicBezTo>
                  <a:pt x="2648776" y="3095554"/>
                  <a:pt x="2675434" y="3066311"/>
                  <a:pt x="2712659" y="3052691"/>
                </a:cubicBezTo>
                <a:cubicBezTo>
                  <a:pt x="2749885" y="3039152"/>
                  <a:pt x="2788951" y="3044359"/>
                  <a:pt x="2820733" y="3062706"/>
                </a:cubicBezTo>
                <a:cubicBezTo>
                  <a:pt x="2827298" y="3026493"/>
                  <a:pt x="2848432" y="2993085"/>
                  <a:pt x="2882856" y="2973296"/>
                </a:cubicBezTo>
                <a:cubicBezTo>
                  <a:pt x="2917200" y="2953427"/>
                  <a:pt x="2956747" y="2951744"/>
                  <a:pt x="2991250" y="2964322"/>
                </a:cubicBezTo>
                <a:cubicBezTo>
                  <a:pt x="2991410" y="2927629"/>
                  <a:pt x="3006381" y="2891176"/>
                  <a:pt x="3036641" y="2865538"/>
                </a:cubicBezTo>
                <a:cubicBezTo>
                  <a:pt x="3067142" y="2840061"/>
                  <a:pt x="3105489" y="2831489"/>
                  <a:pt x="3141913" y="2837658"/>
                </a:cubicBezTo>
                <a:cubicBezTo>
                  <a:pt x="3135589" y="2801525"/>
                  <a:pt x="3143995" y="2762829"/>
                  <a:pt x="3169532" y="2732544"/>
                </a:cubicBezTo>
                <a:cubicBezTo>
                  <a:pt x="3194990" y="2702260"/>
                  <a:pt x="3231575" y="2687118"/>
                  <a:pt x="3268240" y="2686958"/>
                </a:cubicBezTo>
                <a:cubicBezTo>
                  <a:pt x="3255672" y="2652428"/>
                  <a:pt x="3257432" y="2613010"/>
                  <a:pt x="3277286" y="2578560"/>
                </a:cubicBezTo>
                <a:cubicBezTo>
                  <a:pt x="3297060" y="2544270"/>
                  <a:pt x="3330442" y="2523039"/>
                  <a:pt x="3366547" y="2516550"/>
                </a:cubicBezTo>
                <a:cubicBezTo>
                  <a:pt x="3348215" y="2484503"/>
                  <a:pt x="3343171" y="2445486"/>
                  <a:pt x="3356621" y="2408232"/>
                </a:cubicBezTo>
                <a:cubicBezTo>
                  <a:pt x="3370230" y="2371057"/>
                  <a:pt x="3399450" y="2344539"/>
                  <a:pt x="3433794" y="2331960"/>
                </a:cubicBezTo>
                <a:cubicBezTo>
                  <a:pt x="3410338" y="2303679"/>
                  <a:pt x="3398329" y="2265944"/>
                  <a:pt x="3405134" y="2227007"/>
                </a:cubicBezTo>
                <a:cubicBezTo>
                  <a:pt x="3412259" y="2187830"/>
                  <a:pt x="3436275" y="2156505"/>
                  <a:pt x="3468057" y="2138158"/>
                </a:cubicBezTo>
                <a:cubicBezTo>
                  <a:pt x="3439958" y="2114283"/>
                  <a:pt x="3421705" y="2079352"/>
                  <a:pt x="3421545" y="2039694"/>
                </a:cubicBezTo>
                <a:cubicBezTo>
                  <a:pt x="3421705" y="2000117"/>
                  <a:pt x="3439958" y="1965025"/>
                  <a:pt x="3467897" y="1941311"/>
                </a:cubicBezTo>
                <a:cubicBezTo>
                  <a:pt x="3436115" y="1922804"/>
                  <a:pt x="3412099" y="1891478"/>
                  <a:pt x="3405134" y="1852461"/>
                </a:cubicBezTo>
                <a:cubicBezTo>
                  <a:pt x="3398329" y="1813204"/>
                  <a:pt x="3410338" y="1775709"/>
                  <a:pt x="3433794" y="1747508"/>
                </a:cubicBezTo>
                <a:cubicBezTo>
                  <a:pt x="3399450" y="1734769"/>
                  <a:pt x="3370230" y="1708091"/>
                  <a:pt x="3356621" y="1670756"/>
                </a:cubicBezTo>
                <a:cubicBezTo>
                  <a:pt x="3343091" y="1633422"/>
                  <a:pt x="3348135" y="1594485"/>
                  <a:pt x="3366547" y="1562438"/>
                </a:cubicBezTo>
                <a:cubicBezTo>
                  <a:pt x="3330442" y="1556029"/>
                  <a:pt x="3297060" y="1534718"/>
                  <a:pt x="3277286" y="1500508"/>
                </a:cubicBezTo>
                <a:cubicBezTo>
                  <a:pt x="3257432" y="1466058"/>
                  <a:pt x="3255672" y="1426560"/>
                  <a:pt x="3268240" y="1392030"/>
                </a:cubicBezTo>
                <a:cubicBezTo>
                  <a:pt x="3231575" y="1391870"/>
                  <a:pt x="3194990" y="1376808"/>
                  <a:pt x="3169532" y="1346523"/>
                </a:cubicBezTo>
                <a:cubicBezTo>
                  <a:pt x="3143995" y="1316079"/>
                  <a:pt x="3135509" y="1277463"/>
                  <a:pt x="3141913" y="1241250"/>
                </a:cubicBezTo>
                <a:cubicBezTo>
                  <a:pt x="3105569" y="1247579"/>
                  <a:pt x="3067222" y="1239007"/>
                  <a:pt x="3036641" y="1213610"/>
                </a:cubicBezTo>
                <a:cubicBezTo>
                  <a:pt x="3006381" y="1187972"/>
                  <a:pt x="2991410" y="1151519"/>
                  <a:pt x="2991250" y="1114745"/>
                </a:cubicBezTo>
                <a:cubicBezTo>
                  <a:pt x="2956586" y="1127244"/>
                  <a:pt x="2917200" y="1125561"/>
                  <a:pt x="2882856" y="1105692"/>
                </a:cubicBezTo>
                <a:cubicBezTo>
                  <a:pt x="2848432" y="1085823"/>
                  <a:pt x="2827298" y="1052655"/>
                  <a:pt x="2820733" y="1016362"/>
                </a:cubicBezTo>
                <a:cubicBezTo>
                  <a:pt x="2788951" y="1034709"/>
                  <a:pt x="2749805" y="1039836"/>
                  <a:pt x="2712579" y="1026457"/>
                </a:cubicBezTo>
                <a:cubicBezTo>
                  <a:pt x="2675194" y="1012757"/>
                  <a:pt x="2648695" y="983514"/>
                  <a:pt x="2636047" y="948984"/>
                </a:cubicBezTo>
                <a:cubicBezTo>
                  <a:pt x="2607867" y="972618"/>
                  <a:pt x="2570162" y="984476"/>
                  <a:pt x="2531175" y="977666"/>
                </a:cubicBezTo>
                <a:cubicBezTo>
                  <a:pt x="2492188" y="970695"/>
                  <a:pt x="2460887" y="946580"/>
                  <a:pt x="2442234" y="915014"/>
                </a:cubicBezTo>
                <a:cubicBezTo>
                  <a:pt x="2418618" y="943135"/>
                  <a:pt x="2383634" y="961402"/>
                  <a:pt x="2344007" y="961402"/>
                </a:cubicBezTo>
                <a:cubicBezTo>
                  <a:pt x="2304460" y="961402"/>
                  <a:pt x="2269395" y="943135"/>
                  <a:pt x="2245699" y="915014"/>
                </a:cubicBezTo>
                <a:close/>
                <a:moveTo>
                  <a:pt x="3539946" y="904118"/>
                </a:moveTo>
                <a:cubicBezTo>
                  <a:pt x="3612315" y="904118"/>
                  <a:pt x="3670996" y="962764"/>
                  <a:pt x="3670996" y="1035349"/>
                </a:cubicBezTo>
                <a:cubicBezTo>
                  <a:pt x="3670996" y="1107775"/>
                  <a:pt x="3612395" y="1166501"/>
                  <a:pt x="3539946" y="1166501"/>
                </a:cubicBezTo>
                <a:cubicBezTo>
                  <a:pt x="3467416" y="1166501"/>
                  <a:pt x="3408816" y="1107775"/>
                  <a:pt x="3408816" y="1035349"/>
                </a:cubicBezTo>
                <a:cubicBezTo>
                  <a:pt x="3408816" y="962844"/>
                  <a:pt x="3467496" y="904118"/>
                  <a:pt x="3539946" y="904118"/>
                </a:cubicBezTo>
                <a:close/>
                <a:moveTo>
                  <a:pt x="1148147" y="904118"/>
                </a:moveTo>
                <a:cubicBezTo>
                  <a:pt x="1220676" y="904118"/>
                  <a:pt x="1279357" y="962764"/>
                  <a:pt x="1279357" y="1035349"/>
                </a:cubicBezTo>
                <a:cubicBezTo>
                  <a:pt x="1279357" y="1107775"/>
                  <a:pt x="1220756" y="1166501"/>
                  <a:pt x="1148147" y="1166501"/>
                </a:cubicBezTo>
                <a:cubicBezTo>
                  <a:pt x="1075937" y="1166501"/>
                  <a:pt x="1017257" y="1107775"/>
                  <a:pt x="1017177" y="1035349"/>
                </a:cubicBezTo>
                <a:cubicBezTo>
                  <a:pt x="1017177" y="962844"/>
                  <a:pt x="1075857" y="904118"/>
                  <a:pt x="1148147" y="904118"/>
                </a:cubicBezTo>
                <a:close/>
                <a:moveTo>
                  <a:pt x="3347895" y="711517"/>
                </a:moveTo>
                <a:cubicBezTo>
                  <a:pt x="3420264" y="711517"/>
                  <a:pt x="3478945" y="770243"/>
                  <a:pt x="3478945" y="842668"/>
                </a:cubicBezTo>
                <a:cubicBezTo>
                  <a:pt x="3478945" y="915254"/>
                  <a:pt x="3420344" y="973820"/>
                  <a:pt x="3347895" y="973820"/>
                </a:cubicBezTo>
                <a:cubicBezTo>
                  <a:pt x="3275445" y="973820"/>
                  <a:pt x="3216765" y="915254"/>
                  <a:pt x="3216765" y="842668"/>
                </a:cubicBezTo>
                <a:cubicBezTo>
                  <a:pt x="3216765" y="770243"/>
                  <a:pt x="3275445" y="711517"/>
                  <a:pt x="3347895" y="711517"/>
                </a:cubicBezTo>
                <a:close/>
                <a:moveTo>
                  <a:pt x="3805808" y="698699"/>
                </a:moveTo>
                <a:cubicBezTo>
                  <a:pt x="3868251" y="698699"/>
                  <a:pt x="3919006" y="749413"/>
                  <a:pt x="3919006" y="812064"/>
                </a:cubicBezTo>
                <a:cubicBezTo>
                  <a:pt x="3919006" y="874636"/>
                  <a:pt x="3868251" y="925430"/>
                  <a:pt x="3805808" y="925430"/>
                </a:cubicBezTo>
                <a:cubicBezTo>
                  <a:pt x="3743126" y="925430"/>
                  <a:pt x="3692531" y="874636"/>
                  <a:pt x="3692611" y="812064"/>
                </a:cubicBezTo>
                <a:cubicBezTo>
                  <a:pt x="3692611" y="749413"/>
                  <a:pt x="3743205" y="698699"/>
                  <a:pt x="3805808" y="698699"/>
                </a:cubicBezTo>
                <a:close/>
                <a:moveTo>
                  <a:pt x="2344247" y="687883"/>
                </a:moveTo>
                <a:cubicBezTo>
                  <a:pt x="2392760" y="687883"/>
                  <a:pt x="2434389" y="714882"/>
                  <a:pt x="2456484" y="754220"/>
                </a:cubicBezTo>
                <a:cubicBezTo>
                  <a:pt x="2485063" y="719209"/>
                  <a:pt x="2530935" y="699820"/>
                  <a:pt x="2578807" y="708313"/>
                </a:cubicBezTo>
                <a:cubicBezTo>
                  <a:pt x="2626600" y="716645"/>
                  <a:pt x="2662945" y="750534"/>
                  <a:pt x="2677835" y="793477"/>
                </a:cubicBezTo>
                <a:cubicBezTo>
                  <a:pt x="2712099" y="763673"/>
                  <a:pt x="2760612" y="752617"/>
                  <a:pt x="2806243" y="769202"/>
                </a:cubicBezTo>
                <a:cubicBezTo>
                  <a:pt x="2851875" y="785866"/>
                  <a:pt x="2881735" y="825604"/>
                  <a:pt x="2888860" y="870149"/>
                </a:cubicBezTo>
                <a:cubicBezTo>
                  <a:pt x="2927847" y="847075"/>
                  <a:pt x="2977481" y="844591"/>
                  <a:pt x="3019349" y="868947"/>
                </a:cubicBezTo>
                <a:cubicBezTo>
                  <a:pt x="3061699" y="893142"/>
                  <a:pt x="3084274" y="937447"/>
                  <a:pt x="3083473" y="982713"/>
                </a:cubicBezTo>
                <a:cubicBezTo>
                  <a:pt x="3125902" y="966609"/>
                  <a:pt x="3175136" y="972698"/>
                  <a:pt x="3212522" y="1003944"/>
                </a:cubicBezTo>
                <a:cubicBezTo>
                  <a:pt x="3249667" y="1035109"/>
                  <a:pt x="3264318" y="1082779"/>
                  <a:pt x="3255591" y="1127244"/>
                </a:cubicBezTo>
                <a:cubicBezTo>
                  <a:pt x="3300262" y="1118671"/>
                  <a:pt x="3347735" y="1133413"/>
                  <a:pt x="3378796" y="1170667"/>
                </a:cubicBezTo>
                <a:cubicBezTo>
                  <a:pt x="3410338" y="1207841"/>
                  <a:pt x="3416181" y="1257113"/>
                  <a:pt x="3400090" y="1299655"/>
                </a:cubicBezTo>
                <a:cubicBezTo>
                  <a:pt x="3445481" y="1298854"/>
                  <a:pt x="3489672" y="1321527"/>
                  <a:pt x="3513848" y="1363668"/>
                </a:cubicBezTo>
                <a:cubicBezTo>
                  <a:pt x="3538425" y="1405650"/>
                  <a:pt x="3535703" y="1455402"/>
                  <a:pt x="3512488" y="1494259"/>
                </a:cubicBezTo>
                <a:cubicBezTo>
                  <a:pt x="3557238" y="1501469"/>
                  <a:pt x="3597105" y="1531433"/>
                  <a:pt x="3613596" y="1577180"/>
                </a:cubicBezTo>
                <a:cubicBezTo>
                  <a:pt x="3630088" y="1622766"/>
                  <a:pt x="3619120" y="1671237"/>
                  <a:pt x="3589260" y="1705527"/>
                </a:cubicBezTo>
                <a:cubicBezTo>
                  <a:pt x="3632169" y="1720509"/>
                  <a:pt x="3665953" y="1757122"/>
                  <a:pt x="3674438" y="1804792"/>
                </a:cubicBezTo>
                <a:cubicBezTo>
                  <a:pt x="3682924" y="1852621"/>
                  <a:pt x="3663551" y="1898448"/>
                  <a:pt x="3628487" y="1927130"/>
                </a:cubicBezTo>
                <a:cubicBezTo>
                  <a:pt x="3668034" y="1949242"/>
                  <a:pt x="3695253" y="1990983"/>
                  <a:pt x="3695093" y="2039694"/>
                </a:cubicBezTo>
                <a:cubicBezTo>
                  <a:pt x="3695172" y="2088085"/>
                  <a:pt x="3668034" y="2129906"/>
                  <a:pt x="3628487" y="2151858"/>
                </a:cubicBezTo>
                <a:cubicBezTo>
                  <a:pt x="3663551" y="2180459"/>
                  <a:pt x="3682764" y="2226527"/>
                  <a:pt x="3674438" y="2274276"/>
                </a:cubicBezTo>
                <a:cubicBezTo>
                  <a:pt x="3665953" y="2322026"/>
                  <a:pt x="3632090" y="2358479"/>
                  <a:pt x="3589260" y="2373301"/>
                </a:cubicBezTo>
                <a:cubicBezTo>
                  <a:pt x="3618880" y="2407591"/>
                  <a:pt x="3630088" y="2455981"/>
                  <a:pt x="3613596" y="2501648"/>
                </a:cubicBezTo>
                <a:cubicBezTo>
                  <a:pt x="3597105" y="2547154"/>
                  <a:pt x="3557238" y="2577198"/>
                  <a:pt x="3512488" y="2584408"/>
                </a:cubicBezTo>
                <a:cubicBezTo>
                  <a:pt x="3535703" y="2623345"/>
                  <a:pt x="3538425" y="2673178"/>
                  <a:pt x="3513848" y="2715239"/>
                </a:cubicBezTo>
                <a:cubicBezTo>
                  <a:pt x="3489752" y="2757300"/>
                  <a:pt x="3445481" y="2779733"/>
                  <a:pt x="3400090" y="2779092"/>
                </a:cubicBezTo>
                <a:cubicBezTo>
                  <a:pt x="3416181" y="2821634"/>
                  <a:pt x="3410017" y="2870986"/>
                  <a:pt x="3378796" y="2908161"/>
                </a:cubicBezTo>
                <a:cubicBezTo>
                  <a:pt x="3347735" y="2945415"/>
                  <a:pt x="3300182" y="2959916"/>
                  <a:pt x="3255591" y="2951584"/>
                </a:cubicBezTo>
                <a:cubicBezTo>
                  <a:pt x="3264318" y="2996049"/>
                  <a:pt x="3249587" y="3043718"/>
                  <a:pt x="3212362" y="3074804"/>
                </a:cubicBezTo>
                <a:cubicBezTo>
                  <a:pt x="3175056" y="3105969"/>
                  <a:pt x="3125822" y="3112058"/>
                  <a:pt x="3083393" y="3096115"/>
                </a:cubicBezTo>
                <a:cubicBezTo>
                  <a:pt x="3084194" y="3141300"/>
                  <a:pt x="3061458" y="3185685"/>
                  <a:pt x="3019269" y="3209961"/>
                </a:cubicBezTo>
                <a:cubicBezTo>
                  <a:pt x="2977401" y="3234236"/>
                  <a:pt x="2927927" y="3231592"/>
                  <a:pt x="2888860" y="3208438"/>
                </a:cubicBezTo>
                <a:cubicBezTo>
                  <a:pt x="2881815" y="3253224"/>
                  <a:pt x="2851795" y="3292882"/>
                  <a:pt x="2805923" y="3309546"/>
                </a:cubicBezTo>
                <a:cubicBezTo>
                  <a:pt x="2760372" y="3326130"/>
                  <a:pt x="2712099" y="3314914"/>
                  <a:pt x="2678075" y="3285351"/>
                </a:cubicBezTo>
                <a:cubicBezTo>
                  <a:pt x="2663185" y="3328373"/>
                  <a:pt x="2626600" y="3362022"/>
                  <a:pt x="2578888" y="3370675"/>
                </a:cubicBezTo>
                <a:cubicBezTo>
                  <a:pt x="2531095" y="3379007"/>
                  <a:pt x="2485303" y="3359539"/>
                  <a:pt x="2456644" y="3324368"/>
                </a:cubicBezTo>
                <a:cubicBezTo>
                  <a:pt x="2434709" y="3364025"/>
                  <a:pt x="2393000" y="3391025"/>
                  <a:pt x="2344407" y="3391025"/>
                </a:cubicBezTo>
                <a:cubicBezTo>
                  <a:pt x="2295894" y="3391025"/>
                  <a:pt x="2253945" y="3364025"/>
                  <a:pt x="2232010" y="3324368"/>
                </a:cubicBezTo>
                <a:cubicBezTo>
                  <a:pt x="2203350" y="3359459"/>
                  <a:pt x="2157479" y="3378847"/>
                  <a:pt x="2109766" y="3370355"/>
                </a:cubicBezTo>
                <a:cubicBezTo>
                  <a:pt x="2061973" y="3361942"/>
                  <a:pt x="2025628" y="3328213"/>
                  <a:pt x="2010578" y="3285190"/>
                </a:cubicBezTo>
                <a:cubicBezTo>
                  <a:pt x="1976315" y="3314834"/>
                  <a:pt x="1927881" y="3326050"/>
                  <a:pt x="1882330" y="3309386"/>
                </a:cubicBezTo>
                <a:cubicBezTo>
                  <a:pt x="1836619" y="3293042"/>
                  <a:pt x="1806758" y="3253304"/>
                  <a:pt x="1799393" y="3208519"/>
                </a:cubicBezTo>
                <a:cubicBezTo>
                  <a:pt x="1760567" y="3231592"/>
                  <a:pt x="1710853" y="3234076"/>
                  <a:pt x="1668904" y="3209721"/>
                </a:cubicBezTo>
                <a:cubicBezTo>
                  <a:pt x="1626875" y="3185525"/>
                  <a:pt x="1604300" y="3141141"/>
                  <a:pt x="1604940" y="3095874"/>
                </a:cubicBezTo>
                <a:cubicBezTo>
                  <a:pt x="1562671" y="3111978"/>
                  <a:pt x="1513277" y="3105889"/>
                  <a:pt x="1476052" y="3074723"/>
                </a:cubicBezTo>
                <a:cubicBezTo>
                  <a:pt x="1438906" y="3043558"/>
                  <a:pt x="1424176" y="2995888"/>
                  <a:pt x="1432902" y="2951424"/>
                </a:cubicBezTo>
                <a:cubicBezTo>
                  <a:pt x="1388312" y="2959916"/>
                  <a:pt x="1340839" y="2945255"/>
                  <a:pt x="1309698" y="2908000"/>
                </a:cubicBezTo>
                <a:cubicBezTo>
                  <a:pt x="1278316" y="2870906"/>
                  <a:pt x="1272232" y="2821634"/>
                  <a:pt x="1288403" y="2779012"/>
                </a:cubicBezTo>
                <a:cubicBezTo>
                  <a:pt x="1243012" y="2779653"/>
                  <a:pt x="1198822" y="2757140"/>
                  <a:pt x="1174405" y="2715079"/>
                </a:cubicBezTo>
                <a:cubicBezTo>
                  <a:pt x="1150068" y="2673098"/>
                  <a:pt x="1152870" y="2623345"/>
                  <a:pt x="1176006" y="2584328"/>
                </a:cubicBezTo>
                <a:cubicBezTo>
                  <a:pt x="1131256" y="2577118"/>
                  <a:pt x="1091548" y="2547074"/>
                  <a:pt x="1075057" y="2501568"/>
                </a:cubicBezTo>
                <a:cubicBezTo>
                  <a:pt x="1058245" y="2455981"/>
                  <a:pt x="1069453" y="2407430"/>
                  <a:pt x="1099073" y="2373220"/>
                </a:cubicBezTo>
                <a:cubicBezTo>
                  <a:pt x="1056324" y="2358319"/>
                  <a:pt x="1022381" y="2321946"/>
                  <a:pt x="1013895" y="2274196"/>
                </a:cubicBezTo>
                <a:cubicBezTo>
                  <a:pt x="1005489" y="2226366"/>
                  <a:pt x="1025103" y="2180379"/>
                  <a:pt x="1060167" y="2151858"/>
                </a:cubicBezTo>
                <a:cubicBezTo>
                  <a:pt x="1020620" y="2129826"/>
                  <a:pt x="993481" y="2088005"/>
                  <a:pt x="993481" y="2039534"/>
                </a:cubicBezTo>
                <a:cubicBezTo>
                  <a:pt x="993481" y="1990983"/>
                  <a:pt x="1020620" y="1949242"/>
                  <a:pt x="1060167" y="1927130"/>
                </a:cubicBezTo>
                <a:cubicBezTo>
                  <a:pt x="1025103" y="1898368"/>
                  <a:pt x="1005649" y="1852541"/>
                  <a:pt x="1013895" y="1804792"/>
                </a:cubicBezTo>
                <a:cubicBezTo>
                  <a:pt x="1022381" y="1757122"/>
                  <a:pt x="1056404" y="1720509"/>
                  <a:pt x="1099073" y="1705527"/>
                </a:cubicBezTo>
                <a:cubicBezTo>
                  <a:pt x="1069613" y="1671237"/>
                  <a:pt x="1058566" y="1622846"/>
                  <a:pt x="1075057" y="1577180"/>
                </a:cubicBezTo>
                <a:cubicBezTo>
                  <a:pt x="1091548" y="1531593"/>
                  <a:pt x="1131256" y="1501549"/>
                  <a:pt x="1176166" y="1494259"/>
                </a:cubicBezTo>
                <a:cubicBezTo>
                  <a:pt x="1152790" y="1455482"/>
                  <a:pt x="1150148" y="1405650"/>
                  <a:pt x="1174325" y="1363668"/>
                </a:cubicBezTo>
                <a:cubicBezTo>
                  <a:pt x="1198822" y="1321527"/>
                  <a:pt x="1243092" y="1299014"/>
                  <a:pt x="1288323" y="1299655"/>
                </a:cubicBezTo>
                <a:cubicBezTo>
                  <a:pt x="1272232" y="1257193"/>
                  <a:pt x="1278236" y="1207921"/>
                  <a:pt x="1309618" y="1170667"/>
                </a:cubicBezTo>
                <a:cubicBezTo>
                  <a:pt x="1340759" y="1133573"/>
                  <a:pt x="1388392" y="1118831"/>
                  <a:pt x="1432822" y="1127324"/>
                </a:cubicBezTo>
                <a:cubicBezTo>
                  <a:pt x="1424336" y="1082779"/>
                  <a:pt x="1438826" y="1035269"/>
                  <a:pt x="1475972" y="1003944"/>
                </a:cubicBezTo>
                <a:cubicBezTo>
                  <a:pt x="1513197" y="972939"/>
                  <a:pt x="1562591" y="966770"/>
                  <a:pt x="1604860" y="982873"/>
                </a:cubicBezTo>
                <a:cubicBezTo>
                  <a:pt x="1604300" y="937527"/>
                  <a:pt x="1626795" y="893142"/>
                  <a:pt x="1668824" y="868947"/>
                </a:cubicBezTo>
                <a:cubicBezTo>
                  <a:pt x="1710773" y="844752"/>
                  <a:pt x="1760487" y="847235"/>
                  <a:pt x="1799473" y="870309"/>
                </a:cubicBezTo>
                <a:cubicBezTo>
                  <a:pt x="1806678" y="825604"/>
                  <a:pt x="1836539" y="785866"/>
                  <a:pt x="1882250" y="769202"/>
                </a:cubicBezTo>
                <a:cubicBezTo>
                  <a:pt x="1927801" y="752778"/>
                  <a:pt x="1976235" y="763834"/>
                  <a:pt x="2010578" y="793477"/>
                </a:cubicBezTo>
                <a:cubicBezTo>
                  <a:pt x="2025468" y="750614"/>
                  <a:pt x="2061893" y="716805"/>
                  <a:pt x="2109606" y="708313"/>
                </a:cubicBezTo>
                <a:cubicBezTo>
                  <a:pt x="2157399" y="699981"/>
                  <a:pt x="2203190" y="719369"/>
                  <a:pt x="2231850" y="754540"/>
                </a:cubicBezTo>
                <a:cubicBezTo>
                  <a:pt x="2253945" y="714882"/>
                  <a:pt x="2295734" y="687883"/>
                  <a:pt x="2344247" y="687883"/>
                </a:cubicBezTo>
                <a:close/>
                <a:moveTo>
                  <a:pt x="3570447" y="463396"/>
                </a:moveTo>
                <a:cubicBezTo>
                  <a:pt x="3633050" y="463396"/>
                  <a:pt x="3683805" y="514110"/>
                  <a:pt x="3683805" y="576761"/>
                </a:cubicBezTo>
                <a:cubicBezTo>
                  <a:pt x="3683805" y="639333"/>
                  <a:pt x="3633050" y="690127"/>
                  <a:pt x="3570447" y="690127"/>
                </a:cubicBezTo>
                <a:cubicBezTo>
                  <a:pt x="3508005" y="690127"/>
                  <a:pt x="3457410" y="639333"/>
                  <a:pt x="3457410" y="576761"/>
                </a:cubicBezTo>
                <a:cubicBezTo>
                  <a:pt x="3457410" y="514110"/>
                  <a:pt x="3508005" y="463396"/>
                  <a:pt x="3570447" y="463396"/>
                </a:cubicBezTo>
                <a:close/>
                <a:moveTo>
                  <a:pt x="2072861" y="369899"/>
                </a:moveTo>
                <a:cubicBezTo>
                  <a:pt x="2145230" y="369899"/>
                  <a:pt x="2203911" y="428545"/>
                  <a:pt x="2203911" y="500970"/>
                </a:cubicBezTo>
                <a:cubicBezTo>
                  <a:pt x="2203911" y="573476"/>
                  <a:pt x="2145310" y="632202"/>
                  <a:pt x="2072861" y="632202"/>
                </a:cubicBezTo>
                <a:cubicBezTo>
                  <a:pt x="2000571" y="632202"/>
                  <a:pt x="1941971" y="573556"/>
                  <a:pt x="1941891" y="500970"/>
                </a:cubicBezTo>
                <a:cubicBezTo>
                  <a:pt x="1941891" y="428625"/>
                  <a:pt x="2000571" y="369899"/>
                  <a:pt x="2072861" y="369899"/>
                </a:cubicBezTo>
                <a:close/>
                <a:moveTo>
                  <a:pt x="2615072" y="369579"/>
                </a:moveTo>
                <a:cubicBezTo>
                  <a:pt x="2687442" y="369579"/>
                  <a:pt x="2746122" y="428224"/>
                  <a:pt x="2746122" y="500810"/>
                </a:cubicBezTo>
                <a:cubicBezTo>
                  <a:pt x="2746122" y="573236"/>
                  <a:pt x="2687522" y="631962"/>
                  <a:pt x="2615072" y="631962"/>
                </a:cubicBezTo>
                <a:cubicBezTo>
                  <a:pt x="2542622" y="631962"/>
                  <a:pt x="2484022" y="573236"/>
                  <a:pt x="2483942" y="500810"/>
                </a:cubicBezTo>
                <a:cubicBezTo>
                  <a:pt x="2483942" y="428305"/>
                  <a:pt x="2542622" y="369579"/>
                  <a:pt x="2615072" y="369579"/>
                </a:cubicBezTo>
                <a:close/>
                <a:moveTo>
                  <a:pt x="2344087" y="346024"/>
                </a:moveTo>
                <a:cubicBezTo>
                  <a:pt x="2416457" y="346024"/>
                  <a:pt x="2475137" y="404830"/>
                  <a:pt x="2475137" y="477255"/>
                </a:cubicBezTo>
                <a:cubicBezTo>
                  <a:pt x="2475137" y="549681"/>
                  <a:pt x="2416537" y="608407"/>
                  <a:pt x="2344087" y="608407"/>
                </a:cubicBezTo>
                <a:cubicBezTo>
                  <a:pt x="2271637" y="608407"/>
                  <a:pt x="2212957" y="549681"/>
                  <a:pt x="2213037" y="477255"/>
                </a:cubicBezTo>
                <a:cubicBezTo>
                  <a:pt x="2213037" y="404830"/>
                  <a:pt x="2271717" y="346024"/>
                  <a:pt x="2344087" y="346024"/>
                </a:cubicBezTo>
                <a:close/>
                <a:moveTo>
                  <a:pt x="3298021" y="272557"/>
                </a:moveTo>
                <a:cubicBezTo>
                  <a:pt x="3360624" y="272557"/>
                  <a:pt x="3411218" y="323191"/>
                  <a:pt x="3411218" y="385762"/>
                </a:cubicBezTo>
                <a:cubicBezTo>
                  <a:pt x="3411218" y="448413"/>
                  <a:pt x="3360624" y="499127"/>
                  <a:pt x="3298021" y="499127"/>
                </a:cubicBezTo>
                <a:cubicBezTo>
                  <a:pt x="3235578" y="499127"/>
                  <a:pt x="3184823" y="448413"/>
                  <a:pt x="3184823" y="385762"/>
                </a:cubicBezTo>
                <a:cubicBezTo>
                  <a:pt x="3184823" y="323191"/>
                  <a:pt x="3235578" y="272557"/>
                  <a:pt x="3298021" y="272557"/>
                </a:cubicBezTo>
                <a:close/>
                <a:moveTo>
                  <a:pt x="3793320" y="224968"/>
                </a:moveTo>
                <a:cubicBezTo>
                  <a:pt x="3842474" y="224968"/>
                  <a:pt x="3882421" y="264946"/>
                  <a:pt x="3882421" y="314138"/>
                </a:cubicBezTo>
                <a:cubicBezTo>
                  <a:pt x="3882421" y="363490"/>
                  <a:pt x="3842474" y="403468"/>
                  <a:pt x="3793320" y="403468"/>
                </a:cubicBezTo>
                <a:cubicBezTo>
                  <a:pt x="3743926" y="403468"/>
                  <a:pt x="3703979" y="363490"/>
                  <a:pt x="3703979" y="314138"/>
                </a:cubicBezTo>
                <a:cubicBezTo>
                  <a:pt x="3703979" y="264946"/>
                  <a:pt x="3743926" y="224968"/>
                  <a:pt x="3793320" y="224968"/>
                </a:cubicBezTo>
                <a:close/>
                <a:moveTo>
                  <a:pt x="3473821" y="0"/>
                </a:moveTo>
                <a:cubicBezTo>
                  <a:pt x="3522975" y="0"/>
                  <a:pt x="3562922" y="39978"/>
                  <a:pt x="3562922" y="89170"/>
                </a:cubicBezTo>
                <a:cubicBezTo>
                  <a:pt x="3562922" y="138362"/>
                  <a:pt x="3522975" y="178340"/>
                  <a:pt x="3473821" y="178340"/>
                </a:cubicBezTo>
                <a:cubicBezTo>
                  <a:pt x="3424507" y="178340"/>
                  <a:pt x="3384560" y="138362"/>
                  <a:pt x="3384560" y="89170"/>
                </a:cubicBezTo>
                <a:cubicBezTo>
                  <a:pt x="3384560" y="39978"/>
                  <a:pt x="3424428" y="0"/>
                  <a:pt x="3473821" y="0"/>
                </a:cubicBezTo>
                <a:close/>
              </a:path>
            </a:pathLst>
          </a:custGeom>
          <a:solidFill>
            <a:schemeClr val="accent1"/>
          </a:solidFill>
          <a:ln w="8000" cap="flat">
            <a:noFill/>
            <a:prstDash val="solid"/>
            <a:miter/>
          </a:ln>
        </p:spPr>
        <p:txBody>
          <a:bodyPr rtlCol="0" anchor="ctr"/>
          <a:lstStyle/>
          <a:p>
            <a:endParaRPr lang="en-US"/>
          </a:p>
        </p:txBody>
      </p:sp>
      <p:sp>
        <p:nvSpPr>
          <p:cNvPr id="35" name="Text Placeholder 34">
            <a:extLst>
              <a:ext uri="{FF2B5EF4-FFF2-40B4-BE49-F238E27FC236}">
                <a16:creationId xmlns:a16="http://schemas.microsoft.com/office/drawing/2014/main" id="{7F4B8A3D-5046-1EFF-682D-A68792611984}"/>
              </a:ext>
            </a:extLst>
          </p:cNvPr>
          <p:cNvSpPr>
            <a:spLocks noGrp="1"/>
          </p:cNvSpPr>
          <p:nvPr>
            <p:ph type="body" sz="quarter" idx="10"/>
          </p:nvPr>
        </p:nvSpPr>
        <p:spPr>
          <a:xfrm>
            <a:off x="328743" y="5971977"/>
            <a:ext cx="5583600" cy="403200"/>
          </a:xfrm>
        </p:spPr>
        <p:txBody>
          <a:bodyPr anchor="b" anchorCtr="0"/>
          <a:lstStyle>
            <a:lvl1pPr>
              <a:defRPr sz="570"/>
            </a:lvl1pPr>
            <a:lvl2pPr marL="92075" indent="-92075">
              <a:tabLst/>
              <a:defRPr sz="570"/>
            </a:lvl2pPr>
            <a:lvl3pPr marL="179388" indent="-87313">
              <a:tabLst/>
              <a:defRPr sz="570"/>
            </a:lvl3pPr>
            <a:lvl4pPr marL="271463" indent="-92075">
              <a:tabLst/>
              <a:defRPr sz="570"/>
            </a:lvl4pPr>
            <a:lvl5pPr marL="358775" indent="-87313">
              <a:tabLst/>
              <a:defRPr sz="570"/>
            </a:lvl5pPr>
          </a:lstStyle>
          <a:p>
            <a:pPr lvl="0"/>
            <a:r>
              <a:rPr lang="en-US"/>
              <a:t>Click to edit Master text styles</a:t>
            </a:r>
          </a:p>
        </p:txBody>
      </p:sp>
      <p:sp>
        <p:nvSpPr>
          <p:cNvPr id="36" name="Text Placeholder 34">
            <a:extLst>
              <a:ext uri="{FF2B5EF4-FFF2-40B4-BE49-F238E27FC236}">
                <a16:creationId xmlns:a16="http://schemas.microsoft.com/office/drawing/2014/main" id="{DF33674D-8C69-F7E3-A918-EC1C50555A9D}"/>
              </a:ext>
            </a:extLst>
          </p:cNvPr>
          <p:cNvSpPr>
            <a:spLocks noGrp="1"/>
          </p:cNvSpPr>
          <p:nvPr>
            <p:ph type="body" sz="quarter" idx="11"/>
          </p:nvPr>
        </p:nvSpPr>
        <p:spPr>
          <a:xfrm>
            <a:off x="328743" y="6392076"/>
            <a:ext cx="5583600" cy="155265"/>
          </a:xfrm>
        </p:spPr>
        <p:txBody>
          <a:bodyPr anchor="b" anchorCtr="0"/>
          <a:lstStyle>
            <a:lvl1pPr>
              <a:defRPr sz="570"/>
            </a:lvl1pPr>
            <a:lvl2pPr marL="92075" indent="-92075">
              <a:tabLst/>
              <a:defRPr sz="570"/>
            </a:lvl2pPr>
            <a:lvl3pPr marL="179388" indent="-87313">
              <a:tabLst/>
              <a:defRPr sz="570"/>
            </a:lvl3pPr>
            <a:lvl4pPr marL="271463" indent="-92075">
              <a:tabLst/>
              <a:defRPr sz="570"/>
            </a:lvl4pPr>
            <a:lvl5pPr marL="358775" indent="-87313">
              <a:tabLst/>
              <a:defRPr sz="570"/>
            </a:lvl5pPr>
          </a:lstStyle>
          <a:p>
            <a:pPr lvl="0"/>
            <a:r>
              <a:rPr lang="en-US"/>
              <a:t>Click to edit Master text styles</a:t>
            </a:r>
          </a:p>
        </p:txBody>
      </p:sp>
    </p:spTree>
    <p:extLst>
      <p:ext uri="{BB962C8B-B14F-4D97-AF65-F5344CB8AC3E}">
        <p14:creationId xmlns:p14="http://schemas.microsoft.com/office/powerpoint/2010/main" val="39293615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Quote Short">
    <p:bg>
      <p:bgPr>
        <a:solidFill>
          <a:schemeClr val="accent1"/>
        </a:solidFill>
        <a:effectLst/>
      </p:bgPr>
    </p:bg>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461D2230-514F-4045-675B-BFC2D44EACD5}"/>
              </a:ext>
            </a:extLst>
          </p:cNvPr>
          <p:cNvGrpSpPr/>
          <p:nvPr/>
        </p:nvGrpSpPr>
        <p:grpSpPr>
          <a:xfrm>
            <a:off x="4052631" y="0"/>
            <a:ext cx="4086739" cy="6858000"/>
            <a:chOff x="4148427" y="117908"/>
            <a:chExt cx="3958455" cy="6642726"/>
          </a:xfrm>
        </p:grpSpPr>
        <p:sp>
          <p:nvSpPr>
            <p:cNvPr id="14" name="Freeform 13">
              <a:extLst>
                <a:ext uri="{FF2B5EF4-FFF2-40B4-BE49-F238E27FC236}">
                  <a16:creationId xmlns:a16="http://schemas.microsoft.com/office/drawing/2014/main" id="{207F3E92-1215-BBFA-041D-9525684A6A7E}"/>
                </a:ext>
              </a:extLst>
            </p:cNvPr>
            <p:cNvSpPr/>
            <p:nvPr/>
          </p:nvSpPr>
          <p:spPr>
            <a:xfrm>
              <a:off x="4157033" y="117908"/>
              <a:ext cx="3941244" cy="1795996"/>
            </a:xfrm>
            <a:custGeom>
              <a:avLst/>
              <a:gdLst>
                <a:gd name="connsiteX0" fmla="*/ 0 w 3941244"/>
                <a:gd name="connsiteY0" fmla="*/ 0 h 1795996"/>
                <a:gd name="connsiteX1" fmla="*/ 1970622 w 3941244"/>
                <a:gd name="connsiteY1" fmla="*/ 1795997 h 1795996"/>
                <a:gd name="connsiteX2" fmla="*/ 3941245 w 3941244"/>
                <a:gd name="connsiteY2" fmla="*/ 0 h 1795996"/>
                <a:gd name="connsiteX3" fmla="*/ 0 w 3941244"/>
                <a:gd name="connsiteY3" fmla="*/ 0 h 1795996"/>
              </a:gdLst>
              <a:ahLst/>
              <a:cxnLst>
                <a:cxn ang="0">
                  <a:pos x="connsiteX0" y="connsiteY0"/>
                </a:cxn>
                <a:cxn ang="0">
                  <a:pos x="connsiteX1" y="connsiteY1"/>
                </a:cxn>
                <a:cxn ang="0">
                  <a:pos x="connsiteX2" y="connsiteY2"/>
                </a:cxn>
                <a:cxn ang="0">
                  <a:pos x="connsiteX3" y="connsiteY3"/>
                </a:cxn>
              </a:cxnLst>
              <a:rect l="l" t="t" r="r" b="b"/>
              <a:pathLst>
                <a:path w="3941244" h="1795996">
                  <a:moveTo>
                    <a:pt x="0" y="0"/>
                  </a:moveTo>
                  <a:cubicBezTo>
                    <a:pt x="92999" y="1007296"/>
                    <a:pt x="939703" y="1795997"/>
                    <a:pt x="1970622" y="1795997"/>
                  </a:cubicBezTo>
                  <a:cubicBezTo>
                    <a:pt x="3001542" y="1795997"/>
                    <a:pt x="3848184" y="1007296"/>
                    <a:pt x="3941245" y="0"/>
                  </a:cubicBezTo>
                  <a:lnTo>
                    <a:pt x="0" y="0"/>
                  </a:lnTo>
                  <a:close/>
                </a:path>
              </a:pathLst>
            </a:custGeom>
            <a:solidFill>
              <a:srgbClr val="FFFFFF"/>
            </a:solidFill>
            <a:ln w="6146"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17F8460-166C-35C4-7CC9-BF63B54AF63F}"/>
                </a:ext>
              </a:extLst>
            </p:cNvPr>
            <p:cNvSpPr/>
            <p:nvPr/>
          </p:nvSpPr>
          <p:spPr>
            <a:xfrm>
              <a:off x="4154881" y="4940035"/>
              <a:ext cx="3945547" cy="1820599"/>
            </a:xfrm>
            <a:custGeom>
              <a:avLst/>
              <a:gdLst>
                <a:gd name="connsiteX0" fmla="*/ 0 w 3945547"/>
                <a:gd name="connsiteY0" fmla="*/ 1820600 h 1820599"/>
                <a:gd name="connsiteX1" fmla="*/ 3945547 w 3945547"/>
                <a:gd name="connsiteY1" fmla="*/ 1820600 h 1820599"/>
                <a:gd name="connsiteX2" fmla="*/ 1972774 w 3945547"/>
                <a:gd name="connsiteY2" fmla="*/ 0 h 1820599"/>
                <a:gd name="connsiteX3" fmla="*/ 0 w 3945547"/>
                <a:gd name="connsiteY3" fmla="*/ 1820600 h 1820599"/>
              </a:gdLst>
              <a:ahLst/>
              <a:cxnLst>
                <a:cxn ang="0">
                  <a:pos x="connsiteX0" y="connsiteY0"/>
                </a:cxn>
                <a:cxn ang="0">
                  <a:pos x="connsiteX1" y="connsiteY1"/>
                </a:cxn>
                <a:cxn ang="0">
                  <a:pos x="connsiteX2" y="connsiteY2"/>
                </a:cxn>
                <a:cxn ang="0">
                  <a:pos x="connsiteX3" y="connsiteY3"/>
                </a:cxn>
              </a:cxnLst>
              <a:rect l="l" t="t" r="r" b="b"/>
              <a:pathLst>
                <a:path w="3945547" h="1820599">
                  <a:moveTo>
                    <a:pt x="0" y="1820600"/>
                  </a:moveTo>
                  <a:lnTo>
                    <a:pt x="3945547" y="1820600"/>
                  </a:lnTo>
                  <a:cubicBezTo>
                    <a:pt x="3864165" y="801556"/>
                    <a:pt x="3012052" y="0"/>
                    <a:pt x="1972774" y="0"/>
                  </a:cubicBezTo>
                  <a:cubicBezTo>
                    <a:pt x="933495" y="0"/>
                    <a:pt x="81382" y="801617"/>
                    <a:pt x="0" y="1820600"/>
                  </a:cubicBezTo>
                  <a:close/>
                </a:path>
              </a:pathLst>
            </a:custGeom>
            <a:solidFill>
              <a:srgbClr val="FFFFFF">
                <a:alpha val="12000"/>
              </a:srgbClr>
            </a:solidFill>
            <a:ln w="6146"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264A889-4576-DA95-B3FB-E96CC1D512BD}"/>
                </a:ext>
              </a:extLst>
            </p:cNvPr>
            <p:cNvSpPr/>
            <p:nvPr/>
          </p:nvSpPr>
          <p:spPr>
            <a:xfrm>
              <a:off x="4148427" y="610700"/>
              <a:ext cx="3958455" cy="2657890"/>
            </a:xfrm>
            <a:custGeom>
              <a:avLst/>
              <a:gdLst>
                <a:gd name="connsiteX0" fmla="*/ 3839517 w 3958455"/>
                <a:gd name="connsiteY0" fmla="*/ 0 h 2657890"/>
                <a:gd name="connsiteX1" fmla="*/ 1979228 w 3958455"/>
                <a:gd name="connsiteY1" fmla="*/ 1303205 h 2657890"/>
                <a:gd name="connsiteX2" fmla="*/ 118938 w 3958455"/>
                <a:gd name="connsiteY2" fmla="*/ 0 h 2657890"/>
                <a:gd name="connsiteX3" fmla="*/ 0 w 3958455"/>
                <a:gd name="connsiteY3" fmla="*/ 677374 h 2657890"/>
                <a:gd name="connsiteX4" fmla="*/ 1979228 w 3958455"/>
                <a:gd name="connsiteY4" fmla="*/ 2657890 h 2657890"/>
                <a:gd name="connsiteX5" fmla="*/ 3958455 w 3958455"/>
                <a:gd name="connsiteY5" fmla="*/ 677374 h 2657890"/>
                <a:gd name="connsiteX6" fmla="*/ 3839517 w 3958455"/>
                <a:gd name="connsiteY6" fmla="*/ 0 h 2657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8455" h="2657890">
                  <a:moveTo>
                    <a:pt x="3839517" y="0"/>
                  </a:moveTo>
                  <a:cubicBezTo>
                    <a:pt x="3563040" y="760223"/>
                    <a:pt x="2834598" y="1303205"/>
                    <a:pt x="1979228" y="1303205"/>
                  </a:cubicBezTo>
                  <a:cubicBezTo>
                    <a:pt x="1123919" y="1303205"/>
                    <a:pt x="395415" y="760223"/>
                    <a:pt x="118938" y="0"/>
                  </a:cubicBezTo>
                  <a:cubicBezTo>
                    <a:pt x="42043" y="211337"/>
                    <a:pt x="0" y="439404"/>
                    <a:pt x="0" y="677374"/>
                  </a:cubicBezTo>
                  <a:cubicBezTo>
                    <a:pt x="0" y="1771209"/>
                    <a:pt x="886104" y="2657890"/>
                    <a:pt x="1979228" y="2657890"/>
                  </a:cubicBezTo>
                  <a:cubicBezTo>
                    <a:pt x="3072290" y="2657890"/>
                    <a:pt x="3958455" y="1771209"/>
                    <a:pt x="3958455" y="677374"/>
                  </a:cubicBezTo>
                  <a:cubicBezTo>
                    <a:pt x="3958455" y="439404"/>
                    <a:pt x="3916412" y="211337"/>
                    <a:pt x="3839517" y="0"/>
                  </a:cubicBezTo>
                  <a:close/>
                </a:path>
              </a:pathLst>
            </a:custGeom>
            <a:solidFill>
              <a:srgbClr val="FFFFFF">
                <a:alpha val="30000"/>
              </a:srgbClr>
            </a:solidFill>
            <a:ln w="6146" cap="flat">
              <a:noFill/>
              <a:prstDash val="solid"/>
              <a:miter/>
            </a:ln>
          </p:spPr>
          <p:txBody>
            <a:bodyPr rtlCol="0" anchor="ctr"/>
            <a:lstStyle/>
            <a:p>
              <a:endParaRPr lang="en-US"/>
            </a:p>
          </p:txBody>
        </p:sp>
      </p:grpSp>
      <p:sp>
        <p:nvSpPr>
          <p:cNvPr id="5" name="Slide Number Placeholder 4">
            <a:extLst>
              <a:ext uri="{FF2B5EF4-FFF2-40B4-BE49-F238E27FC236}">
                <a16:creationId xmlns:a16="http://schemas.microsoft.com/office/drawing/2014/main" id="{33C8D9F8-BC98-F589-AB00-D55EDE42D406}"/>
              </a:ext>
            </a:extLst>
          </p:cNvPr>
          <p:cNvSpPr>
            <a:spLocks noGrp="1"/>
          </p:cNvSpPr>
          <p:nvPr>
            <p:ph type="sldNum" sz="quarter" idx="12"/>
          </p:nvPr>
        </p:nvSpPr>
        <p:spPr/>
        <p:txBody>
          <a:bodyPr/>
          <a:lstStyle/>
          <a:p>
            <a:fld id="{AAF502CD-F636-C049-B05E-4ED95BC0AEE0}" type="slidenum">
              <a:rPr lang="en-US" smtClean="0"/>
              <a:pPr/>
              <a:t>‹#›</a:t>
            </a:fld>
            <a:endParaRPr lang="en-US"/>
          </a:p>
        </p:txBody>
      </p:sp>
      <p:sp>
        <p:nvSpPr>
          <p:cNvPr id="11" name="Graphic 11">
            <a:extLst>
              <a:ext uri="{FF2B5EF4-FFF2-40B4-BE49-F238E27FC236}">
                <a16:creationId xmlns:a16="http://schemas.microsoft.com/office/drawing/2014/main" id="{23BB8B38-0ACB-EE9C-F06C-8CD45FC5CBAA}"/>
              </a:ext>
            </a:extLst>
          </p:cNvPr>
          <p:cNvSpPr/>
          <p:nvPr/>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D895EEE8-FF85-7216-E1D3-A064CC954F9F}"/>
              </a:ext>
            </a:extLst>
          </p:cNvPr>
          <p:cNvSpPr>
            <a:spLocks noGrp="1"/>
          </p:cNvSpPr>
          <p:nvPr>
            <p:ph type="ctrTitle"/>
          </p:nvPr>
        </p:nvSpPr>
        <p:spPr>
          <a:xfrm>
            <a:off x="2761862" y="535739"/>
            <a:ext cx="6668276" cy="6210298"/>
          </a:xfrm>
        </p:spPr>
        <p:txBody>
          <a:bodyPr anchor="ctr" anchorCtr="0"/>
          <a:lstStyle>
            <a:lvl1pPr algn="ctr">
              <a:lnSpc>
                <a:spcPct val="67000"/>
              </a:lnSpc>
              <a:defRPr sz="9000" b="0" i="0" cap="all" baseline="0">
                <a:solidFill>
                  <a:schemeClr val="tx1"/>
                </a:solidFill>
                <a:latin typeface="Aptos Black" panose="020B0004020202020204" pitchFamily="34" charset="0"/>
                <a:cs typeface="Aptos Black"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33611498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Long - Imag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5EEE8-FF85-7216-E1D3-A064CC954F9F}"/>
              </a:ext>
            </a:extLst>
          </p:cNvPr>
          <p:cNvSpPr>
            <a:spLocks noGrp="1"/>
          </p:cNvSpPr>
          <p:nvPr>
            <p:ph type="ctrTitle"/>
          </p:nvPr>
        </p:nvSpPr>
        <p:spPr>
          <a:xfrm>
            <a:off x="322610" y="268730"/>
            <a:ext cx="5611931" cy="4211874"/>
          </a:xfrm>
        </p:spPr>
        <p:txBody>
          <a:bodyPr anchor="t" anchorCtr="0"/>
          <a:lstStyle>
            <a:lvl1pPr algn="l">
              <a:lnSpc>
                <a:spcPct val="100000"/>
              </a:lnSpc>
              <a:defRPr sz="2600" cap="none" baseline="0">
                <a:solidFill>
                  <a:schemeClr val="bg1"/>
                </a:solidFill>
                <a:latin typeface="+mj-lt"/>
                <a:cs typeface="Aptos Black" panose="020F0502020204030204" pitchFamily="34" charset="0"/>
              </a:defRPr>
            </a:lvl1pPr>
          </a:lstStyle>
          <a:p>
            <a:r>
              <a:rPr lang="en-US"/>
              <a:t>Click to edit Master title style</a:t>
            </a:r>
          </a:p>
        </p:txBody>
      </p:sp>
      <p:sp>
        <p:nvSpPr>
          <p:cNvPr id="5" name="Slide Number Placeholder 4">
            <a:extLst>
              <a:ext uri="{FF2B5EF4-FFF2-40B4-BE49-F238E27FC236}">
                <a16:creationId xmlns:a16="http://schemas.microsoft.com/office/drawing/2014/main" id="{33C8D9F8-BC98-F589-AB00-D55EDE42D406}"/>
              </a:ext>
            </a:extLst>
          </p:cNvPr>
          <p:cNvSpPr>
            <a:spLocks noGrp="1"/>
          </p:cNvSpPr>
          <p:nvPr>
            <p:ph type="sldNum" sz="quarter" idx="12"/>
          </p:nvPr>
        </p:nvSpPr>
        <p:spPr/>
        <p:txBody>
          <a:bodyPr/>
          <a:lstStyle>
            <a:lvl1pPr>
              <a:defRPr>
                <a:solidFill>
                  <a:schemeClr val="bg1"/>
                </a:solidFill>
              </a:defRPr>
            </a:lvl1pPr>
          </a:lstStyle>
          <a:p>
            <a:fld id="{AAF502CD-F636-C049-B05E-4ED95BC0AEE0}" type="slidenum">
              <a:rPr lang="en-US" smtClean="0"/>
              <a:pPr/>
              <a:t>‹#›</a:t>
            </a:fld>
            <a:endParaRPr lang="en-US"/>
          </a:p>
        </p:txBody>
      </p:sp>
      <p:sp>
        <p:nvSpPr>
          <p:cNvPr id="9" name="Graphic 11">
            <a:extLst>
              <a:ext uri="{FF2B5EF4-FFF2-40B4-BE49-F238E27FC236}">
                <a16:creationId xmlns:a16="http://schemas.microsoft.com/office/drawing/2014/main" id="{35DAE263-908C-B499-1777-C093E873A5F6}"/>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bg1"/>
          </a:solidFill>
          <a:ln w="9076" cap="flat">
            <a:noFill/>
            <a:prstDash val="solid"/>
            <a:miter/>
          </a:ln>
        </p:spPr>
        <p:txBody>
          <a:bodyPr rtlCol="0" anchor="ctr"/>
          <a:lstStyle/>
          <a:p>
            <a:endParaRPr lang="en-US">
              <a:solidFill>
                <a:schemeClr val="bg1"/>
              </a:solidFill>
            </a:endParaRPr>
          </a:p>
        </p:txBody>
      </p:sp>
    </p:spTree>
    <p:extLst>
      <p:ext uri="{BB962C8B-B14F-4D97-AF65-F5344CB8AC3E}">
        <p14:creationId xmlns:p14="http://schemas.microsoft.com/office/powerpoint/2010/main" val="24465563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1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92A706A-F0D9-BE69-314F-7FB54EB30136}"/>
              </a:ext>
            </a:extLst>
          </p:cNvPr>
          <p:cNvSpPr>
            <a:spLocks noGrp="1"/>
          </p:cNvSpPr>
          <p:nvPr>
            <p:ph idx="1"/>
          </p:nvPr>
        </p:nvSpPr>
        <p:spPr>
          <a:xfrm>
            <a:off x="321090" y="1213921"/>
            <a:ext cx="10532181" cy="4890487"/>
          </a:xfrm>
        </p:spPr>
        <p:txBody>
          <a:bodyPr/>
          <a:lstStyle>
            <a:lvl2pPr>
              <a:spcAft>
                <a:spcPts val="200"/>
              </a:spcAft>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p>
            <a:fld id="{AAF502CD-F636-C049-B05E-4ED95BC0AEE0}" type="slidenum">
              <a:rPr lang="en-US" smtClean="0"/>
              <a:t>‹#›</a:t>
            </a:fld>
            <a:endParaRPr lang="en-US"/>
          </a:p>
        </p:txBody>
      </p:sp>
      <p:sp>
        <p:nvSpPr>
          <p:cNvPr id="8" name="Graphic 11">
            <a:extLst>
              <a:ext uri="{FF2B5EF4-FFF2-40B4-BE49-F238E27FC236}">
                <a16:creationId xmlns:a16="http://schemas.microsoft.com/office/drawing/2014/main" id="{95327A5F-A716-C843-161E-CFF7C153B2DD}"/>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p>
        </p:txBody>
      </p:sp>
    </p:spTree>
    <p:extLst>
      <p:ext uri="{BB962C8B-B14F-4D97-AF65-F5344CB8AC3E}">
        <p14:creationId xmlns:p14="http://schemas.microsoft.com/office/powerpoint/2010/main" val="34856434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92A706A-F0D9-BE69-314F-7FB54EB3013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p>
            <a:fld id="{AAF502CD-F636-C049-B05E-4ED95BC0AEE0}" type="slidenum">
              <a:rPr lang="en-US" smtClean="0"/>
              <a:t>‹#›</a:t>
            </a:fld>
            <a:endParaRPr lang="en-US"/>
          </a:p>
        </p:txBody>
      </p:sp>
      <p:sp>
        <p:nvSpPr>
          <p:cNvPr id="9" name="Content Placeholder 2">
            <a:extLst>
              <a:ext uri="{FF2B5EF4-FFF2-40B4-BE49-F238E27FC236}">
                <a16:creationId xmlns:a16="http://schemas.microsoft.com/office/drawing/2014/main" id="{D78C0FE3-1600-12E3-0EFA-76BAF5FF369B}"/>
              </a:ext>
            </a:extLst>
          </p:cNvPr>
          <p:cNvSpPr>
            <a:spLocks noGrp="1"/>
          </p:cNvSpPr>
          <p:nvPr>
            <p:ph idx="13"/>
          </p:nvPr>
        </p:nvSpPr>
        <p:spPr>
          <a:xfrm>
            <a:off x="6261515" y="1213921"/>
            <a:ext cx="5595523" cy="48904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Graphic 11">
            <a:extLst>
              <a:ext uri="{FF2B5EF4-FFF2-40B4-BE49-F238E27FC236}">
                <a16:creationId xmlns:a16="http://schemas.microsoft.com/office/drawing/2014/main" id="{87439960-88F0-40A0-AD5D-CFB3D8B09F3E}"/>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p>
        </p:txBody>
      </p:sp>
    </p:spTree>
    <p:extLst>
      <p:ext uri="{BB962C8B-B14F-4D97-AF65-F5344CB8AC3E}">
        <p14:creationId xmlns:p14="http://schemas.microsoft.com/office/powerpoint/2010/main" val="1993525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2 Column Small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92A706A-F0D9-BE69-314F-7FB54EB3013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p>
            <a:fld id="{AAF502CD-F636-C049-B05E-4ED95BC0AEE0}" type="slidenum">
              <a:rPr lang="en-US" smtClean="0"/>
              <a:t>‹#›</a:t>
            </a:fld>
            <a:endParaRPr lang="en-US"/>
          </a:p>
        </p:txBody>
      </p:sp>
      <p:sp>
        <p:nvSpPr>
          <p:cNvPr id="9" name="Content Placeholder 2">
            <a:extLst>
              <a:ext uri="{FF2B5EF4-FFF2-40B4-BE49-F238E27FC236}">
                <a16:creationId xmlns:a16="http://schemas.microsoft.com/office/drawing/2014/main" id="{D78C0FE3-1600-12E3-0EFA-76BAF5FF369B}"/>
              </a:ext>
            </a:extLst>
          </p:cNvPr>
          <p:cNvSpPr>
            <a:spLocks noGrp="1"/>
          </p:cNvSpPr>
          <p:nvPr>
            <p:ph idx="13"/>
          </p:nvPr>
        </p:nvSpPr>
        <p:spPr>
          <a:xfrm>
            <a:off x="6261515" y="1231849"/>
            <a:ext cx="5595523" cy="4890487"/>
          </a:xfrm>
        </p:spPr>
        <p:txBody>
          <a:bodyPr/>
          <a:lstStyle>
            <a:lvl1pPr>
              <a:defRPr sz="1600"/>
            </a:lvl1pPr>
            <a:lvl2pPr marL="268288" indent="-268288">
              <a:spcAft>
                <a:spcPts val="200"/>
              </a:spcAft>
              <a:buFont typeface="ABC Diatype Rounded Bold" panose="020B0804040202060203" pitchFamily="34" charset="77"/>
              <a:buChar char="•"/>
              <a:tabLst/>
              <a:defRPr sz="1600"/>
            </a:lvl2pPr>
            <a:lvl3pPr marL="540000" indent="-268288">
              <a:spcAft>
                <a:spcPts val="200"/>
              </a:spcAft>
              <a:buFont typeface="ABC Diatype Rounded Bold" panose="020B0804040202060203" pitchFamily="34" charset="77"/>
              <a:buChar char="•"/>
              <a:tabLst/>
              <a:defRPr sz="1600"/>
            </a:lvl3pPr>
            <a:lvl4pPr marL="810000" indent="-268288">
              <a:spcAft>
                <a:spcPts val="200"/>
              </a:spcAft>
              <a:buFont typeface="ABC Diatype Rounded Bold" panose="020B0804040202060203" pitchFamily="34" charset="77"/>
              <a:buChar char="•"/>
              <a:tabLst/>
              <a:defRPr sz="1600"/>
            </a:lvl4pPr>
            <a:lvl5pPr marL="1080000" indent="-270000">
              <a:spcAft>
                <a:spcPts val="200"/>
              </a:spcAft>
              <a:buFont typeface="ABC Diatype Rounded Bold" panose="020B0804040202060203" pitchFamily="34" charset="77"/>
              <a:buChar char="•"/>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Graphic 11">
            <a:extLst>
              <a:ext uri="{FF2B5EF4-FFF2-40B4-BE49-F238E27FC236}">
                <a16:creationId xmlns:a16="http://schemas.microsoft.com/office/drawing/2014/main" id="{9F9B1BB1-784D-1788-D459-5C7510A31713}"/>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p>
        </p:txBody>
      </p:sp>
    </p:spTree>
    <p:extLst>
      <p:ext uri="{BB962C8B-B14F-4D97-AF65-F5344CB8AC3E}">
        <p14:creationId xmlns:p14="http://schemas.microsoft.com/office/powerpoint/2010/main" val="23038204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2 Column with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357893A-FF0F-AC67-2DA5-94114BA4D445}"/>
              </a:ext>
            </a:extLst>
          </p:cNvPr>
          <p:cNvSpPr>
            <a:spLocks noGrp="1"/>
          </p:cNvSpPr>
          <p:nvPr>
            <p:ph type="pic" sz="quarter" idx="13"/>
          </p:nvPr>
        </p:nvSpPr>
        <p:spPr>
          <a:xfrm>
            <a:off x="6096000" y="0"/>
            <a:ext cx="6096000" cy="6858000"/>
          </a:xfrm>
          <a:solidFill>
            <a:schemeClr val="bg1">
              <a:lumMod val="75000"/>
            </a:schemeClr>
          </a:solidFill>
        </p:spPr>
        <p:txBody>
          <a:bodyPr anchor="ctr" anchorCtr="0"/>
          <a:lstStyle>
            <a:lvl1pPr algn="ctr">
              <a:defRPr sz="1000"/>
            </a:lvl1pPr>
          </a:lstStyle>
          <a:p>
            <a:r>
              <a:rPr lang="en-US"/>
              <a:t>Click icon to add picture</a:t>
            </a:r>
          </a:p>
        </p:txBody>
      </p:sp>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2" y="300859"/>
            <a:ext cx="5613181" cy="94777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92A706A-F0D9-BE69-314F-7FB54EB3013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bg1"/>
                </a:solidFill>
              </a:defRPr>
            </a:lvl1pPr>
          </a:lstStyle>
          <a:p>
            <a:fld id="{AAF502CD-F636-C049-B05E-4ED95BC0AEE0}" type="slidenum">
              <a:rPr lang="en-US" smtClean="0"/>
              <a:pPr/>
              <a:t>‹#›</a:t>
            </a:fld>
            <a:endParaRPr lang="en-US"/>
          </a:p>
        </p:txBody>
      </p:sp>
      <p:sp>
        <p:nvSpPr>
          <p:cNvPr id="8" name="Date Placeholder 7">
            <a:extLst>
              <a:ext uri="{FF2B5EF4-FFF2-40B4-BE49-F238E27FC236}">
                <a16:creationId xmlns:a16="http://schemas.microsoft.com/office/drawing/2014/main" id="{B0E8F7ED-7C5D-D3A1-2D64-9DB472D1151D}"/>
              </a:ext>
            </a:extLst>
          </p:cNvPr>
          <p:cNvSpPr>
            <a:spLocks noGrp="1"/>
          </p:cNvSpPr>
          <p:nvPr>
            <p:ph type="dt" sz="half" idx="14"/>
          </p:nvPr>
        </p:nvSpPr>
        <p:spPr>
          <a:xfrm>
            <a:off x="11185151" y="247649"/>
            <a:ext cx="746966" cy="306357"/>
          </a:xfrm>
          <a:prstGeom prst="rect">
            <a:avLst/>
          </a:prstGeom>
          <a:blipFill>
            <a:blip r:embed="rId2">
              <a:extLst>
                <a:ext uri="{96DAC541-7B7A-43D3-8B79-37D633B846F1}">
                  <asvg:svgBlip xmlns:asvg="http://schemas.microsoft.com/office/drawing/2016/SVG/main" r:embed="rId3"/>
                </a:ext>
              </a:extLst>
            </a:blip>
            <a:stretch>
              <a:fillRect/>
            </a:stretch>
          </a:blipFill>
        </p:spPr>
        <p:txBody>
          <a:bodyPr anchor="ctr" anchorCtr="0"/>
          <a:lstStyle/>
          <a:p>
            <a:pPr algn="ctr"/>
            <a:r>
              <a:rPr lang="en-AU"/>
              <a:t> </a:t>
            </a:r>
            <a:endParaRPr lang="en-US"/>
          </a:p>
        </p:txBody>
      </p:sp>
    </p:spTree>
    <p:extLst>
      <p:ext uri="{BB962C8B-B14F-4D97-AF65-F5344CB8AC3E}">
        <p14:creationId xmlns:p14="http://schemas.microsoft.com/office/powerpoint/2010/main" val="28567175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6 Text Boxes - Blue BG">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2" y="300859"/>
            <a:ext cx="10543243" cy="751000"/>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92A706A-F0D9-BE69-314F-7FB54EB30136}"/>
              </a:ext>
            </a:extLst>
          </p:cNvPr>
          <p:cNvSpPr>
            <a:spLocks noGrp="1"/>
          </p:cNvSpPr>
          <p:nvPr>
            <p:ph idx="1"/>
          </p:nvPr>
        </p:nvSpPr>
        <p:spPr>
          <a:xfrm>
            <a:off x="334963" y="1051859"/>
            <a:ext cx="3669272" cy="2103717"/>
          </a:xfrm>
          <a:prstGeom prst="roundRect">
            <a:avLst>
              <a:gd name="adj" fmla="val 8144"/>
            </a:avLst>
          </a:prstGeom>
          <a:solidFill>
            <a:schemeClr val="bg1"/>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bg1"/>
                </a:solidFill>
              </a:defRPr>
            </a:lvl1pPr>
          </a:lstStyle>
          <a:p>
            <a:fld id="{AAF502CD-F636-C049-B05E-4ED95BC0AEE0}" type="slidenum">
              <a:rPr lang="en-US" smtClean="0"/>
              <a:pPr/>
              <a:t>‹#›</a:t>
            </a:fld>
            <a:endParaRPr lang="en-US"/>
          </a:p>
        </p:txBody>
      </p:sp>
      <p:sp>
        <p:nvSpPr>
          <p:cNvPr id="13" name="Content Placeholder 2">
            <a:extLst>
              <a:ext uri="{FF2B5EF4-FFF2-40B4-BE49-F238E27FC236}">
                <a16:creationId xmlns:a16="http://schemas.microsoft.com/office/drawing/2014/main" id="{BFF4B991-4D0E-E48A-A5DD-213B4290F276}"/>
              </a:ext>
            </a:extLst>
          </p:cNvPr>
          <p:cNvSpPr>
            <a:spLocks noGrp="1"/>
          </p:cNvSpPr>
          <p:nvPr>
            <p:ph idx="13"/>
          </p:nvPr>
        </p:nvSpPr>
        <p:spPr>
          <a:xfrm>
            <a:off x="4261364" y="1051859"/>
            <a:ext cx="3669272" cy="2103717"/>
          </a:xfrm>
          <a:prstGeom prst="roundRect">
            <a:avLst>
              <a:gd name="adj" fmla="val 8144"/>
            </a:avLst>
          </a:prstGeom>
          <a:solidFill>
            <a:schemeClr val="bg1"/>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Content Placeholder 2">
            <a:extLst>
              <a:ext uri="{FF2B5EF4-FFF2-40B4-BE49-F238E27FC236}">
                <a16:creationId xmlns:a16="http://schemas.microsoft.com/office/drawing/2014/main" id="{FF77CA50-0620-A689-B957-44C984F6742B}"/>
              </a:ext>
            </a:extLst>
          </p:cNvPr>
          <p:cNvSpPr>
            <a:spLocks noGrp="1"/>
          </p:cNvSpPr>
          <p:nvPr>
            <p:ph idx="14"/>
          </p:nvPr>
        </p:nvSpPr>
        <p:spPr>
          <a:xfrm>
            <a:off x="8187766" y="1051859"/>
            <a:ext cx="3669272" cy="2103717"/>
          </a:xfrm>
          <a:prstGeom prst="roundRect">
            <a:avLst>
              <a:gd name="adj" fmla="val 8144"/>
            </a:avLst>
          </a:prstGeom>
          <a:solidFill>
            <a:schemeClr val="bg1"/>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Content Placeholder 2">
            <a:extLst>
              <a:ext uri="{FF2B5EF4-FFF2-40B4-BE49-F238E27FC236}">
                <a16:creationId xmlns:a16="http://schemas.microsoft.com/office/drawing/2014/main" id="{C1DEE3FE-B4D4-0E24-3217-42076F0C5CB3}"/>
              </a:ext>
            </a:extLst>
          </p:cNvPr>
          <p:cNvSpPr>
            <a:spLocks noGrp="1"/>
          </p:cNvSpPr>
          <p:nvPr>
            <p:ph idx="15"/>
          </p:nvPr>
        </p:nvSpPr>
        <p:spPr>
          <a:xfrm>
            <a:off x="334963" y="3933056"/>
            <a:ext cx="3669272" cy="2103717"/>
          </a:xfrm>
          <a:prstGeom prst="roundRect">
            <a:avLst>
              <a:gd name="adj" fmla="val 8144"/>
            </a:avLst>
          </a:prstGeom>
          <a:solidFill>
            <a:schemeClr val="bg1"/>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Content Placeholder 2">
            <a:extLst>
              <a:ext uri="{FF2B5EF4-FFF2-40B4-BE49-F238E27FC236}">
                <a16:creationId xmlns:a16="http://schemas.microsoft.com/office/drawing/2014/main" id="{ADB1E1DB-932B-0ACD-CBC6-77E917949C76}"/>
              </a:ext>
            </a:extLst>
          </p:cNvPr>
          <p:cNvSpPr>
            <a:spLocks noGrp="1"/>
          </p:cNvSpPr>
          <p:nvPr>
            <p:ph idx="16"/>
          </p:nvPr>
        </p:nvSpPr>
        <p:spPr>
          <a:xfrm>
            <a:off x="4261364" y="3933056"/>
            <a:ext cx="3669272" cy="2103717"/>
          </a:xfrm>
          <a:prstGeom prst="roundRect">
            <a:avLst>
              <a:gd name="adj" fmla="val 8144"/>
            </a:avLst>
          </a:prstGeom>
          <a:solidFill>
            <a:schemeClr val="bg1"/>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7" name="Content Placeholder 2">
            <a:extLst>
              <a:ext uri="{FF2B5EF4-FFF2-40B4-BE49-F238E27FC236}">
                <a16:creationId xmlns:a16="http://schemas.microsoft.com/office/drawing/2014/main" id="{264DEAAC-ADDC-75A3-7D78-D83A7604D2BC}"/>
              </a:ext>
            </a:extLst>
          </p:cNvPr>
          <p:cNvSpPr>
            <a:spLocks noGrp="1"/>
          </p:cNvSpPr>
          <p:nvPr>
            <p:ph idx="17"/>
          </p:nvPr>
        </p:nvSpPr>
        <p:spPr>
          <a:xfrm>
            <a:off x="8187766" y="3933056"/>
            <a:ext cx="3669272" cy="2103717"/>
          </a:xfrm>
          <a:prstGeom prst="roundRect">
            <a:avLst>
              <a:gd name="adj" fmla="val 8144"/>
            </a:avLst>
          </a:prstGeom>
          <a:solidFill>
            <a:schemeClr val="bg1"/>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8" name="Triangle 17">
            <a:extLst>
              <a:ext uri="{FF2B5EF4-FFF2-40B4-BE49-F238E27FC236}">
                <a16:creationId xmlns:a16="http://schemas.microsoft.com/office/drawing/2014/main" id="{3968C3EA-5DF8-D2EF-CA12-405C02DAC8A6}"/>
              </a:ext>
            </a:extLst>
          </p:cNvPr>
          <p:cNvSpPr/>
          <p:nvPr/>
        </p:nvSpPr>
        <p:spPr>
          <a:xfrm rot="10800000">
            <a:off x="2043600" y="3436189"/>
            <a:ext cx="252000" cy="216000"/>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riangle 18">
            <a:extLst>
              <a:ext uri="{FF2B5EF4-FFF2-40B4-BE49-F238E27FC236}">
                <a16:creationId xmlns:a16="http://schemas.microsoft.com/office/drawing/2014/main" id="{C5437864-ABBA-5CEC-94D8-8D045419CCE5}"/>
              </a:ext>
            </a:extLst>
          </p:cNvPr>
          <p:cNvSpPr/>
          <p:nvPr/>
        </p:nvSpPr>
        <p:spPr>
          <a:xfrm rot="10800000">
            <a:off x="5970000" y="3436189"/>
            <a:ext cx="252000" cy="216000"/>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riangle 19">
            <a:extLst>
              <a:ext uri="{FF2B5EF4-FFF2-40B4-BE49-F238E27FC236}">
                <a16:creationId xmlns:a16="http://schemas.microsoft.com/office/drawing/2014/main" id="{06AEB15B-38E0-4A83-6AE0-F4EE71AB28D6}"/>
              </a:ext>
            </a:extLst>
          </p:cNvPr>
          <p:cNvSpPr/>
          <p:nvPr/>
        </p:nvSpPr>
        <p:spPr>
          <a:xfrm rot="10800000">
            <a:off x="9896402" y="3436189"/>
            <a:ext cx="252000" cy="216000"/>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17">
            <a:extLst>
              <a:ext uri="{FF2B5EF4-FFF2-40B4-BE49-F238E27FC236}">
                <a16:creationId xmlns:a16="http://schemas.microsoft.com/office/drawing/2014/main" id="{2A546411-ACE2-9264-66EE-9F39E72FBFC5}"/>
              </a:ext>
            </a:extLst>
          </p:cNvPr>
          <p:cNvSpPr/>
          <p:nvPr/>
        </p:nvSpPr>
        <p:spPr>
          <a:xfrm rot="10800000">
            <a:off x="2043600" y="3436189"/>
            <a:ext cx="252000" cy="216000"/>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riangle 18">
            <a:extLst>
              <a:ext uri="{FF2B5EF4-FFF2-40B4-BE49-F238E27FC236}">
                <a16:creationId xmlns:a16="http://schemas.microsoft.com/office/drawing/2014/main" id="{5809446D-5D18-56C1-9C86-750D88EB59A2}"/>
              </a:ext>
            </a:extLst>
          </p:cNvPr>
          <p:cNvSpPr/>
          <p:nvPr/>
        </p:nvSpPr>
        <p:spPr>
          <a:xfrm rot="10800000">
            <a:off x="5970000" y="3436189"/>
            <a:ext cx="252000" cy="216000"/>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riangle 19">
            <a:extLst>
              <a:ext uri="{FF2B5EF4-FFF2-40B4-BE49-F238E27FC236}">
                <a16:creationId xmlns:a16="http://schemas.microsoft.com/office/drawing/2014/main" id="{C58EF698-B634-0C1B-4C63-DECDDA19F150}"/>
              </a:ext>
            </a:extLst>
          </p:cNvPr>
          <p:cNvSpPr/>
          <p:nvPr/>
        </p:nvSpPr>
        <p:spPr>
          <a:xfrm rot="10800000">
            <a:off x="9896402" y="3436189"/>
            <a:ext cx="252000" cy="216000"/>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Graphic 11">
            <a:extLst>
              <a:ext uri="{FF2B5EF4-FFF2-40B4-BE49-F238E27FC236}">
                <a16:creationId xmlns:a16="http://schemas.microsoft.com/office/drawing/2014/main" id="{0C162F21-F050-3CB6-1DE9-886638166C5F}"/>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bg1"/>
          </a:solidFill>
          <a:ln w="9076" cap="flat">
            <a:noFill/>
            <a:prstDash val="solid"/>
            <a:miter/>
          </a:ln>
        </p:spPr>
        <p:txBody>
          <a:bodyPr rtlCol="0" anchor="ctr"/>
          <a:lstStyle/>
          <a:p>
            <a:endParaRPr lang="en-US">
              <a:solidFill>
                <a:schemeClr val="bg1"/>
              </a:solidFill>
            </a:endParaRPr>
          </a:p>
        </p:txBody>
      </p:sp>
      <p:sp>
        <p:nvSpPr>
          <p:cNvPr id="23" name="Triangle 17">
            <a:extLst>
              <a:ext uri="{FF2B5EF4-FFF2-40B4-BE49-F238E27FC236}">
                <a16:creationId xmlns:a16="http://schemas.microsoft.com/office/drawing/2014/main" id="{ADF3119A-07BA-9641-39F3-6B964EB8E4FB}"/>
              </a:ext>
            </a:extLst>
          </p:cNvPr>
          <p:cNvSpPr/>
          <p:nvPr userDrawn="1"/>
        </p:nvSpPr>
        <p:spPr>
          <a:xfrm rot="10800000">
            <a:off x="2043600" y="3436189"/>
            <a:ext cx="252000" cy="216000"/>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riangle 18">
            <a:extLst>
              <a:ext uri="{FF2B5EF4-FFF2-40B4-BE49-F238E27FC236}">
                <a16:creationId xmlns:a16="http://schemas.microsoft.com/office/drawing/2014/main" id="{C6AE6E4E-B032-9656-84EF-AEC4C7F9C459}"/>
              </a:ext>
            </a:extLst>
          </p:cNvPr>
          <p:cNvSpPr/>
          <p:nvPr userDrawn="1"/>
        </p:nvSpPr>
        <p:spPr>
          <a:xfrm rot="10800000">
            <a:off x="5970000" y="3436189"/>
            <a:ext cx="252000" cy="216000"/>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riangle 19">
            <a:extLst>
              <a:ext uri="{FF2B5EF4-FFF2-40B4-BE49-F238E27FC236}">
                <a16:creationId xmlns:a16="http://schemas.microsoft.com/office/drawing/2014/main" id="{E84628FA-7D4A-9326-BC96-64A5B8C31DDD}"/>
              </a:ext>
            </a:extLst>
          </p:cNvPr>
          <p:cNvSpPr/>
          <p:nvPr userDrawn="1"/>
        </p:nvSpPr>
        <p:spPr>
          <a:xfrm rot="10800000">
            <a:off x="9896402" y="3436189"/>
            <a:ext cx="252000" cy="216000"/>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78604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6 Text Boxes - White BG">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2" y="300859"/>
            <a:ext cx="10543243" cy="751000"/>
          </a:xfrm>
        </p:spPr>
        <p:txBody>
          <a:bodyPr/>
          <a:lstStyle>
            <a:lvl1pPr>
              <a:defRPr>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92A706A-F0D9-BE69-314F-7FB54EB30136}"/>
              </a:ext>
            </a:extLst>
          </p:cNvPr>
          <p:cNvSpPr>
            <a:spLocks noGrp="1"/>
          </p:cNvSpPr>
          <p:nvPr>
            <p:ph idx="1"/>
          </p:nvPr>
        </p:nvSpPr>
        <p:spPr>
          <a:xfrm>
            <a:off x="334963" y="1051859"/>
            <a:ext cx="3669272" cy="2103717"/>
          </a:xfrm>
          <a:prstGeom prst="roundRect">
            <a:avLst>
              <a:gd name="adj" fmla="val 8144"/>
            </a:avLst>
          </a:prstGeom>
          <a:solidFill>
            <a:schemeClr val="bg1"/>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tx1"/>
                </a:solidFill>
              </a:defRPr>
            </a:lvl1pPr>
          </a:lstStyle>
          <a:p>
            <a:fld id="{AAF502CD-F636-C049-B05E-4ED95BC0AEE0}" type="slidenum">
              <a:rPr lang="en-US" smtClean="0"/>
              <a:pPr/>
              <a:t>‹#›</a:t>
            </a:fld>
            <a:endParaRPr lang="en-US"/>
          </a:p>
        </p:txBody>
      </p:sp>
      <p:sp>
        <p:nvSpPr>
          <p:cNvPr id="13" name="Content Placeholder 2">
            <a:extLst>
              <a:ext uri="{FF2B5EF4-FFF2-40B4-BE49-F238E27FC236}">
                <a16:creationId xmlns:a16="http://schemas.microsoft.com/office/drawing/2014/main" id="{BFF4B991-4D0E-E48A-A5DD-213B4290F276}"/>
              </a:ext>
            </a:extLst>
          </p:cNvPr>
          <p:cNvSpPr>
            <a:spLocks noGrp="1"/>
          </p:cNvSpPr>
          <p:nvPr>
            <p:ph idx="13"/>
          </p:nvPr>
        </p:nvSpPr>
        <p:spPr>
          <a:xfrm>
            <a:off x="4261364" y="1051859"/>
            <a:ext cx="3669272" cy="2103717"/>
          </a:xfrm>
          <a:prstGeom prst="roundRect">
            <a:avLst>
              <a:gd name="adj" fmla="val 8144"/>
            </a:avLst>
          </a:prstGeom>
          <a:solidFill>
            <a:schemeClr val="bg1"/>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Content Placeholder 2">
            <a:extLst>
              <a:ext uri="{FF2B5EF4-FFF2-40B4-BE49-F238E27FC236}">
                <a16:creationId xmlns:a16="http://schemas.microsoft.com/office/drawing/2014/main" id="{FF77CA50-0620-A689-B957-44C984F6742B}"/>
              </a:ext>
            </a:extLst>
          </p:cNvPr>
          <p:cNvSpPr>
            <a:spLocks noGrp="1"/>
          </p:cNvSpPr>
          <p:nvPr>
            <p:ph idx="14"/>
          </p:nvPr>
        </p:nvSpPr>
        <p:spPr>
          <a:xfrm>
            <a:off x="8187766" y="1051859"/>
            <a:ext cx="3669272" cy="2103717"/>
          </a:xfrm>
          <a:prstGeom prst="roundRect">
            <a:avLst>
              <a:gd name="adj" fmla="val 8144"/>
            </a:avLst>
          </a:prstGeom>
          <a:solidFill>
            <a:schemeClr val="bg1"/>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Content Placeholder 2">
            <a:extLst>
              <a:ext uri="{FF2B5EF4-FFF2-40B4-BE49-F238E27FC236}">
                <a16:creationId xmlns:a16="http://schemas.microsoft.com/office/drawing/2014/main" id="{C1DEE3FE-B4D4-0E24-3217-42076F0C5CB3}"/>
              </a:ext>
            </a:extLst>
          </p:cNvPr>
          <p:cNvSpPr>
            <a:spLocks noGrp="1"/>
          </p:cNvSpPr>
          <p:nvPr>
            <p:ph idx="15"/>
          </p:nvPr>
        </p:nvSpPr>
        <p:spPr>
          <a:xfrm>
            <a:off x="334963" y="3933056"/>
            <a:ext cx="3669272" cy="2103717"/>
          </a:xfrm>
          <a:prstGeom prst="roundRect">
            <a:avLst>
              <a:gd name="adj" fmla="val 8144"/>
            </a:avLst>
          </a:prstGeom>
          <a:solidFill>
            <a:schemeClr val="bg1"/>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Content Placeholder 2">
            <a:extLst>
              <a:ext uri="{FF2B5EF4-FFF2-40B4-BE49-F238E27FC236}">
                <a16:creationId xmlns:a16="http://schemas.microsoft.com/office/drawing/2014/main" id="{ADB1E1DB-932B-0ACD-CBC6-77E917949C76}"/>
              </a:ext>
            </a:extLst>
          </p:cNvPr>
          <p:cNvSpPr>
            <a:spLocks noGrp="1"/>
          </p:cNvSpPr>
          <p:nvPr>
            <p:ph idx="16"/>
          </p:nvPr>
        </p:nvSpPr>
        <p:spPr>
          <a:xfrm>
            <a:off x="4261364" y="3933056"/>
            <a:ext cx="3669272" cy="2103717"/>
          </a:xfrm>
          <a:prstGeom prst="roundRect">
            <a:avLst>
              <a:gd name="adj" fmla="val 8144"/>
            </a:avLst>
          </a:prstGeom>
          <a:solidFill>
            <a:schemeClr val="bg1"/>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7" name="Content Placeholder 2">
            <a:extLst>
              <a:ext uri="{FF2B5EF4-FFF2-40B4-BE49-F238E27FC236}">
                <a16:creationId xmlns:a16="http://schemas.microsoft.com/office/drawing/2014/main" id="{264DEAAC-ADDC-75A3-7D78-D83A7604D2BC}"/>
              </a:ext>
            </a:extLst>
          </p:cNvPr>
          <p:cNvSpPr>
            <a:spLocks noGrp="1"/>
          </p:cNvSpPr>
          <p:nvPr>
            <p:ph idx="17"/>
          </p:nvPr>
        </p:nvSpPr>
        <p:spPr>
          <a:xfrm>
            <a:off x="8187766" y="3933056"/>
            <a:ext cx="3669272" cy="2103717"/>
          </a:xfrm>
          <a:prstGeom prst="roundRect">
            <a:avLst>
              <a:gd name="adj" fmla="val 8144"/>
            </a:avLst>
          </a:prstGeom>
          <a:solidFill>
            <a:schemeClr val="bg1"/>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8" name="Triangle 17">
            <a:extLst>
              <a:ext uri="{FF2B5EF4-FFF2-40B4-BE49-F238E27FC236}">
                <a16:creationId xmlns:a16="http://schemas.microsoft.com/office/drawing/2014/main" id="{3968C3EA-5DF8-D2EF-CA12-405C02DAC8A6}"/>
              </a:ext>
            </a:extLst>
          </p:cNvPr>
          <p:cNvSpPr/>
          <p:nvPr/>
        </p:nvSpPr>
        <p:spPr>
          <a:xfrm rot="10800000">
            <a:off x="2043600" y="3436189"/>
            <a:ext cx="252000" cy="216000"/>
          </a:xfrm>
          <a:prstGeom prst="triangl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Triangle 18">
            <a:extLst>
              <a:ext uri="{FF2B5EF4-FFF2-40B4-BE49-F238E27FC236}">
                <a16:creationId xmlns:a16="http://schemas.microsoft.com/office/drawing/2014/main" id="{C5437864-ABBA-5CEC-94D8-8D045419CCE5}"/>
              </a:ext>
            </a:extLst>
          </p:cNvPr>
          <p:cNvSpPr/>
          <p:nvPr/>
        </p:nvSpPr>
        <p:spPr>
          <a:xfrm rot="10800000">
            <a:off x="5970000" y="3436189"/>
            <a:ext cx="252000" cy="216000"/>
          </a:xfrm>
          <a:prstGeom prst="triangl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Triangle 19">
            <a:extLst>
              <a:ext uri="{FF2B5EF4-FFF2-40B4-BE49-F238E27FC236}">
                <a16:creationId xmlns:a16="http://schemas.microsoft.com/office/drawing/2014/main" id="{06AEB15B-38E0-4A83-6AE0-F4EE71AB28D6}"/>
              </a:ext>
            </a:extLst>
          </p:cNvPr>
          <p:cNvSpPr/>
          <p:nvPr/>
        </p:nvSpPr>
        <p:spPr>
          <a:xfrm rot="10800000">
            <a:off x="9896402" y="3436189"/>
            <a:ext cx="252000" cy="216000"/>
          </a:xfrm>
          <a:prstGeom prst="triangl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riangle 17">
            <a:extLst>
              <a:ext uri="{FF2B5EF4-FFF2-40B4-BE49-F238E27FC236}">
                <a16:creationId xmlns:a16="http://schemas.microsoft.com/office/drawing/2014/main" id="{8DE3622D-66B9-34C2-8B7B-C1CD2F6FE5FA}"/>
              </a:ext>
            </a:extLst>
          </p:cNvPr>
          <p:cNvSpPr/>
          <p:nvPr/>
        </p:nvSpPr>
        <p:spPr>
          <a:xfrm rot="10800000">
            <a:off x="2043600" y="3436189"/>
            <a:ext cx="252000" cy="216000"/>
          </a:xfrm>
          <a:prstGeom prst="triangl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riangle 18">
            <a:extLst>
              <a:ext uri="{FF2B5EF4-FFF2-40B4-BE49-F238E27FC236}">
                <a16:creationId xmlns:a16="http://schemas.microsoft.com/office/drawing/2014/main" id="{2DC3CAC7-48D9-1858-2F75-51341108E3C4}"/>
              </a:ext>
            </a:extLst>
          </p:cNvPr>
          <p:cNvSpPr/>
          <p:nvPr/>
        </p:nvSpPr>
        <p:spPr>
          <a:xfrm rot="10800000">
            <a:off x="5970000" y="3436189"/>
            <a:ext cx="252000" cy="216000"/>
          </a:xfrm>
          <a:prstGeom prst="triangl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Triangle 19">
            <a:extLst>
              <a:ext uri="{FF2B5EF4-FFF2-40B4-BE49-F238E27FC236}">
                <a16:creationId xmlns:a16="http://schemas.microsoft.com/office/drawing/2014/main" id="{C9DD8B3B-E02F-FB40-ADB2-506A79F2D7F5}"/>
              </a:ext>
            </a:extLst>
          </p:cNvPr>
          <p:cNvSpPr/>
          <p:nvPr/>
        </p:nvSpPr>
        <p:spPr>
          <a:xfrm rot="10800000">
            <a:off x="9896402" y="3436189"/>
            <a:ext cx="252000" cy="216000"/>
          </a:xfrm>
          <a:prstGeom prst="triangl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Graphic 11">
            <a:extLst>
              <a:ext uri="{FF2B5EF4-FFF2-40B4-BE49-F238E27FC236}">
                <a16:creationId xmlns:a16="http://schemas.microsoft.com/office/drawing/2014/main" id="{4823692F-0506-254A-8B9F-766AF1CE6252}"/>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tx1"/>
              </a:solidFill>
            </a:endParaRPr>
          </a:p>
        </p:txBody>
      </p:sp>
      <p:sp>
        <p:nvSpPr>
          <p:cNvPr id="23" name="Triangle 17">
            <a:extLst>
              <a:ext uri="{FF2B5EF4-FFF2-40B4-BE49-F238E27FC236}">
                <a16:creationId xmlns:a16="http://schemas.microsoft.com/office/drawing/2014/main" id="{F13F8217-5619-1621-2012-0E5F17CC939A}"/>
              </a:ext>
            </a:extLst>
          </p:cNvPr>
          <p:cNvSpPr/>
          <p:nvPr userDrawn="1"/>
        </p:nvSpPr>
        <p:spPr>
          <a:xfrm rot="10800000">
            <a:off x="2043600" y="3436189"/>
            <a:ext cx="252000" cy="216000"/>
          </a:xfrm>
          <a:prstGeom prst="triangl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Triangle 18">
            <a:extLst>
              <a:ext uri="{FF2B5EF4-FFF2-40B4-BE49-F238E27FC236}">
                <a16:creationId xmlns:a16="http://schemas.microsoft.com/office/drawing/2014/main" id="{E92FDA5D-2E0B-2EC1-0D41-EC2EE68351DB}"/>
              </a:ext>
            </a:extLst>
          </p:cNvPr>
          <p:cNvSpPr/>
          <p:nvPr userDrawn="1"/>
        </p:nvSpPr>
        <p:spPr>
          <a:xfrm rot="10800000">
            <a:off x="5970000" y="3436189"/>
            <a:ext cx="252000" cy="216000"/>
          </a:xfrm>
          <a:prstGeom prst="triangl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Triangle 19">
            <a:extLst>
              <a:ext uri="{FF2B5EF4-FFF2-40B4-BE49-F238E27FC236}">
                <a16:creationId xmlns:a16="http://schemas.microsoft.com/office/drawing/2014/main" id="{844CAD0F-D049-DB82-4372-796C33ECAB7C}"/>
              </a:ext>
            </a:extLst>
          </p:cNvPr>
          <p:cNvSpPr/>
          <p:nvPr userDrawn="1"/>
        </p:nvSpPr>
        <p:spPr>
          <a:xfrm rot="10800000">
            <a:off x="9896402" y="3436189"/>
            <a:ext cx="252000" cy="216000"/>
          </a:xfrm>
          <a:prstGeom prst="triangl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0526954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6 Text/Image Boxes - Green BG">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2" y="300859"/>
            <a:ext cx="10543243" cy="751000"/>
          </a:xfrm>
        </p:spPr>
        <p:txBody>
          <a:bodyPr/>
          <a:lstStyle>
            <a:lvl1pPr>
              <a:defRPr>
                <a:solidFill>
                  <a:schemeClr val="tx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tx1"/>
                </a:solidFill>
              </a:defRPr>
            </a:lvl1pPr>
          </a:lstStyle>
          <a:p>
            <a:fld id="{AAF502CD-F636-C049-B05E-4ED95BC0AEE0}" type="slidenum">
              <a:rPr lang="en-US" smtClean="0"/>
              <a:pPr/>
              <a:t>‹#›</a:t>
            </a:fld>
            <a:endParaRPr lang="en-US"/>
          </a:p>
        </p:txBody>
      </p:sp>
      <p:sp>
        <p:nvSpPr>
          <p:cNvPr id="15" name="Content Placeholder 2">
            <a:extLst>
              <a:ext uri="{FF2B5EF4-FFF2-40B4-BE49-F238E27FC236}">
                <a16:creationId xmlns:a16="http://schemas.microsoft.com/office/drawing/2014/main" id="{C1DEE3FE-B4D4-0E24-3217-42076F0C5CB3}"/>
              </a:ext>
            </a:extLst>
          </p:cNvPr>
          <p:cNvSpPr>
            <a:spLocks noGrp="1"/>
          </p:cNvSpPr>
          <p:nvPr>
            <p:ph idx="15"/>
          </p:nvPr>
        </p:nvSpPr>
        <p:spPr>
          <a:xfrm>
            <a:off x="334963" y="3933056"/>
            <a:ext cx="3669272" cy="2103717"/>
          </a:xfrm>
          <a:prstGeom prst="roundRect">
            <a:avLst>
              <a:gd name="adj" fmla="val 8144"/>
            </a:avLst>
          </a:prstGeom>
          <a:solidFill>
            <a:schemeClr val="accent3"/>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Content Placeholder 2">
            <a:extLst>
              <a:ext uri="{FF2B5EF4-FFF2-40B4-BE49-F238E27FC236}">
                <a16:creationId xmlns:a16="http://schemas.microsoft.com/office/drawing/2014/main" id="{ADB1E1DB-932B-0ACD-CBC6-77E917949C76}"/>
              </a:ext>
            </a:extLst>
          </p:cNvPr>
          <p:cNvSpPr>
            <a:spLocks noGrp="1"/>
          </p:cNvSpPr>
          <p:nvPr>
            <p:ph idx="16"/>
          </p:nvPr>
        </p:nvSpPr>
        <p:spPr>
          <a:xfrm>
            <a:off x="4261364" y="3933056"/>
            <a:ext cx="3669272" cy="2103717"/>
          </a:xfrm>
          <a:prstGeom prst="roundRect">
            <a:avLst>
              <a:gd name="adj" fmla="val 8144"/>
            </a:avLst>
          </a:prstGeom>
          <a:solidFill>
            <a:schemeClr val="accent3"/>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7" name="Content Placeholder 2">
            <a:extLst>
              <a:ext uri="{FF2B5EF4-FFF2-40B4-BE49-F238E27FC236}">
                <a16:creationId xmlns:a16="http://schemas.microsoft.com/office/drawing/2014/main" id="{264DEAAC-ADDC-75A3-7D78-D83A7604D2BC}"/>
              </a:ext>
            </a:extLst>
          </p:cNvPr>
          <p:cNvSpPr>
            <a:spLocks noGrp="1"/>
          </p:cNvSpPr>
          <p:nvPr>
            <p:ph idx="17"/>
          </p:nvPr>
        </p:nvSpPr>
        <p:spPr>
          <a:xfrm>
            <a:off x="8187766" y="3933056"/>
            <a:ext cx="3669272" cy="2103717"/>
          </a:xfrm>
          <a:prstGeom prst="roundRect">
            <a:avLst>
              <a:gd name="adj" fmla="val 8144"/>
            </a:avLst>
          </a:prstGeom>
          <a:solidFill>
            <a:schemeClr val="accent3"/>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8" name="Picture Placeholder 6">
            <a:extLst>
              <a:ext uri="{FF2B5EF4-FFF2-40B4-BE49-F238E27FC236}">
                <a16:creationId xmlns:a16="http://schemas.microsoft.com/office/drawing/2014/main" id="{94A244D6-0A96-E7C4-4E93-FECB87EBB6C8}"/>
              </a:ext>
            </a:extLst>
          </p:cNvPr>
          <p:cNvSpPr>
            <a:spLocks noGrp="1"/>
          </p:cNvSpPr>
          <p:nvPr>
            <p:ph type="pic" sz="quarter" idx="13"/>
          </p:nvPr>
        </p:nvSpPr>
        <p:spPr>
          <a:xfrm>
            <a:off x="334963" y="1051858"/>
            <a:ext cx="3668400" cy="2623671"/>
          </a:xfrm>
          <a:prstGeom prst="roundRect">
            <a:avLst>
              <a:gd name="adj" fmla="val 6872"/>
            </a:avLst>
          </a:prstGeom>
          <a:solidFill>
            <a:schemeClr val="bg1">
              <a:lumMod val="75000"/>
            </a:schemeClr>
          </a:solidFill>
        </p:spPr>
        <p:txBody>
          <a:bodyPr anchor="ctr" anchorCtr="0"/>
          <a:lstStyle>
            <a:lvl1pPr algn="ctr">
              <a:defRPr sz="1000"/>
            </a:lvl1pPr>
          </a:lstStyle>
          <a:p>
            <a:r>
              <a:rPr lang="en-US"/>
              <a:t>Click icon to add picture</a:t>
            </a:r>
          </a:p>
        </p:txBody>
      </p:sp>
      <p:sp>
        <p:nvSpPr>
          <p:cNvPr id="9" name="Picture Placeholder 6">
            <a:extLst>
              <a:ext uri="{FF2B5EF4-FFF2-40B4-BE49-F238E27FC236}">
                <a16:creationId xmlns:a16="http://schemas.microsoft.com/office/drawing/2014/main" id="{919DD34C-15DD-61D8-0A48-3FB936A29CC2}"/>
              </a:ext>
            </a:extLst>
          </p:cNvPr>
          <p:cNvSpPr>
            <a:spLocks noGrp="1"/>
          </p:cNvSpPr>
          <p:nvPr>
            <p:ph type="pic" sz="quarter" idx="18"/>
          </p:nvPr>
        </p:nvSpPr>
        <p:spPr>
          <a:xfrm>
            <a:off x="4261801" y="1051858"/>
            <a:ext cx="3668400" cy="2623671"/>
          </a:xfrm>
          <a:prstGeom prst="roundRect">
            <a:avLst>
              <a:gd name="adj" fmla="val 6872"/>
            </a:avLst>
          </a:prstGeom>
          <a:solidFill>
            <a:schemeClr val="bg1">
              <a:lumMod val="75000"/>
            </a:schemeClr>
          </a:solidFill>
        </p:spPr>
        <p:txBody>
          <a:bodyPr anchor="ctr" anchorCtr="0"/>
          <a:lstStyle>
            <a:lvl1pPr algn="ctr">
              <a:defRPr sz="1000"/>
            </a:lvl1pPr>
          </a:lstStyle>
          <a:p>
            <a:r>
              <a:rPr lang="en-US"/>
              <a:t>Click icon to add picture</a:t>
            </a:r>
          </a:p>
        </p:txBody>
      </p:sp>
      <p:sp>
        <p:nvSpPr>
          <p:cNvPr id="12" name="Picture Placeholder 6">
            <a:extLst>
              <a:ext uri="{FF2B5EF4-FFF2-40B4-BE49-F238E27FC236}">
                <a16:creationId xmlns:a16="http://schemas.microsoft.com/office/drawing/2014/main" id="{520F6615-853A-2030-8DA6-9C0FBF59F855}"/>
              </a:ext>
            </a:extLst>
          </p:cNvPr>
          <p:cNvSpPr>
            <a:spLocks noGrp="1"/>
          </p:cNvSpPr>
          <p:nvPr>
            <p:ph type="pic" sz="quarter" idx="19"/>
          </p:nvPr>
        </p:nvSpPr>
        <p:spPr>
          <a:xfrm>
            <a:off x="8188638" y="1051858"/>
            <a:ext cx="3668400" cy="2623671"/>
          </a:xfrm>
          <a:prstGeom prst="roundRect">
            <a:avLst>
              <a:gd name="adj" fmla="val 6872"/>
            </a:avLst>
          </a:prstGeom>
          <a:solidFill>
            <a:schemeClr val="bg1">
              <a:lumMod val="75000"/>
            </a:schemeClr>
          </a:solidFill>
        </p:spPr>
        <p:txBody>
          <a:bodyPr anchor="ctr" anchorCtr="0"/>
          <a:lstStyle>
            <a:lvl1pPr algn="ctr">
              <a:defRPr sz="1000"/>
            </a:lvl1pPr>
          </a:lstStyle>
          <a:p>
            <a:r>
              <a:rPr lang="en-US"/>
              <a:t>Click icon to add picture</a:t>
            </a:r>
          </a:p>
        </p:txBody>
      </p:sp>
      <p:sp>
        <p:nvSpPr>
          <p:cNvPr id="7" name="Graphic 11">
            <a:extLst>
              <a:ext uri="{FF2B5EF4-FFF2-40B4-BE49-F238E27FC236}">
                <a16:creationId xmlns:a16="http://schemas.microsoft.com/office/drawing/2014/main" id="{133C433C-69DE-B315-8788-C5068C650D5B}"/>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tx1"/>
              </a:solidFill>
            </a:endParaRPr>
          </a:p>
        </p:txBody>
      </p:sp>
    </p:spTree>
    <p:extLst>
      <p:ext uri="{BB962C8B-B14F-4D97-AF65-F5344CB8AC3E}">
        <p14:creationId xmlns:p14="http://schemas.microsoft.com/office/powerpoint/2010/main" val="11888972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6 Text/Image Boxes - White BG">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2" y="300859"/>
            <a:ext cx="10543243" cy="751000"/>
          </a:xfrm>
        </p:spPr>
        <p:txBody>
          <a:bodyPr/>
          <a:lstStyle>
            <a:lvl1pPr>
              <a:defRPr>
                <a:solidFill>
                  <a:schemeClr val="tx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tx1"/>
                </a:solidFill>
              </a:defRPr>
            </a:lvl1pPr>
          </a:lstStyle>
          <a:p>
            <a:fld id="{AAF502CD-F636-C049-B05E-4ED95BC0AEE0}" type="slidenum">
              <a:rPr lang="en-US" smtClean="0"/>
              <a:pPr/>
              <a:t>‹#›</a:t>
            </a:fld>
            <a:endParaRPr lang="en-US"/>
          </a:p>
        </p:txBody>
      </p:sp>
      <p:sp>
        <p:nvSpPr>
          <p:cNvPr id="15" name="Content Placeholder 2">
            <a:extLst>
              <a:ext uri="{FF2B5EF4-FFF2-40B4-BE49-F238E27FC236}">
                <a16:creationId xmlns:a16="http://schemas.microsoft.com/office/drawing/2014/main" id="{C1DEE3FE-B4D4-0E24-3217-42076F0C5CB3}"/>
              </a:ext>
            </a:extLst>
          </p:cNvPr>
          <p:cNvSpPr>
            <a:spLocks noGrp="1"/>
          </p:cNvSpPr>
          <p:nvPr>
            <p:ph idx="15"/>
          </p:nvPr>
        </p:nvSpPr>
        <p:spPr>
          <a:xfrm>
            <a:off x="334963" y="3933056"/>
            <a:ext cx="3669272" cy="2103717"/>
          </a:xfrm>
          <a:prstGeom prst="roundRect">
            <a:avLst>
              <a:gd name="adj" fmla="val 8144"/>
            </a:avLst>
          </a:prstGeom>
          <a:solidFill>
            <a:schemeClr val="bg2"/>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Content Placeholder 2">
            <a:extLst>
              <a:ext uri="{FF2B5EF4-FFF2-40B4-BE49-F238E27FC236}">
                <a16:creationId xmlns:a16="http://schemas.microsoft.com/office/drawing/2014/main" id="{ADB1E1DB-932B-0ACD-CBC6-77E917949C76}"/>
              </a:ext>
            </a:extLst>
          </p:cNvPr>
          <p:cNvSpPr>
            <a:spLocks noGrp="1"/>
          </p:cNvSpPr>
          <p:nvPr>
            <p:ph idx="16"/>
          </p:nvPr>
        </p:nvSpPr>
        <p:spPr>
          <a:xfrm>
            <a:off x="4261364" y="3933056"/>
            <a:ext cx="3669272" cy="2103717"/>
          </a:xfrm>
          <a:prstGeom prst="roundRect">
            <a:avLst>
              <a:gd name="adj" fmla="val 8144"/>
            </a:avLst>
          </a:prstGeom>
          <a:solidFill>
            <a:schemeClr val="bg2"/>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7" name="Content Placeholder 2">
            <a:extLst>
              <a:ext uri="{FF2B5EF4-FFF2-40B4-BE49-F238E27FC236}">
                <a16:creationId xmlns:a16="http://schemas.microsoft.com/office/drawing/2014/main" id="{264DEAAC-ADDC-75A3-7D78-D83A7604D2BC}"/>
              </a:ext>
            </a:extLst>
          </p:cNvPr>
          <p:cNvSpPr>
            <a:spLocks noGrp="1"/>
          </p:cNvSpPr>
          <p:nvPr>
            <p:ph idx="17"/>
          </p:nvPr>
        </p:nvSpPr>
        <p:spPr>
          <a:xfrm>
            <a:off x="8187766" y="3933056"/>
            <a:ext cx="3669272" cy="2103717"/>
          </a:xfrm>
          <a:prstGeom prst="roundRect">
            <a:avLst>
              <a:gd name="adj" fmla="val 8144"/>
            </a:avLst>
          </a:prstGeom>
          <a:solidFill>
            <a:schemeClr val="bg2"/>
          </a:solidFill>
        </p:spPr>
        <p:txBody>
          <a:bodyPr lIns="180000" tIns="180000" rIns="180000"/>
          <a:lstStyle>
            <a:lvl1pPr>
              <a:defRPr sz="1800" b="1">
                <a:solidFill>
                  <a:schemeClr val="tx1"/>
                </a:solidFill>
                <a:latin typeface="+mj-lt"/>
              </a:defRPr>
            </a:lvl1pPr>
            <a:lvl2pPr marL="0" indent="0">
              <a:buNone/>
              <a:defRPr sz="1800">
                <a:solidFill>
                  <a:schemeClr val="tx1"/>
                </a:solidFill>
              </a:defRPr>
            </a:lvl2pPr>
            <a:lvl3pPr marL="268288" indent="-268288">
              <a:tabLst/>
              <a:defRPr sz="18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8" name="Picture Placeholder 6">
            <a:extLst>
              <a:ext uri="{FF2B5EF4-FFF2-40B4-BE49-F238E27FC236}">
                <a16:creationId xmlns:a16="http://schemas.microsoft.com/office/drawing/2014/main" id="{94A244D6-0A96-E7C4-4E93-FECB87EBB6C8}"/>
              </a:ext>
            </a:extLst>
          </p:cNvPr>
          <p:cNvSpPr>
            <a:spLocks noGrp="1"/>
          </p:cNvSpPr>
          <p:nvPr>
            <p:ph type="pic" sz="quarter" idx="13"/>
          </p:nvPr>
        </p:nvSpPr>
        <p:spPr>
          <a:xfrm>
            <a:off x="334963" y="1051858"/>
            <a:ext cx="3668400" cy="2623671"/>
          </a:xfrm>
          <a:prstGeom prst="roundRect">
            <a:avLst>
              <a:gd name="adj" fmla="val 6872"/>
            </a:avLst>
          </a:prstGeom>
          <a:solidFill>
            <a:schemeClr val="bg1">
              <a:lumMod val="75000"/>
            </a:schemeClr>
          </a:solidFill>
        </p:spPr>
        <p:txBody>
          <a:bodyPr anchor="ctr" anchorCtr="0"/>
          <a:lstStyle>
            <a:lvl1pPr algn="ctr">
              <a:defRPr sz="1000"/>
            </a:lvl1pPr>
          </a:lstStyle>
          <a:p>
            <a:r>
              <a:rPr lang="en-US"/>
              <a:t>Click icon to add picture</a:t>
            </a:r>
          </a:p>
        </p:txBody>
      </p:sp>
      <p:sp>
        <p:nvSpPr>
          <p:cNvPr id="9" name="Picture Placeholder 6">
            <a:extLst>
              <a:ext uri="{FF2B5EF4-FFF2-40B4-BE49-F238E27FC236}">
                <a16:creationId xmlns:a16="http://schemas.microsoft.com/office/drawing/2014/main" id="{919DD34C-15DD-61D8-0A48-3FB936A29CC2}"/>
              </a:ext>
            </a:extLst>
          </p:cNvPr>
          <p:cNvSpPr>
            <a:spLocks noGrp="1"/>
          </p:cNvSpPr>
          <p:nvPr>
            <p:ph type="pic" sz="quarter" idx="18"/>
          </p:nvPr>
        </p:nvSpPr>
        <p:spPr>
          <a:xfrm>
            <a:off x="4261801" y="1051858"/>
            <a:ext cx="3668400" cy="2623671"/>
          </a:xfrm>
          <a:prstGeom prst="roundRect">
            <a:avLst>
              <a:gd name="adj" fmla="val 6872"/>
            </a:avLst>
          </a:prstGeom>
          <a:solidFill>
            <a:schemeClr val="bg1">
              <a:lumMod val="75000"/>
            </a:schemeClr>
          </a:solidFill>
        </p:spPr>
        <p:txBody>
          <a:bodyPr anchor="ctr" anchorCtr="0"/>
          <a:lstStyle>
            <a:lvl1pPr algn="ctr">
              <a:defRPr sz="1000"/>
            </a:lvl1pPr>
          </a:lstStyle>
          <a:p>
            <a:r>
              <a:rPr lang="en-US"/>
              <a:t>Click icon to add picture</a:t>
            </a:r>
          </a:p>
        </p:txBody>
      </p:sp>
      <p:sp>
        <p:nvSpPr>
          <p:cNvPr id="12" name="Picture Placeholder 6">
            <a:extLst>
              <a:ext uri="{FF2B5EF4-FFF2-40B4-BE49-F238E27FC236}">
                <a16:creationId xmlns:a16="http://schemas.microsoft.com/office/drawing/2014/main" id="{520F6615-853A-2030-8DA6-9C0FBF59F855}"/>
              </a:ext>
            </a:extLst>
          </p:cNvPr>
          <p:cNvSpPr>
            <a:spLocks noGrp="1"/>
          </p:cNvSpPr>
          <p:nvPr>
            <p:ph type="pic" sz="quarter" idx="19"/>
          </p:nvPr>
        </p:nvSpPr>
        <p:spPr>
          <a:xfrm>
            <a:off x="8188638" y="1051858"/>
            <a:ext cx="3668400" cy="2623671"/>
          </a:xfrm>
          <a:prstGeom prst="roundRect">
            <a:avLst>
              <a:gd name="adj" fmla="val 6872"/>
            </a:avLst>
          </a:prstGeom>
          <a:solidFill>
            <a:schemeClr val="bg1">
              <a:lumMod val="75000"/>
            </a:schemeClr>
          </a:solidFill>
        </p:spPr>
        <p:txBody>
          <a:bodyPr anchor="ctr" anchorCtr="0"/>
          <a:lstStyle>
            <a:lvl1pPr algn="ctr">
              <a:defRPr sz="1000"/>
            </a:lvl1pPr>
          </a:lstStyle>
          <a:p>
            <a:r>
              <a:rPr lang="en-US"/>
              <a:t>Click icon to add picture</a:t>
            </a:r>
          </a:p>
        </p:txBody>
      </p:sp>
      <p:sp>
        <p:nvSpPr>
          <p:cNvPr id="7" name="Graphic 11">
            <a:extLst>
              <a:ext uri="{FF2B5EF4-FFF2-40B4-BE49-F238E27FC236}">
                <a16:creationId xmlns:a16="http://schemas.microsoft.com/office/drawing/2014/main" id="{51D4EB64-493A-12BD-E4D1-184DDD42D3CE}"/>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tx1"/>
              </a:solidFill>
            </a:endParaRPr>
          </a:p>
        </p:txBody>
      </p:sp>
    </p:spTree>
    <p:extLst>
      <p:ext uri="{BB962C8B-B14F-4D97-AF65-F5344CB8AC3E}">
        <p14:creationId xmlns:p14="http://schemas.microsoft.com/office/powerpoint/2010/main" val="3572748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01B - White BG">
    <p:bg>
      <p:bgPr>
        <a:solidFill>
          <a:schemeClr val="bg1"/>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92DA8BE4-DA0E-809F-5599-E1AE8A35AFB4}"/>
              </a:ext>
            </a:extLst>
          </p:cNvPr>
          <p:cNvGrpSpPr/>
          <p:nvPr userDrawn="1"/>
        </p:nvGrpSpPr>
        <p:grpSpPr>
          <a:xfrm>
            <a:off x="5034119" y="290030"/>
            <a:ext cx="2158689" cy="6572436"/>
            <a:chOff x="5034119" y="283974"/>
            <a:chExt cx="2158689" cy="6572436"/>
          </a:xfrm>
        </p:grpSpPr>
        <p:sp>
          <p:nvSpPr>
            <p:cNvPr id="5" name="Freeform 4">
              <a:extLst>
                <a:ext uri="{FF2B5EF4-FFF2-40B4-BE49-F238E27FC236}">
                  <a16:creationId xmlns:a16="http://schemas.microsoft.com/office/drawing/2014/main" id="{666D59D0-35C1-3DDF-FF34-862AF1FD6633}"/>
                </a:ext>
              </a:extLst>
            </p:cNvPr>
            <p:cNvSpPr/>
            <p:nvPr/>
          </p:nvSpPr>
          <p:spPr>
            <a:xfrm>
              <a:off x="5657740" y="5328061"/>
              <a:ext cx="911446" cy="911217"/>
            </a:xfrm>
            <a:custGeom>
              <a:avLst/>
              <a:gdLst>
                <a:gd name="connsiteX0" fmla="*/ 911447 w 911446"/>
                <a:gd name="connsiteY0" fmla="*/ 455608 h 911217"/>
                <a:gd name="connsiteX1" fmla="*/ 455692 w 911446"/>
                <a:gd name="connsiteY1" fmla="*/ 911217 h 911217"/>
                <a:gd name="connsiteX2" fmla="*/ 0 w 911446"/>
                <a:gd name="connsiteY2" fmla="*/ 455608 h 911217"/>
                <a:gd name="connsiteX3" fmla="*/ 455692 w 911446"/>
                <a:gd name="connsiteY3" fmla="*/ 0 h 911217"/>
                <a:gd name="connsiteX4" fmla="*/ 911447 w 911446"/>
                <a:gd name="connsiteY4" fmla="*/ 455608 h 911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446" h="911217">
                  <a:moveTo>
                    <a:pt x="911447" y="455608"/>
                  </a:moveTo>
                  <a:cubicBezTo>
                    <a:pt x="911447" y="707200"/>
                    <a:pt x="707428" y="911217"/>
                    <a:pt x="455692" y="911217"/>
                  </a:cubicBezTo>
                  <a:cubicBezTo>
                    <a:pt x="204019" y="911217"/>
                    <a:pt x="0" y="707263"/>
                    <a:pt x="0" y="455608"/>
                  </a:cubicBezTo>
                  <a:cubicBezTo>
                    <a:pt x="0" y="204017"/>
                    <a:pt x="204019" y="0"/>
                    <a:pt x="455692" y="0"/>
                  </a:cubicBezTo>
                  <a:cubicBezTo>
                    <a:pt x="707428" y="0"/>
                    <a:pt x="911447" y="204017"/>
                    <a:pt x="911447" y="455608"/>
                  </a:cubicBezTo>
                </a:path>
              </a:pathLst>
            </a:custGeom>
            <a:solidFill>
              <a:schemeClr val="accent1">
                <a:alpha val="40000"/>
              </a:schemeClr>
            </a:solidFill>
            <a:ln w="6331"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F97F35E-77B6-E483-AF88-887DA4170688}"/>
                </a:ext>
              </a:extLst>
            </p:cNvPr>
            <p:cNvSpPr/>
            <p:nvPr/>
          </p:nvSpPr>
          <p:spPr>
            <a:xfrm>
              <a:off x="5501882" y="4223180"/>
              <a:ext cx="1223225" cy="1066770"/>
            </a:xfrm>
            <a:custGeom>
              <a:avLst/>
              <a:gdLst>
                <a:gd name="connsiteX0" fmla="*/ 1019778 w 1223225"/>
                <a:gd name="connsiteY0" fmla="*/ 0 h 1066770"/>
                <a:gd name="connsiteX1" fmla="*/ 611613 w 1223225"/>
                <a:gd name="connsiteY1" fmla="*/ 117443 h 1066770"/>
                <a:gd name="connsiteX2" fmla="*/ 203447 w 1223225"/>
                <a:gd name="connsiteY2" fmla="*/ 0 h 1066770"/>
                <a:gd name="connsiteX3" fmla="*/ 0 w 1223225"/>
                <a:gd name="connsiteY3" fmla="*/ 455354 h 1066770"/>
                <a:gd name="connsiteX4" fmla="*/ 611613 w 1223225"/>
                <a:gd name="connsiteY4" fmla="*/ 1066771 h 1066770"/>
                <a:gd name="connsiteX5" fmla="*/ 1223226 w 1223225"/>
                <a:gd name="connsiteY5" fmla="*/ 455354 h 1066770"/>
                <a:gd name="connsiteX6" fmla="*/ 1019778 w 1223225"/>
                <a:gd name="connsiteY6" fmla="*/ 0 h 106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225" h="1066770">
                  <a:moveTo>
                    <a:pt x="1019778" y="0"/>
                  </a:moveTo>
                  <a:cubicBezTo>
                    <a:pt x="901535" y="74379"/>
                    <a:pt x="761625" y="117443"/>
                    <a:pt x="611613" y="117443"/>
                  </a:cubicBezTo>
                  <a:cubicBezTo>
                    <a:pt x="461601" y="117443"/>
                    <a:pt x="321691" y="74379"/>
                    <a:pt x="203447" y="0"/>
                  </a:cubicBezTo>
                  <a:cubicBezTo>
                    <a:pt x="78596" y="111917"/>
                    <a:pt x="0" y="274458"/>
                    <a:pt x="0" y="455354"/>
                  </a:cubicBezTo>
                  <a:cubicBezTo>
                    <a:pt x="0" y="793075"/>
                    <a:pt x="273847" y="1066771"/>
                    <a:pt x="611613" y="1066771"/>
                  </a:cubicBezTo>
                  <a:cubicBezTo>
                    <a:pt x="949379" y="1066771"/>
                    <a:pt x="1223226" y="793012"/>
                    <a:pt x="1223226" y="455354"/>
                  </a:cubicBezTo>
                  <a:cubicBezTo>
                    <a:pt x="1223226" y="274458"/>
                    <a:pt x="1144630" y="111917"/>
                    <a:pt x="1019778" y="0"/>
                  </a:cubicBezTo>
                  <a:close/>
                </a:path>
              </a:pathLst>
            </a:custGeom>
            <a:solidFill>
              <a:schemeClr val="accent1">
                <a:alpha val="55000"/>
              </a:schemeClr>
            </a:solidFill>
            <a:ln w="6331"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EA21706D-97E6-03C7-CCE5-68332C029C69}"/>
                </a:ext>
              </a:extLst>
            </p:cNvPr>
            <p:cNvSpPr/>
            <p:nvPr/>
          </p:nvSpPr>
          <p:spPr>
            <a:xfrm>
              <a:off x="5345961" y="3139895"/>
              <a:ext cx="1535068" cy="1200728"/>
            </a:xfrm>
            <a:custGeom>
              <a:avLst/>
              <a:gdLst>
                <a:gd name="connsiteX0" fmla="*/ 767534 w 1535068"/>
                <a:gd name="connsiteY0" fmla="*/ 251401 h 1200728"/>
                <a:gd name="connsiteX1" fmla="*/ 134191 w 1535068"/>
                <a:gd name="connsiteY1" fmla="*/ 0 h 1200728"/>
                <a:gd name="connsiteX2" fmla="*/ 0 w 1535068"/>
                <a:gd name="connsiteY2" fmla="*/ 433441 h 1200728"/>
                <a:gd name="connsiteX3" fmla="*/ 767534 w 1535068"/>
                <a:gd name="connsiteY3" fmla="*/ 1200728 h 1200728"/>
                <a:gd name="connsiteX4" fmla="*/ 1535068 w 1535068"/>
                <a:gd name="connsiteY4" fmla="*/ 433441 h 1200728"/>
                <a:gd name="connsiteX5" fmla="*/ 1400877 w 1535068"/>
                <a:gd name="connsiteY5" fmla="*/ 0 h 1200728"/>
                <a:gd name="connsiteX6" fmla="*/ 767534 w 1535068"/>
                <a:gd name="connsiteY6" fmla="*/ 251401 h 120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5068" h="1200728">
                  <a:moveTo>
                    <a:pt x="767534" y="251401"/>
                  </a:moveTo>
                  <a:cubicBezTo>
                    <a:pt x="522342" y="251401"/>
                    <a:pt x="299516" y="155871"/>
                    <a:pt x="134191" y="0"/>
                  </a:cubicBezTo>
                  <a:cubicBezTo>
                    <a:pt x="49559" y="123350"/>
                    <a:pt x="0" y="272616"/>
                    <a:pt x="0" y="433441"/>
                  </a:cubicBezTo>
                  <a:cubicBezTo>
                    <a:pt x="0" y="857228"/>
                    <a:pt x="343611" y="1200728"/>
                    <a:pt x="767534" y="1200728"/>
                  </a:cubicBezTo>
                  <a:cubicBezTo>
                    <a:pt x="1191393" y="1200728"/>
                    <a:pt x="1535068" y="857228"/>
                    <a:pt x="1535068" y="433441"/>
                  </a:cubicBezTo>
                  <a:cubicBezTo>
                    <a:pt x="1535068" y="272616"/>
                    <a:pt x="1485509" y="123350"/>
                    <a:pt x="1400877" y="0"/>
                  </a:cubicBezTo>
                  <a:cubicBezTo>
                    <a:pt x="1235552" y="155808"/>
                    <a:pt x="1012726" y="251401"/>
                    <a:pt x="767534" y="251401"/>
                  </a:cubicBezTo>
                  <a:close/>
                </a:path>
              </a:pathLst>
            </a:custGeom>
            <a:solidFill>
              <a:schemeClr val="accent1">
                <a:alpha val="70000"/>
              </a:schemeClr>
            </a:solidFill>
            <a:ln w="6331"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B6D79463-0855-7975-7156-D63DD9503265}"/>
                </a:ext>
              </a:extLst>
            </p:cNvPr>
            <p:cNvSpPr/>
            <p:nvPr/>
          </p:nvSpPr>
          <p:spPr>
            <a:xfrm>
              <a:off x="5190040" y="2056547"/>
              <a:ext cx="1846910" cy="1334749"/>
            </a:xfrm>
            <a:custGeom>
              <a:avLst/>
              <a:gdLst>
                <a:gd name="connsiteX0" fmla="*/ 923455 w 1846910"/>
                <a:gd name="connsiteY0" fmla="*/ 385422 h 1334749"/>
                <a:gd name="connsiteX1" fmla="*/ 96704 w 1846910"/>
                <a:gd name="connsiteY1" fmla="*/ 0 h 1334749"/>
                <a:gd name="connsiteX2" fmla="*/ 0 w 1846910"/>
                <a:gd name="connsiteY2" fmla="*/ 411591 h 1334749"/>
                <a:gd name="connsiteX3" fmla="*/ 923455 w 1846910"/>
                <a:gd name="connsiteY3" fmla="*/ 1334749 h 1334749"/>
                <a:gd name="connsiteX4" fmla="*/ 1846911 w 1846910"/>
                <a:gd name="connsiteY4" fmla="*/ 411591 h 1334749"/>
                <a:gd name="connsiteX5" fmla="*/ 1750206 w 1846910"/>
                <a:gd name="connsiteY5" fmla="*/ 0 h 1334749"/>
                <a:gd name="connsiteX6" fmla="*/ 923455 w 1846910"/>
                <a:gd name="connsiteY6" fmla="*/ 385422 h 133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6910" h="1334749">
                  <a:moveTo>
                    <a:pt x="923455" y="385422"/>
                  </a:moveTo>
                  <a:cubicBezTo>
                    <a:pt x="591535" y="385422"/>
                    <a:pt x="294687" y="235649"/>
                    <a:pt x="96704" y="0"/>
                  </a:cubicBezTo>
                  <a:cubicBezTo>
                    <a:pt x="34882" y="123922"/>
                    <a:pt x="0" y="263660"/>
                    <a:pt x="0" y="411591"/>
                  </a:cubicBezTo>
                  <a:cubicBezTo>
                    <a:pt x="0" y="921443"/>
                    <a:pt x="413439" y="1334749"/>
                    <a:pt x="923455" y="1334749"/>
                  </a:cubicBezTo>
                  <a:cubicBezTo>
                    <a:pt x="1433472" y="1334749"/>
                    <a:pt x="1846911" y="921443"/>
                    <a:pt x="1846911" y="411591"/>
                  </a:cubicBezTo>
                  <a:cubicBezTo>
                    <a:pt x="1846911" y="263660"/>
                    <a:pt x="1812029" y="123922"/>
                    <a:pt x="1750206" y="0"/>
                  </a:cubicBezTo>
                  <a:cubicBezTo>
                    <a:pt x="1552160" y="235649"/>
                    <a:pt x="1255312" y="385422"/>
                    <a:pt x="923455" y="385422"/>
                  </a:cubicBezTo>
                  <a:close/>
                </a:path>
              </a:pathLst>
            </a:custGeom>
            <a:solidFill>
              <a:schemeClr val="accent1">
                <a:alpha val="85000"/>
              </a:schemeClr>
            </a:solidFill>
            <a:ln w="6331"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0D96A2D3-012D-7F13-0D27-F55AA9C29969}"/>
                </a:ext>
              </a:extLst>
            </p:cNvPr>
            <p:cNvSpPr/>
            <p:nvPr/>
          </p:nvSpPr>
          <p:spPr>
            <a:xfrm>
              <a:off x="5034119" y="283974"/>
              <a:ext cx="2158689" cy="2158058"/>
            </a:xfrm>
            <a:custGeom>
              <a:avLst/>
              <a:gdLst>
                <a:gd name="connsiteX0" fmla="*/ 2158690 w 2158689"/>
                <a:gd name="connsiteY0" fmla="*/ 1079029 h 2158058"/>
                <a:gd name="connsiteX1" fmla="*/ 1079313 w 2158689"/>
                <a:gd name="connsiteY1" fmla="*/ 2158059 h 2158058"/>
                <a:gd name="connsiteX2" fmla="*/ 0 w 2158689"/>
                <a:gd name="connsiteY2" fmla="*/ 1079029 h 2158058"/>
                <a:gd name="connsiteX3" fmla="*/ 1079377 w 2158689"/>
                <a:gd name="connsiteY3" fmla="*/ 0 h 2158058"/>
                <a:gd name="connsiteX4" fmla="*/ 2158690 w 2158689"/>
                <a:gd name="connsiteY4" fmla="*/ 1079029 h 2158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8689" h="2158058">
                  <a:moveTo>
                    <a:pt x="2158690" y="1079029"/>
                  </a:moveTo>
                  <a:cubicBezTo>
                    <a:pt x="2158690" y="1674947"/>
                    <a:pt x="1675423" y="2158059"/>
                    <a:pt x="1079313" y="2158059"/>
                  </a:cubicBezTo>
                  <a:cubicBezTo>
                    <a:pt x="483267" y="2157995"/>
                    <a:pt x="0" y="1674947"/>
                    <a:pt x="0" y="1079029"/>
                  </a:cubicBezTo>
                  <a:cubicBezTo>
                    <a:pt x="0" y="483111"/>
                    <a:pt x="483267" y="0"/>
                    <a:pt x="1079377" y="0"/>
                  </a:cubicBezTo>
                  <a:cubicBezTo>
                    <a:pt x="1675486" y="0"/>
                    <a:pt x="2158690" y="483111"/>
                    <a:pt x="2158690" y="1079029"/>
                  </a:cubicBezTo>
                </a:path>
              </a:pathLst>
            </a:custGeom>
            <a:solidFill>
              <a:schemeClr val="accent1"/>
            </a:solidFill>
            <a:ln w="6331"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53CCD90-B422-ED54-6300-A2E0F1A857F8}"/>
                </a:ext>
              </a:extLst>
            </p:cNvPr>
            <p:cNvSpPr/>
            <p:nvPr/>
          </p:nvSpPr>
          <p:spPr>
            <a:xfrm>
              <a:off x="5815440" y="6589130"/>
              <a:ext cx="596109" cy="267280"/>
            </a:xfrm>
            <a:custGeom>
              <a:avLst/>
              <a:gdLst>
                <a:gd name="connsiteX0" fmla="*/ 0 w 596109"/>
                <a:gd name="connsiteY0" fmla="*/ 267280 h 267280"/>
                <a:gd name="connsiteX1" fmla="*/ 596110 w 596109"/>
                <a:gd name="connsiteY1" fmla="*/ 267280 h 267280"/>
                <a:gd name="connsiteX2" fmla="*/ 298055 w 596109"/>
                <a:gd name="connsiteY2" fmla="*/ 0 h 267280"/>
                <a:gd name="connsiteX3" fmla="*/ 0 w 596109"/>
                <a:gd name="connsiteY3" fmla="*/ 267280 h 267280"/>
              </a:gdLst>
              <a:ahLst/>
              <a:cxnLst>
                <a:cxn ang="0">
                  <a:pos x="connsiteX0" y="connsiteY0"/>
                </a:cxn>
                <a:cxn ang="0">
                  <a:pos x="connsiteX1" y="connsiteY1"/>
                </a:cxn>
                <a:cxn ang="0">
                  <a:pos x="connsiteX2" y="connsiteY2"/>
                </a:cxn>
                <a:cxn ang="0">
                  <a:pos x="connsiteX3" y="connsiteY3"/>
                </a:cxn>
              </a:cxnLst>
              <a:rect l="l" t="t" r="r" b="b"/>
              <a:pathLst>
                <a:path w="596109" h="267280">
                  <a:moveTo>
                    <a:pt x="0" y="267280"/>
                  </a:moveTo>
                  <a:lnTo>
                    <a:pt x="596110" y="267280"/>
                  </a:lnTo>
                  <a:cubicBezTo>
                    <a:pt x="579908" y="116999"/>
                    <a:pt x="452705" y="0"/>
                    <a:pt x="298055" y="0"/>
                  </a:cubicBezTo>
                  <a:cubicBezTo>
                    <a:pt x="143404" y="0"/>
                    <a:pt x="16139" y="116999"/>
                    <a:pt x="0" y="267280"/>
                  </a:cubicBezTo>
                  <a:close/>
                </a:path>
              </a:pathLst>
            </a:custGeom>
            <a:solidFill>
              <a:schemeClr val="accent1">
                <a:alpha val="25000"/>
              </a:schemeClr>
            </a:solidFill>
            <a:ln w="6331"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D895EEE8-FF85-7216-E1D3-A064CC954F9F}"/>
              </a:ext>
            </a:extLst>
          </p:cNvPr>
          <p:cNvSpPr>
            <a:spLocks noGrp="1"/>
          </p:cNvSpPr>
          <p:nvPr>
            <p:ph type="ctrTitle"/>
          </p:nvPr>
        </p:nvSpPr>
        <p:spPr>
          <a:xfrm>
            <a:off x="267097" y="1268414"/>
            <a:ext cx="8420284" cy="3285700"/>
          </a:xfrm>
        </p:spPr>
        <p:txBody>
          <a:bodyPr anchor="b" anchorCtr="0"/>
          <a:lstStyle>
            <a:lvl1pPr algn="l">
              <a:lnSpc>
                <a:spcPct val="62000"/>
              </a:lnSpc>
              <a:defRPr sz="8800" b="0" i="0" cap="all" baseline="0">
                <a:solidFill>
                  <a:schemeClr val="tx1"/>
                </a:solidFill>
                <a:latin typeface="Aptos Black" panose="020B0004020202020204" pitchFamily="34" charset="0"/>
              </a:defRPr>
            </a:lvl1pPr>
          </a:lstStyle>
          <a:p>
            <a:r>
              <a:rPr lang="en-US"/>
              <a:t>Click to edit Master title style</a:t>
            </a:r>
          </a:p>
        </p:txBody>
      </p:sp>
      <p:sp>
        <p:nvSpPr>
          <p:cNvPr id="14" name="Graphic 11">
            <a:extLst>
              <a:ext uri="{FF2B5EF4-FFF2-40B4-BE49-F238E27FC236}">
                <a16:creationId xmlns:a16="http://schemas.microsoft.com/office/drawing/2014/main" id="{83D02543-3DAC-3F99-23B0-72212C55E25E}"/>
              </a:ext>
            </a:extLst>
          </p:cNvPr>
          <p:cNvSpPr/>
          <p:nvPr/>
        </p:nvSpPr>
        <p:spPr>
          <a:xfrm>
            <a:off x="334963" y="382312"/>
            <a:ext cx="1094377" cy="450106"/>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p>
        </p:txBody>
      </p:sp>
      <p:sp>
        <p:nvSpPr>
          <p:cNvPr id="89" name="Freeform 88">
            <a:extLst>
              <a:ext uri="{FF2B5EF4-FFF2-40B4-BE49-F238E27FC236}">
                <a16:creationId xmlns:a16="http://schemas.microsoft.com/office/drawing/2014/main" id="{1448C075-E8DC-10C4-6F56-3623A5990B8E}"/>
              </a:ext>
            </a:extLst>
          </p:cNvPr>
          <p:cNvSpPr/>
          <p:nvPr/>
        </p:nvSpPr>
        <p:spPr>
          <a:xfrm>
            <a:off x="10941742" y="227296"/>
            <a:ext cx="915296" cy="907821"/>
          </a:xfrm>
          <a:custGeom>
            <a:avLst/>
            <a:gdLst>
              <a:gd name="connsiteX0" fmla="*/ 3825502 w 4803292"/>
              <a:gd name="connsiteY0" fmla="*/ 4632114 h 4764066"/>
              <a:gd name="connsiteX1" fmla="*/ 3891547 w 4803292"/>
              <a:gd name="connsiteY1" fmla="*/ 4698050 h 4764066"/>
              <a:gd name="connsiteX2" fmla="*/ 3825502 w 4803292"/>
              <a:gd name="connsiteY2" fmla="*/ 4764066 h 4764066"/>
              <a:gd name="connsiteX3" fmla="*/ 3759537 w 4803292"/>
              <a:gd name="connsiteY3" fmla="*/ 4698050 h 4764066"/>
              <a:gd name="connsiteX4" fmla="*/ 3825502 w 4803292"/>
              <a:gd name="connsiteY4" fmla="*/ 4632114 h 4764066"/>
              <a:gd name="connsiteX5" fmla="*/ 3925010 w 4803292"/>
              <a:gd name="connsiteY5" fmla="*/ 4414517 h 4764066"/>
              <a:gd name="connsiteX6" fmla="*/ 3990895 w 4803292"/>
              <a:gd name="connsiteY6" fmla="*/ 4480453 h 4764066"/>
              <a:gd name="connsiteX7" fmla="*/ 3925010 w 4803292"/>
              <a:gd name="connsiteY7" fmla="*/ 4546710 h 4764066"/>
              <a:gd name="connsiteX8" fmla="*/ 3858965 w 4803292"/>
              <a:gd name="connsiteY8" fmla="*/ 4480453 h 4764066"/>
              <a:gd name="connsiteX9" fmla="*/ 3925010 w 4803292"/>
              <a:gd name="connsiteY9" fmla="*/ 4414517 h 4764066"/>
              <a:gd name="connsiteX10" fmla="*/ 3661709 w 4803292"/>
              <a:gd name="connsiteY10" fmla="*/ 4414517 h 4764066"/>
              <a:gd name="connsiteX11" fmla="*/ 3727595 w 4803292"/>
              <a:gd name="connsiteY11" fmla="*/ 4480453 h 4764066"/>
              <a:gd name="connsiteX12" fmla="*/ 3661709 w 4803292"/>
              <a:gd name="connsiteY12" fmla="*/ 4546710 h 4764066"/>
              <a:gd name="connsiteX13" fmla="*/ 3595664 w 4803292"/>
              <a:gd name="connsiteY13" fmla="*/ 4480453 h 4764066"/>
              <a:gd name="connsiteX14" fmla="*/ 3661709 w 4803292"/>
              <a:gd name="connsiteY14" fmla="*/ 4414517 h 4764066"/>
              <a:gd name="connsiteX15" fmla="*/ 3982170 w 4803292"/>
              <a:gd name="connsiteY15" fmla="*/ 3933336 h 4764066"/>
              <a:gd name="connsiteX16" fmla="*/ 4048055 w 4803292"/>
              <a:gd name="connsiteY16" fmla="*/ 3999352 h 4764066"/>
              <a:gd name="connsiteX17" fmla="*/ 3982170 w 4803292"/>
              <a:gd name="connsiteY17" fmla="*/ 4065288 h 4764066"/>
              <a:gd name="connsiteX18" fmla="*/ 3915964 w 4803292"/>
              <a:gd name="connsiteY18" fmla="*/ 3999352 h 4764066"/>
              <a:gd name="connsiteX19" fmla="*/ 3982170 w 4803292"/>
              <a:gd name="connsiteY19" fmla="*/ 3933336 h 4764066"/>
              <a:gd name="connsiteX20" fmla="*/ 3471579 w 4803292"/>
              <a:gd name="connsiteY20" fmla="*/ 3904333 h 4764066"/>
              <a:gd name="connsiteX21" fmla="*/ 3560680 w 4803292"/>
              <a:gd name="connsiteY21" fmla="*/ 3993503 h 4764066"/>
              <a:gd name="connsiteX22" fmla="*/ 3471579 w 4803292"/>
              <a:gd name="connsiteY22" fmla="*/ 4082753 h 4764066"/>
              <a:gd name="connsiteX23" fmla="*/ 3382558 w 4803292"/>
              <a:gd name="connsiteY23" fmla="*/ 3993503 h 4764066"/>
              <a:gd name="connsiteX24" fmla="*/ 3471579 w 4803292"/>
              <a:gd name="connsiteY24" fmla="*/ 3904333 h 4764066"/>
              <a:gd name="connsiteX25" fmla="*/ 3793560 w 4803292"/>
              <a:gd name="connsiteY25" fmla="*/ 3678564 h 4764066"/>
              <a:gd name="connsiteX26" fmla="*/ 3882661 w 4803292"/>
              <a:gd name="connsiteY26" fmla="*/ 3767975 h 4764066"/>
              <a:gd name="connsiteX27" fmla="*/ 3793560 w 4803292"/>
              <a:gd name="connsiteY27" fmla="*/ 3857145 h 4764066"/>
              <a:gd name="connsiteX28" fmla="*/ 3704379 w 4803292"/>
              <a:gd name="connsiteY28" fmla="*/ 3767975 h 4764066"/>
              <a:gd name="connsiteX29" fmla="*/ 3793560 w 4803292"/>
              <a:gd name="connsiteY29" fmla="*/ 3678564 h 4764066"/>
              <a:gd name="connsiteX30" fmla="*/ 4302789 w 4803292"/>
              <a:gd name="connsiteY30" fmla="*/ 3612387 h 4764066"/>
              <a:gd name="connsiteX31" fmla="*/ 4368674 w 4803292"/>
              <a:gd name="connsiteY31" fmla="*/ 3678323 h 4764066"/>
              <a:gd name="connsiteX32" fmla="*/ 4302789 w 4803292"/>
              <a:gd name="connsiteY32" fmla="*/ 3744580 h 4764066"/>
              <a:gd name="connsiteX33" fmla="*/ 4236744 w 4803292"/>
              <a:gd name="connsiteY33" fmla="*/ 3678323 h 4764066"/>
              <a:gd name="connsiteX34" fmla="*/ 4302789 w 4803292"/>
              <a:gd name="connsiteY34" fmla="*/ 3612387 h 4764066"/>
              <a:gd name="connsiteX35" fmla="*/ 3298021 w 4803292"/>
              <a:gd name="connsiteY35" fmla="*/ 3579620 h 4764066"/>
              <a:gd name="connsiteX36" fmla="*/ 3411218 w 4803292"/>
              <a:gd name="connsiteY36" fmla="*/ 3692745 h 4764066"/>
              <a:gd name="connsiteX37" fmla="*/ 3298021 w 4803292"/>
              <a:gd name="connsiteY37" fmla="*/ 3806190 h 4764066"/>
              <a:gd name="connsiteX38" fmla="*/ 3184823 w 4803292"/>
              <a:gd name="connsiteY38" fmla="*/ 3692745 h 4764066"/>
              <a:gd name="connsiteX39" fmla="*/ 3298021 w 4803292"/>
              <a:gd name="connsiteY39" fmla="*/ 3579620 h 4764066"/>
              <a:gd name="connsiteX40" fmla="*/ 4071430 w 4803292"/>
              <a:gd name="connsiteY40" fmla="*/ 3400478 h 4764066"/>
              <a:gd name="connsiteX41" fmla="*/ 4160611 w 4803292"/>
              <a:gd name="connsiteY41" fmla="*/ 3489648 h 4764066"/>
              <a:gd name="connsiteX42" fmla="*/ 4071430 w 4803292"/>
              <a:gd name="connsiteY42" fmla="*/ 3578898 h 4764066"/>
              <a:gd name="connsiteX43" fmla="*/ 3982249 w 4803292"/>
              <a:gd name="connsiteY43" fmla="*/ 3489648 h 4764066"/>
              <a:gd name="connsiteX44" fmla="*/ 4071430 w 4803292"/>
              <a:gd name="connsiteY44" fmla="*/ 3400478 h 4764066"/>
              <a:gd name="connsiteX45" fmla="*/ 616663 w 4803292"/>
              <a:gd name="connsiteY45" fmla="*/ 3400318 h 4764066"/>
              <a:gd name="connsiteX46" fmla="*/ 705844 w 4803292"/>
              <a:gd name="connsiteY46" fmla="*/ 3489568 h 4764066"/>
              <a:gd name="connsiteX47" fmla="*/ 616663 w 4803292"/>
              <a:gd name="connsiteY47" fmla="*/ 3578738 h 4764066"/>
              <a:gd name="connsiteX48" fmla="*/ 527482 w 4803292"/>
              <a:gd name="connsiteY48" fmla="*/ 3489568 h 4764066"/>
              <a:gd name="connsiteX49" fmla="*/ 616663 w 4803292"/>
              <a:gd name="connsiteY49" fmla="*/ 3400318 h 4764066"/>
              <a:gd name="connsiteX50" fmla="*/ 3570447 w 4803292"/>
              <a:gd name="connsiteY50" fmla="*/ 3388461 h 4764066"/>
              <a:gd name="connsiteX51" fmla="*/ 3683805 w 4803292"/>
              <a:gd name="connsiteY51" fmla="*/ 3501906 h 4764066"/>
              <a:gd name="connsiteX52" fmla="*/ 3570447 w 4803292"/>
              <a:gd name="connsiteY52" fmla="*/ 3615192 h 4764066"/>
              <a:gd name="connsiteX53" fmla="*/ 3457410 w 4803292"/>
              <a:gd name="connsiteY53" fmla="*/ 3501906 h 4764066"/>
              <a:gd name="connsiteX54" fmla="*/ 3570447 w 4803292"/>
              <a:gd name="connsiteY54" fmla="*/ 3388461 h 4764066"/>
              <a:gd name="connsiteX55" fmla="*/ 2878053 w 4803292"/>
              <a:gd name="connsiteY55" fmla="*/ 3376042 h 4764066"/>
              <a:gd name="connsiteX56" fmla="*/ 3009023 w 4803292"/>
              <a:gd name="connsiteY56" fmla="*/ 3507194 h 4764066"/>
              <a:gd name="connsiteX57" fmla="*/ 2878053 w 4803292"/>
              <a:gd name="connsiteY57" fmla="*/ 3638345 h 4764066"/>
              <a:gd name="connsiteX58" fmla="*/ 2746843 w 4803292"/>
              <a:gd name="connsiteY58" fmla="*/ 3507194 h 4764066"/>
              <a:gd name="connsiteX59" fmla="*/ 2878053 w 4803292"/>
              <a:gd name="connsiteY59" fmla="*/ 3376042 h 4764066"/>
              <a:gd name="connsiteX60" fmla="*/ 3124542 w 4803292"/>
              <a:gd name="connsiteY60" fmla="*/ 3260995 h 4764066"/>
              <a:gd name="connsiteX61" fmla="*/ 3255752 w 4803292"/>
              <a:gd name="connsiteY61" fmla="*/ 3392146 h 4764066"/>
              <a:gd name="connsiteX62" fmla="*/ 3124542 w 4803292"/>
              <a:gd name="connsiteY62" fmla="*/ 3523297 h 4764066"/>
              <a:gd name="connsiteX63" fmla="*/ 2993572 w 4803292"/>
              <a:gd name="connsiteY63" fmla="*/ 3392146 h 4764066"/>
              <a:gd name="connsiteX64" fmla="*/ 3124542 w 4803292"/>
              <a:gd name="connsiteY64" fmla="*/ 3260995 h 4764066"/>
              <a:gd name="connsiteX65" fmla="*/ 4562807 w 4803292"/>
              <a:gd name="connsiteY65" fmla="*/ 3240485 h 4764066"/>
              <a:gd name="connsiteX66" fmla="*/ 4628852 w 4803292"/>
              <a:gd name="connsiteY66" fmla="*/ 3306421 h 4764066"/>
              <a:gd name="connsiteX67" fmla="*/ 4562807 w 4803292"/>
              <a:gd name="connsiteY67" fmla="*/ 3372678 h 4764066"/>
              <a:gd name="connsiteX68" fmla="*/ 4496922 w 4803292"/>
              <a:gd name="connsiteY68" fmla="*/ 3306421 h 4764066"/>
              <a:gd name="connsiteX69" fmla="*/ 4562807 w 4803292"/>
              <a:gd name="connsiteY69" fmla="*/ 3240485 h 4764066"/>
              <a:gd name="connsiteX70" fmla="*/ 3805568 w 4803292"/>
              <a:gd name="connsiteY70" fmla="*/ 3153318 h 4764066"/>
              <a:gd name="connsiteX71" fmla="*/ 3918926 w 4803292"/>
              <a:gd name="connsiteY71" fmla="*/ 3266443 h 4764066"/>
              <a:gd name="connsiteX72" fmla="*/ 3805568 w 4803292"/>
              <a:gd name="connsiteY72" fmla="*/ 3379889 h 4764066"/>
              <a:gd name="connsiteX73" fmla="*/ 3692531 w 4803292"/>
              <a:gd name="connsiteY73" fmla="*/ 3266443 h 4764066"/>
              <a:gd name="connsiteX74" fmla="*/ 3805568 w 4803292"/>
              <a:gd name="connsiteY74" fmla="*/ 3153318 h 4764066"/>
              <a:gd name="connsiteX75" fmla="*/ 882365 w 4803292"/>
              <a:gd name="connsiteY75" fmla="*/ 3152997 h 4764066"/>
              <a:gd name="connsiteX76" fmla="*/ 995722 w 4803292"/>
              <a:gd name="connsiteY76" fmla="*/ 3266442 h 4764066"/>
              <a:gd name="connsiteX77" fmla="*/ 882365 w 4803292"/>
              <a:gd name="connsiteY77" fmla="*/ 3379728 h 4764066"/>
              <a:gd name="connsiteX78" fmla="*/ 769327 w 4803292"/>
              <a:gd name="connsiteY78" fmla="*/ 3266442 h 4764066"/>
              <a:gd name="connsiteX79" fmla="*/ 882365 w 4803292"/>
              <a:gd name="connsiteY79" fmla="*/ 3152997 h 4764066"/>
              <a:gd name="connsiteX80" fmla="*/ 3347574 w 4803292"/>
              <a:gd name="connsiteY80" fmla="*/ 3104847 h 4764066"/>
              <a:gd name="connsiteX81" fmla="*/ 3478544 w 4803292"/>
              <a:gd name="connsiteY81" fmla="*/ 3235998 h 4764066"/>
              <a:gd name="connsiteX82" fmla="*/ 3347574 w 4803292"/>
              <a:gd name="connsiteY82" fmla="*/ 3367069 h 4764066"/>
              <a:gd name="connsiteX83" fmla="*/ 3216364 w 4803292"/>
              <a:gd name="connsiteY83" fmla="*/ 3235998 h 4764066"/>
              <a:gd name="connsiteX84" fmla="*/ 3347574 w 4803292"/>
              <a:gd name="connsiteY84" fmla="*/ 3104847 h 4764066"/>
              <a:gd name="connsiteX85" fmla="*/ 1340279 w 4803292"/>
              <a:gd name="connsiteY85" fmla="*/ 3104687 h 4764066"/>
              <a:gd name="connsiteX86" fmla="*/ 1471329 w 4803292"/>
              <a:gd name="connsiteY86" fmla="*/ 3235838 h 4764066"/>
              <a:gd name="connsiteX87" fmla="*/ 1340279 w 4803292"/>
              <a:gd name="connsiteY87" fmla="*/ 3366910 h 4764066"/>
              <a:gd name="connsiteX88" fmla="*/ 1209229 w 4803292"/>
              <a:gd name="connsiteY88" fmla="*/ 3235838 h 4764066"/>
              <a:gd name="connsiteX89" fmla="*/ 1340279 w 4803292"/>
              <a:gd name="connsiteY89" fmla="*/ 3104687 h 4764066"/>
              <a:gd name="connsiteX90" fmla="*/ 4296945 w 4803292"/>
              <a:gd name="connsiteY90" fmla="*/ 3078329 h 4764066"/>
              <a:gd name="connsiteX91" fmla="*/ 4386046 w 4803292"/>
              <a:gd name="connsiteY91" fmla="*/ 3167499 h 4764066"/>
              <a:gd name="connsiteX92" fmla="*/ 4296945 w 4803292"/>
              <a:gd name="connsiteY92" fmla="*/ 3256669 h 4764066"/>
              <a:gd name="connsiteX93" fmla="*/ 4207924 w 4803292"/>
              <a:gd name="connsiteY93" fmla="*/ 3167499 h 4764066"/>
              <a:gd name="connsiteX94" fmla="*/ 4296945 w 4803292"/>
              <a:gd name="connsiteY94" fmla="*/ 3078329 h 4764066"/>
              <a:gd name="connsiteX95" fmla="*/ 391148 w 4803292"/>
              <a:gd name="connsiteY95" fmla="*/ 3078168 h 4764066"/>
              <a:gd name="connsiteX96" fmla="*/ 480329 w 4803292"/>
              <a:gd name="connsiteY96" fmla="*/ 3167258 h 4764066"/>
              <a:gd name="connsiteX97" fmla="*/ 391148 w 4803292"/>
              <a:gd name="connsiteY97" fmla="*/ 3256508 h 4764066"/>
              <a:gd name="connsiteX98" fmla="*/ 302127 w 4803292"/>
              <a:gd name="connsiteY98" fmla="*/ 3167258 h 4764066"/>
              <a:gd name="connsiteX99" fmla="*/ 391148 w 4803292"/>
              <a:gd name="connsiteY99" fmla="*/ 3078168 h 4764066"/>
              <a:gd name="connsiteX100" fmla="*/ 1148227 w 4803292"/>
              <a:gd name="connsiteY100" fmla="*/ 2912647 h 4764066"/>
              <a:gd name="connsiteX101" fmla="*/ 1279437 w 4803292"/>
              <a:gd name="connsiteY101" fmla="*/ 3043798 h 4764066"/>
              <a:gd name="connsiteX102" fmla="*/ 1148227 w 4803292"/>
              <a:gd name="connsiteY102" fmla="*/ 3174869 h 4764066"/>
              <a:gd name="connsiteX103" fmla="*/ 1017257 w 4803292"/>
              <a:gd name="connsiteY103" fmla="*/ 3043798 h 4764066"/>
              <a:gd name="connsiteX104" fmla="*/ 1148227 w 4803292"/>
              <a:gd name="connsiteY104" fmla="*/ 2912647 h 4764066"/>
              <a:gd name="connsiteX105" fmla="*/ 3540026 w 4803292"/>
              <a:gd name="connsiteY105" fmla="*/ 2912086 h 4764066"/>
              <a:gd name="connsiteX106" fmla="*/ 3670996 w 4803292"/>
              <a:gd name="connsiteY106" fmla="*/ 3043237 h 4764066"/>
              <a:gd name="connsiteX107" fmla="*/ 3540026 w 4803292"/>
              <a:gd name="connsiteY107" fmla="*/ 3174388 h 4764066"/>
              <a:gd name="connsiteX108" fmla="*/ 3408816 w 4803292"/>
              <a:gd name="connsiteY108" fmla="*/ 3043237 h 4764066"/>
              <a:gd name="connsiteX109" fmla="*/ 3540026 w 4803292"/>
              <a:gd name="connsiteY109" fmla="*/ 2912086 h 4764066"/>
              <a:gd name="connsiteX110" fmla="*/ 3996499 w 4803292"/>
              <a:gd name="connsiteY110" fmla="*/ 2880680 h 4764066"/>
              <a:gd name="connsiteX111" fmla="*/ 4109696 w 4803292"/>
              <a:gd name="connsiteY111" fmla="*/ 2993805 h 4764066"/>
              <a:gd name="connsiteX112" fmla="*/ 3996499 w 4803292"/>
              <a:gd name="connsiteY112" fmla="*/ 3107250 h 4764066"/>
              <a:gd name="connsiteX113" fmla="*/ 3883301 w 4803292"/>
              <a:gd name="connsiteY113" fmla="*/ 2993805 h 4764066"/>
              <a:gd name="connsiteX114" fmla="*/ 3996499 w 4803292"/>
              <a:gd name="connsiteY114" fmla="*/ 2880680 h 4764066"/>
              <a:gd name="connsiteX115" fmla="*/ 691675 w 4803292"/>
              <a:gd name="connsiteY115" fmla="*/ 2880600 h 4764066"/>
              <a:gd name="connsiteX116" fmla="*/ 804872 w 4803292"/>
              <a:gd name="connsiteY116" fmla="*/ 2993885 h 4764066"/>
              <a:gd name="connsiteX117" fmla="*/ 691675 w 4803292"/>
              <a:gd name="connsiteY117" fmla="*/ 3107170 h 4764066"/>
              <a:gd name="connsiteX118" fmla="*/ 578477 w 4803292"/>
              <a:gd name="connsiteY118" fmla="*/ 2993885 h 4764066"/>
              <a:gd name="connsiteX119" fmla="*/ 691675 w 4803292"/>
              <a:gd name="connsiteY119" fmla="*/ 2880600 h 4764066"/>
              <a:gd name="connsiteX120" fmla="*/ 4737247 w 4803292"/>
              <a:gd name="connsiteY120" fmla="*/ 2846390 h 4764066"/>
              <a:gd name="connsiteX121" fmla="*/ 4803292 w 4803292"/>
              <a:gd name="connsiteY121" fmla="*/ 2912326 h 4764066"/>
              <a:gd name="connsiteX122" fmla="*/ 4737247 w 4803292"/>
              <a:gd name="connsiteY122" fmla="*/ 2978583 h 4764066"/>
              <a:gd name="connsiteX123" fmla="*/ 4671282 w 4803292"/>
              <a:gd name="connsiteY123" fmla="*/ 2912326 h 4764066"/>
              <a:gd name="connsiteX124" fmla="*/ 4737247 w 4803292"/>
              <a:gd name="connsiteY124" fmla="*/ 2846390 h 4764066"/>
              <a:gd name="connsiteX125" fmla="*/ 4463140 w 4803292"/>
              <a:gd name="connsiteY125" fmla="*/ 2721728 h 4764066"/>
              <a:gd name="connsiteX126" fmla="*/ 4552160 w 4803292"/>
              <a:gd name="connsiteY126" fmla="*/ 2810898 h 4764066"/>
              <a:gd name="connsiteX127" fmla="*/ 4463140 w 4803292"/>
              <a:gd name="connsiteY127" fmla="*/ 2900068 h 4764066"/>
              <a:gd name="connsiteX128" fmla="*/ 4373798 w 4803292"/>
              <a:gd name="connsiteY128" fmla="*/ 2810898 h 4764066"/>
              <a:gd name="connsiteX129" fmla="*/ 4463140 w 4803292"/>
              <a:gd name="connsiteY129" fmla="*/ 2721728 h 4764066"/>
              <a:gd name="connsiteX130" fmla="*/ 225114 w 4803292"/>
              <a:gd name="connsiteY130" fmla="*/ 2721728 h 4764066"/>
              <a:gd name="connsiteX131" fmla="*/ 314215 w 4803292"/>
              <a:gd name="connsiteY131" fmla="*/ 2810898 h 4764066"/>
              <a:gd name="connsiteX132" fmla="*/ 225114 w 4803292"/>
              <a:gd name="connsiteY132" fmla="*/ 2900068 h 4764066"/>
              <a:gd name="connsiteX133" fmla="*/ 135933 w 4803292"/>
              <a:gd name="connsiteY133" fmla="*/ 2810898 h 4764066"/>
              <a:gd name="connsiteX134" fmla="*/ 225114 w 4803292"/>
              <a:gd name="connsiteY134" fmla="*/ 2721728 h 4764066"/>
              <a:gd name="connsiteX135" fmla="*/ 3695973 w 4803292"/>
              <a:gd name="connsiteY135" fmla="*/ 2689041 h 4764066"/>
              <a:gd name="connsiteX136" fmla="*/ 3827023 w 4803292"/>
              <a:gd name="connsiteY136" fmla="*/ 2820192 h 4764066"/>
              <a:gd name="connsiteX137" fmla="*/ 3695973 w 4803292"/>
              <a:gd name="connsiteY137" fmla="*/ 2951263 h 4764066"/>
              <a:gd name="connsiteX138" fmla="*/ 3564923 w 4803292"/>
              <a:gd name="connsiteY138" fmla="*/ 2820192 h 4764066"/>
              <a:gd name="connsiteX139" fmla="*/ 3695973 w 4803292"/>
              <a:gd name="connsiteY139" fmla="*/ 2689041 h 4764066"/>
              <a:gd name="connsiteX140" fmla="*/ 992200 w 4803292"/>
              <a:gd name="connsiteY140" fmla="*/ 2689041 h 4764066"/>
              <a:gd name="connsiteX141" fmla="*/ 1123170 w 4803292"/>
              <a:gd name="connsiteY141" fmla="*/ 2820192 h 4764066"/>
              <a:gd name="connsiteX142" fmla="*/ 992200 w 4803292"/>
              <a:gd name="connsiteY142" fmla="*/ 2951264 h 4764066"/>
              <a:gd name="connsiteX143" fmla="*/ 860990 w 4803292"/>
              <a:gd name="connsiteY143" fmla="*/ 2820192 h 4764066"/>
              <a:gd name="connsiteX144" fmla="*/ 992200 w 4803292"/>
              <a:gd name="connsiteY144" fmla="*/ 2689041 h 4764066"/>
              <a:gd name="connsiteX145" fmla="*/ 4137075 w 4803292"/>
              <a:gd name="connsiteY145" fmla="*/ 2579040 h 4764066"/>
              <a:gd name="connsiteX146" fmla="*/ 4250113 w 4803292"/>
              <a:gd name="connsiteY146" fmla="*/ 2692165 h 4764066"/>
              <a:gd name="connsiteX147" fmla="*/ 4137075 w 4803292"/>
              <a:gd name="connsiteY147" fmla="*/ 2805450 h 4764066"/>
              <a:gd name="connsiteX148" fmla="*/ 4023718 w 4803292"/>
              <a:gd name="connsiteY148" fmla="*/ 2692165 h 4764066"/>
              <a:gd name="connsiteX149" fmla="*/ 4137075 w 4803292"/>
              <a:gd name="connsiteY149" fmla="*/ 2579040 h 4764066"/>
              <a:gd name="connsiteX150" fmla="*/ 551018 w 4803292"/>
              <a:gd name="connsiteY150" fmla="*/ 2578880 h 4764066"/>
              <a:gd name="connsiteX151" fmla="*/ 664375 w 4803292"/>
              <a:gd name="connsiteY151" fmla="*/ 2692005 h 4764066"/>
              <a:gd name="connsiteX152" fmla="*/ 551018 w 4803292"/>
              <a:gd name="connsiteY152" fmla="*/ 2805450 h 4764066"/>
              <a:gd name="connsiteX153" fmla="*/ 437980 w 4803292"/>
              <a:gd name="connsiteY153" fmla="*/ 2692005 h 4764066"/>
              <a:gd name="connsiteX154" fmla="*/ 551018 w 4803292"/>
              <a:gd name="connsiteY154" fmla="*/ 2578880 h 4764066"/>
              <a:gd name="connsiteX155" fmla="*/ 3811092 w 4803292"/>
              <a:gd name="connsiteY155" fmla="*/ 2442281 h 4764066"/>
              <a:gd name="connsiteX156" fmla="*/ 3942062 w 4803292"/>
              <a:gd name="connsiteY156" fmla="*/ 2573432 h 4764066"/>
              <a:gd name="connsiteX157" fmla="*/ 3811092 w 4803292"/>
              <a:gd name="connsiteY157" fmla="*/ 2704583 h 4764066"/>
              <a:gd name="connsiteX158" fmla="*/ 3679882 w 4803292"/>
              <a:gd name="connsiteY158" fmla="*/ 2573432 h 4764066"/>
              <a:gd name="connsiteX159" fmla="*/ 3811092 w 4803292"/>
              <a:gd name="connsiteY159" fmla="*/ 2442281 h 4764066"/>
              <a:gd name="connsiteX160" fmla="*/ 877161 w 4803292"/>
              <a:gd name="connsiteY160" fmla="*/ 2442201 h 4764066"/>
              <a:gd name="connsiteX161" fmla="*/ 1008211 w 4803292"/>
              <a:gd name="connsiteY161" fmla="*/ 2573352 h 4764066"/>
              <a:gd name="connsiteX162" fmla="*/ 877161 w 4803292"/>
              <a:gd name="connsiteY162" fmla="*/ 2704503 h 4764066"/>
              <a:gd name="connsiteX163" fmla="*/ 745951 w 4803292"/>
              <a:gd name="connsiteY163" fmla="*/ 2573352 h 4764066"/>
              <a:gd name="connsiteX164" fmla="*/ 877161 w 4803292"/>
              <a:gd name="connsiteY164" fmla="*/ 2442201 h 4764066"/>
              <a:gd name="connsiteX165" fmla="*/ 4564809 w 4803292"/>
              <a:gd name="connsiteY165" fmla="*/ 2341975 h 4764066"/>
              <a:gd name="connsiteX166" fmla="*/ 4653910 w 4803292"/>
              <a:gd name="connsiteY166" fmla="*/ 2431145 h 4764066"/>
              <a:gd name="connsiteX167" fmla="*/ 4564809 w 4803292"/>
              <a:gd name="connsiteY167" fmla="*/ 2520315 h 4764066"/>
              <a:gd name="connsiteX168" fmla="*/ 4475628 w 4803292"/>
              <a:gd name="connsiteY168" fmla="*/ 2431145 h 4764066"/>
              <a:gd name="connsiteX169" fmla="*/ 4564809 w 4803292"/>
              <a:gd name="connsiteY169" fmla="*/ 2341975 h 4764066"/>
              <a:gd name="connsiteX170" fmla="*/ 123365 w 4803292"/>
              <a:gd name="connsiteY170" fmla="*/ 2341975 h 4764066"/>
              <a:gd name="connsiteX171" fmla="*/ 212466 w 4803292"/>
              <a:gd name="connsiteY171" fmla="*/ 2431145 h 4764066"/>
              <a:gd name="connsiteX172" fmla="*/ 123365 w 4803292"/>
              <a:gd name="connsiteY172" fmla="*/ 2520315 h 4764066"/>
              <a:gd name="connsiteX173" fmla="*/ 34184 w 4803292"/>
              <a:gd name="connsiteY173" fmla="*/ 2431145 h 4764066"/>
              <a:gd name="connsiteX174" fmla="*/ 123365 w 4803292"/>
              <a:gd name="connsiteY174" fmla="*/ 2341975 h 4764066"/>
              <a:gd name="connsiteX175" fmla="*/ 4223054 w 4803292"/>
              <a:gd name="connsiteY175" fmla="*/ 2257692 h 4764066"/>
              <a:gd name="connsiteX176" fmla="*/ 4336252 w 4803292"/>
              <a:gd name="connsiteY176" fmla="*/ 2370897 h 4764066"/>
              <a:gd name="connsiteX177" fmla="*/ 4223054 w 4803292"/>
              <a:gd name="connsiteY177" fmla="*/ 2484262 h 4764066"/>
              <a:gd name="connsiteX178" fmla="*/ 4109857 w 4803292"/>
              <a:gd name="connsiteY178" fmla="*/ 2370897 h 4764066"/>
              <a:gd name="connsiteX179" fmla="*/ 4223054 w 4803292"/>
              <a:gd name="connsiteY179" fmla="*/ 2257692 h 4764066"/>
              <a:gd name="connsiteX180" fmla="*/ 464959 w 4803292"/>
              <a:gd name="connsiteY180" fmla="*/ 2257452 h 4764066"/>
              <a:gd name="connsiteX181" fmla="*/ 578156 w 4803292"/>
              <a:gd name="connsiteY181" fmla="*/ 2370817 h 4764066"/>
              <a:gd name="connsiteX182" fmla="*/ 464959 w 4803292"/>
              <a:gd name="connsiteY182" fmla="*/ 2484183 h 4764066"/>
              <a:gd name="connsiteX183" fmla="*/ 351921 w 4803292"/>
              <a:gd name="connsiteY183" fmla="*/ 2370817 h 4764066"/>
              <a:gd name="connsiteX184" fmla="*/ 464959 w 4803292"/>
              <a:gd name="connsiteY184" fmla="*/ 2257452 h 4764066"/>
              <a:gd name="connsiteX185" fmla="*/ 3881460 w 4803292"/>
              <a:gd name="connsiteY185" fmla="*/ 2179498 h 4764066"/>
              <a:gd name="connsiteX186" fmla="*/ 4012510 w 4803292"/>
              <a:gd name="connsiteY186" fmla="*/ 2310569 h 4764066"/>
              <a:gd name="connsiteX187" fmla="*/ 3881460 w 4803292"/>
              <a:gd name="connsiteY187" fmla="*/ 2441800 h 4764066"/>
              <a:gd name="connsiteX188" fmla="*/ 3750330 w 4803292"/>
              <a:gd name="connsiteY188" fmla="*/ 2310569 h 4764066"/>
              <a:gd name="connsiteX189" fmla="*/ 3881460 w 4803292"/>
              <a:gd name="connsiteY189" fmla="*/ 2179498 h 4764066"/>
              <a:gd name="connsiteX190" fmla="*/ 806713 w 4803292"/>
              <a:gd name="connsiteY190" fmla="*/ 2179498 h 4764066"/>
              <a:gd name="connsiteX191" fmla="*/ 937763 w 4803292"/>
              <a:gd name="connsiteY191" fmla="*/ 2310569 h 4764066"/>
              <a:gd name="connsiteX192" fmla="*/ 806713 w 4803292"/>
              <a:gd name="connsiteY192" fmla="*/ 2441800 h 4764066"/>
              <a:gd name="connsiteX193" fmla="*/ 675583 w 4803292"/>
              <a:gd name="connsiteY193" fmla="*/ 2310569 h 4764066"/>
              <a:gd name="connsiteX194" fmla="*/ 806713 w 4803292"/>
              <a:gd name="connsiteY194" fmla="*/ 2179498 h 4764066"/>
              <a:gd name="connsiteX195" fmla="*/ 89181 w 4803292"/>
              <a:gd name="connsiteY195" fmla="*/ 1950284 h 4764066"/>
              <a:gd name="connsiteX196" fmla="*/ 178282 w 4803292"/>
              <a:gd name="connsiteY196" fmla="*/ 2039454 h 4764066"/>
              <a:gd name="connsiteX197" fmla="*/ 89181 w 4803292"/>
              <a:gd name="connsiteY197" fmla="*/ 2128624 h 4764066"/>
              <a:gd name="connsiteX198" fmla="*/ 0 w 4803292"/>
              <a:gd name="connsiteY198" fmla="*/ 2039454 h 4764066"/>
              <a:gd name="connsiteX199" fmla="*/ 89181 w 4803292"/>
              <a:gd name="connsiteY199" fmla="*/ 1950284 h 4764066"/>
              <a:gd name="connsiteX200" fmla="*/ 4597391 w 4803292"/>
              <a:gd name="connsiteY200" fmla="*/ 1950204 h 4764066"/>
              <a:gd name="connsiteX201" fmla="*/ 4686492 w 4803292"/>
              <a:gd name="connsiteY201" fmla="*/ 2039374 h 4764066"/>
              <a:gd name="connsiteX202" fmla="*/ 4597391 w 4803292"/>
              <a:gd name="connsiteY202" fmla="*/ 2128544 h 4764066"/>
              <a:gd name="connsiteX203" fmla="*/ 4508050 w 4803292"/>
              <a:gd name="connsiteY203" fmla="*/ 2039374 h 4764066"/>
              <a:gd name="connsiteX204" fmla="*/ 4597391 w 4803292"/>
              <a:gd name="connsiteY204" fmla="*/ 1950204 h 4764066"/>
              <a:gd name="connsiteX205" fmla="*/ 4252194 w 4803292"/>
              <a:gd name="connsiteY205" fmla="*/ 1926169 h 4764066"/>
              <a:gd name="connsiteX206" fmla="*/ 4365232 w 4803292"/>
              <a:gd name="connsiteY206" fmla="*/ 2039534 h 4764066"/>
              <a:gd name="connsiteX207" fmla="*/ 4252194 w 4803292"/>
              <a:gd name="connsiteY207" fmla="*/ 2152900 h 4764066"/>
              <a:gd name="connsiteX208" fmla="*/ 4138837 w 4803292"/>
              <a:gd name="connsiteY208" fmla="*/ 2039534 h 4764066"/>
              <a:gd name="connsiteX209" fmla="*/ 4252194 w 4803292"/>
              <a:gd name="connsiteY209" fmla="*/ 1926169 h 4764066"/>
              <a:gd name="connsiteX210" fmla="*/ 436060 w 4803292"/>
              <a:gd name="connsiteY210" fmla="*/ 1926088 h 4764066"/>
              <a:gd name="connsiteX211" fmla="*/ 549257 w 4803292"/>
              <a:gd name="connsiteY211" fmla="*/ 2039454 h 4764066"/>
              <a:gd name="connsiteX212" fmla="*/ 436060 w 4803292"/>
              <a:gd name="connsiteY212" fmla="*/ 2152819 h 4764066"/>
              <a:gd name="connsiteX213" fmla="*/ 322862 w 4803292"/>
              <a:gd name="connsiteY213" fmla="*/ 2039454 h 4764066"/>
              <a:gd name="connsiteX214" fmla="*/ 436060 w 4803292"/>
              <a:gd name="connsiteY214" fmla="*/ 1926088 h 4764066"/>
              <a:gd name="connsiteX215" fmla="*/ 3905237 w 4803292"/>
              <a:gd name="connsiteY215" fmla="*/ 1908383 h 4764066"/>
              <a:gd name="connsiteX216" fmla="*/ 4036287 w 4803292"/>
              <a:gd name="connsiteY216" fmla="*/ 2039534 h 4764066"/>
              <a:gd name="connsiteX217" fmla="*/ 3905237 w 4803292"/>
              <a:gd name="connsiteY217" fmla="*/ 2170685 h 4764066"/>
              <a:gd name="connsiteX218" fmla="*/ 3774107 w 4803292"/>
              <a:gd name="connsiteY218" fmla="*/ 2039534 h 4764066"/>
              <a:gd name="connsiteX219" fmla="*/ 3905237 w 4803292"/>
              <a:gd name="connsiteY219" fmla="*/ 1908383 h 4764066"/>
              <a:gd name="connsiteX220" fmla="*/ 783097 w 4803292"/>
              <a:gd name="connsiteY220" fmla="*/ 1908383 h 4764066"/>
              <a:gd name="connsiteX221" fmla="*/ 914067 w 4803292"/>
              <a:gd name="connsiteY221" fmla="*/ 2039534 h 4764066"/>
              <a:gd name="connsiteX222" fmla="*/ 783097 w 4803292"/>
              <a:gd name="connsiteY222" fmla="*/ 2170685 h 4764066"/>
              <a:gd name="connsiteX223" fmla="*/ 651887 w 4803292"/>
              <a:gd name="connsiteY223" fmla="*/ 2039534 h 4764066"/>
              <a:gd name="connsiteX224" fmla="*/ 783097 w 4803292"/>
              <a:gd name="connsiteY224" fmla="*/ 1908383 h 4764066"/>
              <a:gd name="connsiteX225" fmla="*/ 3881460 w 4803292"/>
              <a:gd name="connsiteY225" fmla="*/ 1637027 h 4764066"/>
              <a:gd name="connsiteX226" fmla="*/ 4012510 w 4803292"/>
              <a:gd name="connsiteY226" fmla="*/ 1768178 h 4764066"/>
              <a:gd name="connsiteX227" fmla="*/ 3881460 w 4803292"/>
              <a:gd name="connsiteY227" fmla="*/ 1899329 h 4764066"/>
              <a:gd name="connsiteX228" fmla="*/ 3750330 w 4803292"/>
              <a:gd name="connsiteY228" fmla="*/ 1768178 h 4764066"/>
              <a:gd name="connsiteX229" fmla="*/ 3881460 w 4803292"/>
              <a:gd name="connsiteY229" fmla="*/ 1637027 h 4764066"/>
              <a:gd name="connsiteX230" fmla="*/ 806633 w 4803292"/>
              <a:gd name="connsiteY230" fmla="*/ 1637027 h 4764066"/>
              <a:gd name="connsiteX231" fmla="*/ 937683 w 4803292"/>
              <a:gd name="connsiteY231" fmla="*/ 1768178 h 4764066"/>
              <a:gd name="connsiteX232" fmla="*/ 806633 w 4803292"/>
              <a:gd name="connsiteY232" fmla="*/ 1899329 h 4764066"/>
              <a:gd name="connsiteX233" fmla="*/ 675503 w 4803292"/>
              <a:gd name="connsiteY233" fmla="*/ 1768178 h 4764066"/>
              <a:gd name="connsiteX234" fmla="*/ 806633 w 4803292"/>
              <a:gd name="connsiteY234" fmla="*/ 1637027 h 4764066"/>
              <a:gd name="connsiteX235" fmla="*/ 4222975 w 4803292"/>
              <a:gd name="connsiteY235" fmla="*/ 1594645 h 4764066"/>
              <a:gd name="connsiteX236" fmla="*/ 4336172 w 4803292"/>
              <a:gd name="connsiteY236" fmla="*/ 1707850 h 4764066"/>
              <a:gd name="connsiteX237" fmla="*/ 4222975 w 4803292"/>
              <a:gd name="connsiteY237" fmla="*/ 1821215 h 4764066"/>
              <a:gd name="connsiteX238" fmla="*/ 4109777 w 4803292"/>
              <a:gd name="connsiteY238" fmla="*/ 1707850 h 4764066"/>
              <a:gd name="connsiteX239" fmla="*/ 4222975 w 4803292"/>
              <a:gd name="connsiteY239" fmla="*/ 1594645 h 4764066"/>
              <a:gd name="connsiteX240" fmla="*/ 464959 w 4803292"/>
              <a:gd name="connsiteY240" fmla="*/ 1594645 h 4764066"/>
              <a:gd name="connsiteX241" fmla="*/ 578156 w 4803292"/>
              <a:gd name="connsiteY241" fmla="*/ 1707850 h 4764066"/>
              <a:gd name="connsiteX242" fmla="*/ 464959 w 4803292"/>
              <a:gd name="connsiteY242" fmla="*/ 1821215 h 4764066"/>
              <a:gd name="connsiteX243" fmla="*/ 351921 w 4803292"/>
              <a:gd name="connsiteY243" fmla="*/ 1707850 h 4764066"/>
              <a:gd name="connsiteX244" fmla="*/ 464959 w 4803292"/>
              <a:gd name="connsiteY244" fmla="*/ 1594645 h 4764066"/>
              <a:gd name="connsiteX245" fmla="*/ 123365 w 4803292"/>
              <a:gd name="connsiteY245" fmla="*/ 1558432 h 4764066"/>
              <a:gd name="connsiteX246" fmla="*/ 212466 w 4803292"/>
              <a:gd name="connsiteY246" fmla="*/ 1647602 h 4764066"/>
              <a:gd name="connsiteX247" fmla="*/ 123365 w 4803292"/>
              <a:gd name="connsiteY247" fmla="*/ 1736772 h 4764066"/>
              <a:gd name="connsiteX248" fmla="*/ 34184 w 4803292"/>
              <a:gd name="connsiteY248" fmla="*/ 1647602 h 4764066"/>
              <a:gd name="connsiteX249" fmla="*/ 123365 w 4803292"/>
              <a:gd name="connsiteY249" fmla="*/ 1558432 h 4764066"/>
              <a:gd name="connsiteX250" fmla="*/ 2354654 w 4803292"/>
              <a:gd name="connsiteY250" fmla="*/ 1508840 h 4764066"/>
              <a:gd name="connsiteX251" fmla="*/ 2878293 w 4803292"/>
              <a:gd name="connsiteY251" fmla="*/ 2032884 h 4764066"/>
              <a:gd name="connsiteX252" fmla="*/ 2354654 w 4803292"/>
              <a:gd name="connsiteY252" fmla="*/ 2556928 h 4764066"/>
              <a:gd name="connsiteX253" fmla="*/ 1831015 w 4803292"/>
              <a:gd name="connsiteY253" fmla="*/ 2032884 h 4764066"/>
              <a:gd name="connsiteX254" fmla="*/ 2354654 w 4803292"/>
              <a:gd name="connsiteY254" fmla="*/ 1508840 h 4764066"/>
              <a:gd name="connsiteX255" fmla="*/ 3811092 w 4803292"/>
              <a:gd name="connsiteY255" fmla="*/ 1374003 h 4764066"/>
              <a:gd name="connsiteX256" fmla="*/ 3942142 w 4803292"/>
              <a:gd name="connsiteY256" fmla="*/ 1505074 h 4764066"/>
              <a:gd name="connsiteX257" fmla="*/ 3811092 w 4803292"/>
              <a:gd name="connsiteY257" fmla="*/ 1636306 h 4764066"/>
              <a:gd name="connsiteX258" fmla="*/ 3679962 w 4803292"/>
              <a:gd name="connsiteY258" fmla="*/ 1505074 h 4764066"/>
              <a:gd name="connsiteX259" fmla="*/ 3811092 w 4803292"/>
              <a:gd name="connsiteY259" fmla="*/ 1374003 h 4764066"/>
              <a:gd name="connsiteX260" fmla="*/ 877161 w 4803292"/>
              <a:gd name="connsiteY260" fmla="*/ 1374003 h 4764066"/>
              <a:gd name="connsiteX261" fmla="*/ 1008211 w 4803292"/>
              <a:gd name="connsiteY261" fmla="*/ 1505074 h 4764066"/>
              <a:gd name="connsiteX262" fmla="*/ 877161 w 4803292"/>
              <a:gd name="connsiteY262" fmla="*/ 1636306 h 4764066"/>
              <a:gd name="connsiteX263" fmla="*/ 745951 w 4803292"/>
              <a:gd name="connsiteY263" fmla="*/ 1505074 h 4764066"/>
              <a:gd name="connsiteX264" fmla="*/ 877161 w 4803292"/>
              <a:gd name="connsiteY264" fmla="*/ 1374003 h 4764066"/>
              <a:gd name="connsiteX265" fmla="*/ 2232810 w 4803292"/>
              <a:gd name="connsiteY265" fmla="*/ 1301498 h 4764066"/>
              <a:gd name="connsiteX266" fmla="*/ 2098078 w 4803292"/>
              <a:gd name="connsiteY266" fmla="*/ 1401804 h 4764066"/>
              <a:gd name="connsiteX267" fmla="*/ 2001611 w 4803292"/>
              <a:gd name="connsiteY267" fmla="*/ 1363027 h 4764066"/>
              <a:gd name="connsiteX268" fmla="*/ 2004734 w 4803292"/>
              <a:gd name="connsiteY268" fmla="*/ 1378650 h 4764066"/>
              <a:gd name="connsiteX269" fmla="*/ 1861195 w 4803292"/>
              <a:gd name="connsiteY269" fmla="*/ 1522220 h 4764066"/>
              <a:gd name="connsiteX270" fmla="*/ 1814443 w 4803292"/>
              <a:gd name="connsiteY270" fmla="*/ 1514288 h 4764066"/>
              <a:gd name="connsiteX271" fmla="*/ 1817806 w 4803292"/>
              <a:gd name="connsiteY271" fmla="*/ 1544973 h 4764066"/>
              <a:gd name="connsiteX272" fmla="*/ 1686356 w 4803292"/>
              <a:gd name="connsiteY272" fmla="*/ 1687901 h 4764066"/>
              <a:gd name="connsiteX273" fmla="*/ 1718057 w 4803292"/>
              <a:gd name="connsiteY273" fmla="*/ 1777712 h 4764066"/>
              <a:gd name="connsiteX274" fmla="*/ 1595974 w 4803292"/>
              <a:gd name="connsiteY274" fmla="*/ 1916955 h 4764066"/>
              <a:gd name="connsiteX275" fmla="*/ 1668663 w 4803292"/>
              <a:gd name="connsiteY275" fmla="*/ 2039374 h 4764066"/>
              <a:gd name="connsiteX276" fmla="*/ 1595974 w 4803292"/>
              <a:gd name="connsiteY276" fmla="*/ 2161712 h 4764066"/>
              <a:gd name="connsiteX277" fmla="*/ 1718057 w 4803292"/>
              <a:gd name="connsiteY277" fmla="*/ 2300955 h 4764066"/>
              <a:gd name="connsiteX278" fmla="*/ 1683153 w 4803292"/>
              <a:gd name="connsiteY278" fmla="*/ 2391888 h 4764066"/>
              <a:gd name="connsiteX279" fmla="*/ 1817806 w 4803292"/>
              <a:gd name="connsiteY279" fmla="*/ 2533614 h 4764066"/>
              <a:gd name="connsiteX280" fmla="*/ 1811241 w 4803292"/>
              <a:gd name="connsiteY280" fmla="*/ 2566542 h 4764066"/>
              <a:gd name="connsiteX281" fmla="*/ 1861195 w 4803292"/>
              <a:gd name="connsiteY281" fmla="*/ 2556448 h 4764066"/>
              <a:gd name="connsiteX282" fmla="*/ 2004734 w 4803292"/>
              <a:gd name="connsiteY282" fmla="*/ 2700097 h 4764066"/>
              <a:gd name="connsiteX283" fmla="*/ 2001611 w 4803292"/>
              <a:gd name="connsiteY283" fmla="*/ 2715800 h 4764066"/>
              <a:gd name="connsiteX284" fmla="*/ 2098078 w 4803292"/>
              <a:gd name="connsiteY284" fmla="*/ 2677184 h 4764066"/>
              <a:gd name="connsiteX285" fmla="*/ 2232810 w 4803292"/>
              <a:gd name="connsiteY285" fmla="*/ 2777250 h 4764066"/>
              <a:gd name="connsiteX286" fmla="*/ 2344006 w 4803292"/>
              <a:gd name="connsiteY286" fmla="*/ 2720847 h 4764066"/>
              <a:gd name="connsiteX287" fmla="*/ 2455202 w 4803292"/>
              <a:gd name="connsiteY287" fmla="*/ 2777330 h 4764066"/>
              <a:gd name="connsiteX288" fmla="*/ 2589855 w 4803292"/>
              <a:gd name="connsiteY288" fmla="*/ 2677104 h 4764066"/>
              <a:gd name="connsiteX289" fmla="*/ 2686401 w 4803292"/>
              <a:gd name="connsiteY289" fmla="*/ 2715720 h 4764066"/>
              <a:gd name="connsiteX290" fmla="*/ 2683119 w 4803292"/>
              <a:gd name="connsiteY290" fmla="*/ 2700017 h 4764066"/>
              <a:gd name="connsiteX291" fmla="*/ 2826737 w 4803292"/>
              <a:gd name="connsiteY291" fmla="*/ 2556528 h 4764066"/>
              <a:gd name="connsiteX292" fmla="*/ 2876771 w 4803292"/>
              <a:gd name="connsiteY292" fmla="*/ 2566623 h 4764066"/>
              <a:gd name="connsiteX293" fmla="*/ 2870207 w 4803292"/>
              <a:gd name="connsiteY293" fmla="*/ 2533694 h 4764066"/>
              <a:gd name="connsiteX294" fmla="*/ 3004859 w 4803292"/>
              <a:gd name="connsiteY294" fmla="*/ 2391968 h 4764066"/>
              <a:gd name="connsiteX295" fmla="*/ 2969795 w 4803292"/>
              <a:gd name="connsiteY295" fmla="*/ 2301035 h 4764066"/>
              <a:gd name="connsiteX296" fmla="*/ 3092039 w 4803292"/>
              <a:gd name="connsiteY296" fmla="*/ 2161792 h 4764066"/>
              <a:gd name="connsiteX297" fmla="*/ 3019109 w 4803292"/>
              <a:gd name="connsiteY297" fmla="*/ 2039454 h 4764066"/>
              <a:gd name="connsiteX298" fmla="*/ 3092039 w 4803292"/>
              <a:gd name="connsiteY298" fmla="*/ 1917035 h 4764066"/>
              <a:gd name="connsiteX299" fmla="*/ 2969795 w 4803292"/>
              <a:gd name="connsiteY299" fmla="*/ 1777792 h 4764066"/>
              <a:gd name="connsiteX300" fmla="*/ 3004859 w 4803292"/>
              <a:gd name="connsiteY300" fmla="*/ 1686860 h 4764066"/>
              <a:gd name="connsiteX301" fmla="*/ 2870207 w 4803292"/>
              <a:gd name="connsiteY301" fmla="*/ 1545053 h 4764066"/>
              <a:gd name="connsiteX302" fmla="*/ 2876771 w 4803292"/>
              <a:gd name="connsiteY302" fmla="*/ 1512205 h 4764066"/>
              <a:gd name="connsiteX303" fmla="*/ 2826737 w 4803292"/>
              <a:gd name="connsiteY303" fmla="*/ 1522220 h 4764066"/>
              <a:gd name="connsiteX304" fmla="*/ 2683119 w 4803292"/>
              <a:gd name="connsiteY304" fmla="*/ 1378650 h 4764066"/>
              <a:gd name="connsiteX305" fmla="*/ 2686401 w 4803292"/>
              <a:gd name="connsiteY305" fmla="*/ 1363027 h 4764066"/>
              <a:gd name="connsiteX306" fmla="*/ 2589855 w 4803292"/>
              <a:gd name="connsiteY306" fmla="*/ 1401804 h 4764066"/>
              <a:gd name="connsiteX307" fmla="*/ 2455202 w 4803292"/>
              <a:gd name="connsiteY307" fmla="*/ 1301578 h 4764066"/>
              <a:gd name="connsiteX308" fmla="*/ 2344006 w 4803292"/>
              <a:gd name="connsiteY308" fmla="*/ 1357900 h 4764066"/>
              <a:gd name="connsiteX309" fmla="*/ 2232810 w 4803292"/>
              <a:gd name="connsiteY309" fmla="*/ 1301498 h 4764066"/>
              <a:gd name="connsiteX310" fmla="*/ 551018 w 4803292"/>
              <a:gd name="connsiteY310" fmla="*/ 1273136 h 4764066"/>
              <a:gd name="connsiteX311" fmla="*/ 664375 w 4803292"/>
              <a:gd name="connsiteY311" fmla="*/ 1386502 h 4764066"/>
              <a:gd name="connsiteX312" fmla="*/ 551018 w 4803292"/>
              <a:gd name="connsiteY312" fmla="*/ 1499787 h 4764066"/>
              <a:gd name="connsiteX313" fmla="*/ 437980 w 4803292"/>
              <a:gd name="connsiteY313" fmla="*/ 1386502 h 4764066"/>
              <a:gd name="connsiteX314" fmla="*/ 551018 w 4803292"/>
              <a:gd name="connsiteY314" fmla="*/ 1273136 h 4764066"/>
              <a:gd name="connsiteX315" fmla="*/ 4137076 w 4803292"/>
              <a:gd name="connsiteY315" fmla="*/ 1273056 h 4764066"/>
              <a:gd name="connsiteX316" fmla="*/ 4250273 w 4803292"/>
              <a:gd name="connsiteY316" fmla="*/ 1386261 h 4764066"/>
              <a:gd name="connsiteX317" fmla="*/ 4137076 w 4803292"/>
              <a:gd name="connsiteY317" fmla="*/ 1499626 h 4764066"/>
              <a:gd name="connsiteX318" fmla="*/ 4023878 w 4803292"/>
              <a:gd name="connsiteY318" fmla="*/ 1386261 h 4764066"/>
              <a:gd name="connsiteX319" fmla="*/ 4137076 w 4803292"/>
              <a:gd name="connsiteY319" fmla="*/ 1273056 h 4764066"/>
              <a:gd name="connsiteX320" fmla="*/ 3694852 w 4803292"/>
              <a:gd name="connsiteY320" fmla="*/ 1127163 h 4764066"/>
              <a:gd name="connsiteX321" fmla="*/ 3825821 w 4803292"/>
              <a:gd name="connsiteY321" fmla="*/ 1258314 h 4764066"/>
              <a:gd name="connsiteX322" fmla="*/ 3694852 w 4803292"/>
              <a:gd name="connsiteY322" fmla="*/ 1389546 h 4764066"/>
              <a:gd name="connsiteX323" fmla="*/ 3563802 w 4803292"/>
              <a:gd name="connsiteY323" fmla="*/ 1258314 h 4764066"/>
              <a:gd name="connsiteX324" fmla="*/ 3694852 w 4803292"/>
              <a:gd name="connsiteY324" fmla="*/ 1127163 h 4764066"/>
              <a:gd name="connsiteX325" fmla="*/ 992120 w 4803292"/>
              <a:gd name="connsiteY325" fmla="*/ 1127163 h 4764066"/>
              <a:gd name="connsiteX326" fmla="*/ 1123090 w 4803292"/>
              <a:gd name="connsiteY326" fmla="*/ 1258314 h 4764066"/>
              <a:gd name="connsiteX327" fmla="*/ 992120 w 4803292"/>
              <a:gd name="connsiteY327" fmla="*/ 1389546 h 4764066"/>
              <a:gd name="connsiteX328" fmla="*/ 860910 w 4803292"/>
              <a:gd name="connsiteY328" fmla="*/ 1258314 h 4764066"/>
              <a:gd name="connsiteX329" fmla="*/ 992120 w 4803292"/>
              <a:gd name="connsiteY329" fmla="*/ 1127163 h 4764066"/>
              <a:gd name="connsiteX330" fmla="*/ 2344006 w 4803292"/>
              <a:gd name="connsiteY330" fmla="*/ 1070601 h 4764066"/>
              <a:gd name="connsiteX331" fmla="*/ 2478739 w 4803292"/>
              <a:gd name="connsiteY331" fmla="*/ 1170827 h 4764066"/>
              <a:gd name="connsiteX332" fmla="*/ 2589775 w 4803292"/>
              <a:gd name="connsiteY332" fmla="*/ 1114345 h 4764066"/>
              <a:gd name="connsiteX333" fmla="*/ 2733393 w 4803292"/>
              <a:gd name="connsiteY333" fmla="*/ 1258074 h 4764066"/>
              <a:gd name="connsiteX334" fmla="*/ 2730271 w 4803292"/>
              <a:gd name="connsiteY334" fmla="*/ 1273617 h 4764066"/>
              <a:gd name="connsiteX335" fmla="*/ 2826737 w 4803292"/>
              <a:gd name="connsiteY335" fmla="*/ 1235081 h 4764066"/>
              <a:gd name="connsiteX336" fmla="*/ 2970275 w 4803292"/>
              <a:gd name="connsiteY336" fmla="*/ 1378570 h 4764066"/>
              <a:gd name="connsiteX337" fmla="*/ 2963711 w 4803292"/>
              <a:gd name="connsiteY337" fmla="*/ 1411418 h 4764066"/>
              <a:gd name="connsiteX338" fmla="*/ 3013665 w 4803292"/>
              <a:gd name="connsiteY338" fmla="*/ 1401243 h 4764066"/>
              <a:gd name="connsiteX339" fmla="*/ 3157204 w 4803292"/>
              <a:gd name="connsiteY339" fmla="*/ 1544893 h 4764066"/>
              <a:gd name="connsiteX340" fmla="*/ 3122299 w 4803292"/>
              <a:gd name="connsiteY340" fmla="*/ 1635745 h 4764066"/>
              <a:gd name="connsiteX341" fmla="*/ 3256952 w 4803292"/>
              <a:gd name="connsiteY341" fmla="*/ 1777632 h 4764066"/>
              <a:gd name="connsiteX342" fmla="*/ 3184102 w 4803292"/>
              <a:gd name="connsiteY342" fmla="*/ 1899971 h 4764066"/>
              <a:gd name="connsiteX343" fmla="*/ 3306186 w 4803292"/>
              <a:gd name="connsiteY343" fmla="*/ 2039374 h 4764066"/>
              <a:gd name="connsiteX344" fmla="*/ 3184102 w 4803292"/>
              <a:gd name="connsiteY344" fmla="*/ 2178617 h 4764066"/>
              <a:gd name="connsiteX345" fmla="*/ 3256952 w 4803292"/>
              <a:gd name="connsiteY345" fmla="*/ 2300955 h 4764066"/>
              <a:gd name="connsiteX346" fmla="*/ 3122299 w 4803292"/>
              <a:gd name="connsiteY346" fmla="*/ 2442842 h 4764066"/>
              <a:gd name="connsiteX347" fmla="*/ 3157204 w 4803292"/>
              <a:gd name="connsiteY347" fmla="*/ 2533614 h 4764066"/>
              <a:gd name="connsiteX348" fmla="*/ 3013665 w 4803292"/>
              <a:gd name="connsiteY348" fmla="*/ 2677344 h 4764066"/>
              <a:gd name="connsiteX349" fmla="*/ 2963711 w 4803292"/>
              <a:gd name="connsiteY349" fmla="*/ 2667249 h 4764066"/>
              <a:gd name="connsiteX350" fmla="*/ 2970275 w 4803292"/>
              <a:gd name="connsiteY350" fmla="*/ 2700017 h 4764066"/>
              <a:gd name="connsiteX351" fmla="*/ 2826817 w 4803292"/>
              <a:gd name="connsiteY351" fmla="*/ 2843827 h 4764066"/>
              <a:gd name="connsiteX352" fmla="*/ 2730351 w 4803292"/>
              <a:gd name="connsiteY352" fmla="*/ 2805050 h 4764066"/>
              <a:gd name="connsiteX353" fmla="*/ 2733473 w 4803292"/>
              <a:gd name="connsiteY353" fmla="*/ 2820593 h 4764066"/>
              <a:gd name="connsiteX354" fmla="*/ 2589855 w 4803292"/>
              <a:gd name="connsiteY354" fmla="*/ 2964242 h 4764066"/>
              <a:gd name="connsiteX355" fmla="*/ 2478819 w 4803292"/>
              <a:gd name="connsiteY355" fmla="*/ 2907840 h 4764066"/>
              <a:gd name="connsiteX356" fmla="*/ 2344086 w 4803292"/>
              <a:gd name="connsiteY356" fmla="*/ 3008146 h 4764066"/>
              <a:gd name="connsiteX357" fmla="*/ 2209354 w 4803292"/>
              <a:gd name="connsiteY357" fmla="*/ 2907840 h 4764066"/>
              <a:gd name="connsiteX358" fmla="*/ 2098158 w 4803292"/>
              <a:gd name="connsiteY358" fmla="*/ 2964242 h 4764066"/>
              <a:gd name="connsiteX359" fmla="*/ 1954699 w 4803292"/>
              <a:gd name="connsiteY359" fmla="*/ 2820593 h 4764066"/>
              <a:gd name="connsiteX360" fmla="*/ 1957822 w 4803292"/>
              <a:gd name="connsiteY360" fmla="*/ 2805050 h 4764066"/>
              <a:gd name="connsiteX361" fmla="*/ 1861355 w 4803292"/>
              <a:gd name="connsiteY361" fmla="*/ 2843827 h 4764066"/>
              <a:gd name="connsiteX362" fmla="*/ 1717977 w 4803292"/>
              <a:gd name="connsiteY362" fmla="*/ 2700097 h 4764066"/>
              <a:gd name="connsiteX363" fmla="*/ 1724542 w 4803292"/>
              <a:gd name="connsiteY363" fmla="*/ 2667329 h 4764066"/>
              <a:gd name="connsiteX364" fmla="*/ 1674507 w 4803292"/>
              <a:gd name="connsiteY364" fmla="*/ 2677424 h 4764066"/>
              <a:gd name="connsiteX365" fmla="*/ 1530889 w 4803292"/>
              <a:gd name="connsiteY365" fmla="*/ 2533694 h 4764066"/>
              <a:gd name="connsiteX366" fmla="*/ 1565793 w 4803292"/>
              <a:gd name="connsiteY366" fmla="*/ 2442922 h 4764066"/>
              <a:gd name="connsiteX367" fmla="*/ 1431301 w 4803292"/>
              <a:gd name="connsiteY367" fmla="*/ 2301035 h 4764066"/>
              <a:gd name="connsiteX368" fmla="*/ 1504151 w 4803292"/>
              <a:gd name="connsiteY368" fmla="*/ 2178697 h 4764066"/>
              <a:gd name="connsiteX369" fmla="*/ 1382067 w 4803292"/>
              <a:gd name="connsiteY369" fmla="*/ 2039454 h 4764066"/>
              <a:gd name="connsiteX370" fmla="*/ 1504151 w 4803292"/>
              <a:gd name="connsiteY370" fmla="*/ 1900050 h 4764066"/>
              <a:gd name="connsiteX371" fmla="*/ 1431301 w 4803292"/>
              <a:gd name="connsiteY371" fmla="*/ 1777712 h 4764066"/>
              <a:gd name="connsiteX372" fmla="*/ 1562671 w 4803292"/>
              <a:gd name="connsiteY372" fmla="*/ 1634784 h 4764066"/>
              <a:gd name="connsiteX373" fmla="*/ 1530969 w 4803292"/>
              <a:gd name="connsiteY373" fmla="*/ 1544973 h 4764066"/>
              <a:gd name="connsiteX374" fmla="*/ 1674267 w 4803292"/>
              <a:gd name="connsiteY374" fmla="*/ 1401323 h 4764066"/>
              <a:gd name="connsiteX375" fmla="*/ 1721259 w 4803292"/>
              <a:gd name="connsiteY375" fmla="*/ 1409335 h 4764066"/>
              <a:gd name="connsiteX376" fmla="*/ 1717897 w 4803292"/>
              <a:gd name="connsiteY376" fmla="*/ 1378570 h 4764066"/>
              <a:gd name="connsiteX377" fmla="*/ 1861275 w 4803292"/>
              <a:gd name="connsiteY377" fmla="*/ 1235081 h 4764066"/>
              <a:gd name="connsiteX378" fmla="*/ 1957742 w 4803292"/>
              <a:gd name="connsiteY378" fmla="*/ 1273617 h 4764066"/>
              <a:gd name="connsiteX379" fmla="*/ 1954619 w 4803292"/>
              <a:gd name="connsiteY379" fmla="*/ 1258074 h 4764066"/>
              <a:gd name="connsiteX380" fmla="*/ 2098078 w 4803292"/>
              <a:gd name="connsiteY380" fmla="*/ 1114345 h 4764066"/>
              <a:gd name="connsiteX381" fmla="*/ 2209274 w 4803292"/>
              <a:gd name="connsiteY381" fmla="*/ 1170827 h 4764066"/>
              <a:gd name="connsiteX382" fmla="*/ 2344006 w 4803292"/>
              <a:gd name="connsiteY382" fmla="*/ 1070601 h 4764066"/>
              <a:gd name="connsiteX383" fmla="*/ 3996579 w 4803292"/>
              <a:gd name="connsiteY383" fmla="*/ 971336 h 4764066"/>
              <a:gd name="connsiteX384" fmla="*/ 4109616 w 4803292"/>
              <a:gd name="connsiteY384" fmla="*/ 1084701 h 4764066"/>
              <a:gd name="connsiteX385" fmla="*/ 3996579 w 4803292"/>
              <a:gd name="connsiteY385" fmla="*/ 1198067 h 4764066"/>
              <a:gd name="connsiteX386" fmla="*/ 3883061 w 4803292"/>
              <a:gd name="connsiteY386" fmla="*/ 1084701 h 4764066"/>
              <a:gd name="connsiteX387" fmla="*/ 3996579 w 4803292"/>
              <a:gd name="connsiteY387" fmla="*/ 971336 h 4764066"/>
              <a:gd name="connsiteX388" fmla="*/ 2245699 w 4803292"/>
              <a:gd name="connsiteY388" fmla="*/ 915014 h 4764066"/>
              <a:gd name="connsiteX389" fmla="*/ 2156758 w 4803292"/>
              <a:gd name="connsiteY389" fmla="*/ 977826 h 4764066"/>
              <a:gd name="connsiteX390" fmla="*/ 2051966 w 4803292"/>
              <a:gd name="connsiteY390" fmla="*/ 949304 h 4764066"/>
              <a:gd name="connsiteX391" fmla="*/ 1975434 w 4803292"/>
              <a:gd name="connsiteY391" fmla="*/ 1026537 h 4764066"/>
              <a:gd name="connsiteX392" fmla="*/ 1867280 w 4803292"/>
              <a:gd name="connsiteY392" fmla="*/ 1016522 h 4764066"/>
              <a:gd name="connsiteX393" fmla="*/ 1805237 w 4803292"/>
              <a:gd name="connsiteY393" fmla="*/ 1105852 h 4764066"/>
              <a:gd name="connsiteX394" fmla="*/ 1696763 w 4803292"/>
              <a:gd name="connsiteY394" fmla="*/ 1114986 h 4764066"/>
              <a:gd name="connsiteX395" fmla="*/ 1651212 w 4803292"/>
              <a:gd name="connsiteY395" fmla="*/ 1213770 h 4764066"/>
              <a:gd name="connsiteX396" fmla="*/ 1546020 w 4803292"/>
              <a:gd name="connsiteY396" fmla="*/ 1241490 h 4764066"/>
              <a:gd name="connsiteX397" fmla="*/ 1518481 w 4803292"/>
              <a:gd name="connsiteY397" fmla="*/ 1346604 h 4764066"/>
              <a:gd name="connsiteX398" fmla="*/ 1419853 w 4803292"/>
              <a:gd name="connsiteY398" fmla="*/ 1392110 h 4764066"/>
              <a:gd name="connsiteX399" fmla="*/ 1410727 w 4803292"/>
              <a:gd name="connsiteY399" fmla="*/ 1500588 h 4764066"/>
              <a:gd name="connsiteX400" fmla="*/ 1321546 w 4803292"/>
              <a:gd name="connsiteY400" fmla="*/ 1562518 h 4764066"/>
              <a:gd name="connsiteX401" fmla="*/ 1331393 w 4803292"/>
              <a:gd name="connsiteY401" fmla="*/ 1670996 h 4764066"/>
              <a:gd name="connsiteX402" fmla="*/ 1254220 w 4803292"/>
              <a:gd name="connsiteY402" fmla="*/ 1747588 h 4764066"/>
              <a:gd name="connsiteX403" fmla="*/ 1282879 w 4803292"/>
              <a:gd name="connsiteY403" fmla="*/ 1852541 h 4764066"/>
              <a:gd name="connsiteX404" fmla="*/ 1220116 w 4803292"/>
              <a:gd name="connsiteY404" fmla="*/ 1941391 h 4764066"/>
              <a:gd name="connsiteX405" fmla="*/ 1266308 w 4803292"/>
              <a:gd name="connsiteY405" fmla="*/ 2039774 h 4764066"/>
              <a:gd name="connsiteX406" fmla="*/ 1220116 w 4803292"/>
              <a:gd name="connsiteY406" fmla="*/ 2138238 h 4764066"/>
              <a:gd name="connsiteX407" fmla="*/ 1282719 w 4803292"/>
              <a:gd name="connsiteY407" fmla="*/ 2227087 h 4764066"/>
              <a:gd name="connsiteX408" fmla="*/ 1254220 w 4803292"/>
              <a:gd name="connsiteY408" fmla="*/ 2332041 h 4764066"/>
              <a:gd name="connsiteX409" fmla="*/ 1331313 w 4803292"/>
              <a:gd name="connsiteY409" fmla="*/ 2408472 h 4764066"/>
              <a:gd name="connsiteX410" fmla="*/ 1321626 w 4803292"/>
              <a:gd name="connsiteY410" fmla="*/ 2516469 h 4764066"/>
              <a:gd name="connsiteX411" fmla="*/ 1410807 w 4803292"/>
              <a:gd name="connsiteY411" fmla="*/ 2578560 h 4764066"/>
              <a:gd name="connsiteX412" fmla="*/ 1419933 w 4803292"/>
              <a:gd name="connsiteY412" fmla="*/ 2686958 h 4764066"/>
              <a:gd name="connsiteX413" fmla="*/ 1518401 w 4803292"/>
              <a:gd name="connsiteY413" fmla="*/ 2732544 h 4764066"/>
              <a:gd name="connsiteX414" fmla="*/ 1546100 w 4803292"/>
              <a:gd name="connsiteY414" fmla="*/ 2837658 h 4764066"/>
              <a:gd name="connsiteX415" fmla="*/ 1651292 w 4803292"/>
              <a:gd name="connsiteY415" fmla="*/ 2865538 h 4764066"/>
              <a:gd name="connsiteX416" fmla="*/ 1696843 w 4803292"/>
              <a:gd name="connsiteY416" fmla="*/ 2964162 h 4764066"/>
              <a:gd name="connsiteX417" fmla="*/ 1805157 w 4803292"/>
              <a:gd name="connsiteY417" fmla="*/ 2973296 h 4764066"/>
              <a:gd name="connsiteX418" fmla="*/ 1867120 w 4803292"/>
              <a:gd name="connsiteY418" fmla="*/ 3062546 h 4764066"/>
              <a:gd name="connsiteX419" fmla="*/ 1975434 w 4803292"/>
              <a:gd name="connsiteY419" fmla="*/ 3052691 h 4764066"/>
              <a:gd name="connsiteX420" fmla="*/ 2052047 w 4803292"/>
              <a:gd name="connsiteY420" fmla="*/ 3129924 h 4764066"/>
              <a:gd name="connsiteX421" fmla="*/ 2156838 w 4803292"/>
              <a:gd name="connsiteY421" fmla="*/ 3101402 h 4764066"/>
              <a:gd name="connsiteX422" fmla="*/ 2245859 w 4803292"/>
              <a:gd name="connsiteY422" fmla="*/ 3163893 h 4764066"/>
              <a:gd name="connsiteX423" fmla="*/ 2344087 w 4803292"/>
              <a:gd name="connsiteY423" fmla="*/ 3117666 h 4764066"/>
              <a:gd name="connsiteX424" fmla="*/ 2442314 w 4803292"/>
              <a:gd name="connsiteY424" fmla="*/ 3164054 h 4764066"/>
              <a:gd name="connsiteX425" fmla="*/ 2531255 w 4803292"/>
              <a:gd name="connsiteY425" fmla="*/ 3101402 h 4764066"/>
              <a:gd name="connsiteX426" fmla="*/ 2636127 w 4803292"/>
              <a:gd name="connsiteY426" fmla="*/ 3129924 h 4764066"/>
              <a:gd name="connsiteX427" fmla="*/ 2712659 w 4803292"/>
              <a:gd name="connsiteY427" fmla="*/ 3052691 h 4764066"/>
              <a:gd name="connsiteX428" fmla="*/ 2820733 w 4803292"/>
              <a:gd name="connsiteY428" fmla="*/ 3062706 h 4764066"/>
              <a:gd name="connsiteX429" fmla="*/ 2882856 w 4803292"/>
              <a:gd name="connsiteY429" fmla="*/ 2973296 h 4764066"/>
              <a:gd name="connsiteX430" fmla="*/ 2991250 w 4803292"/>
              <a:gd name="connsiteY430" fmla="*/ 2964322 h 4764066"/>
              <a:gd name="connsiteX431" fmla="*/ 3036641 w 4803292"/>
              <a:gd name="connsiteY431" fmla="*/ 2865538 h 4764066"/>
              <a:gd name="connsiteX432" fmla="*/ 3141913 w 4803292"/>
              <a:gd name="connsiteY432" fmla="*/ 2837658 h 4764066"/>
              <a:gd name="connsiteX433" fmla="*/ 3169532 w 4803292"/>
              <a:gd name="connsiteY433" fmla="*/ 2732544 h 4764066"/>
              <a:gd name="connsiteX434" fmla="*/ 3268240 w 4803292"/>
              <a:gd name="connsiteY434" fmla="*/ 2686958 h 4764066"/>
              <a:gd name="connsiteX435" fmla="*/ 3277286 w 4803292"/>
              <a:gd name="connsiteY435" fmla="*/ 2578560 h 4764066"/>
              <a:gd name="connsiteX436" fmla="*/ 3366547 w 4803292"/>
              <a:gd name="connsiteY436" fmla="*/ 2516550 h 4764066"/>
              <a:gd name="connsiteX437" fmla="*/ 3356621 w 4803292"/>
              <a:gd name="connsiteY437" fmla="*/ 2408232 h 4764066"/>
              <a:gd name="connsiteX438" fmla="*/ 3433794 w 4803292"/>
              <a:gd name="connsiteY438" fmla="*/ 2331960 h 4764066"/>
              <a:gd name="connsiteX439" fmla="*/ 3405134 w 4803292"/>
              <a:gd name="connsiteY439" fmla="*/ 2227007 h 4764066"/>
              <a:gd name="connsiteX440" fmla="*/ 3468057 w 4803292"/>
              <a:gd name="connsiteY440" fmla="*/ 2138158 h 4764066"/>
              <a:gd name="connsiteX441" fmla="*/ 3421545 w 4803292"/>
              <a:gd name="connsiteY441" fmla="*/ 2039694 h 4764066"/>
              <a:gd name="connsiteX442" fmla="*/ 3467897 w 4803292"/>
              <a:gd name="connsiteY442" fmla="*/ 1941311 h 4764066"/>
              <a:gd name="connsiteX443" fmla="*/ 3405134 w 4803292"/>
              <a:gd name="connsiteY443" fmla="*/ 1852461 h 4764066"/>
              <a:gd name="connsiteX444" fmla="*/ 3433794 w 4803292"/>
              <a:gd name="connsiteY444" fmla="*/ 1747508 h 4764066"/>
              <a:gd name="connsiteX445" fmla="*/ 3356621 w 4803292"/>
              <a:gd name="connsiteY445" fmla="*/ 1670756 h 4764066"/>
              <a:gd name="connsiteX446" fmla="*/ 3366547 w 4803292"/>
              <a:gd name="connsiteY446" fmla="*/ 1562438 h 4764066"/>
              <a:gd name="connsiteX447" fmla="*/ 3277286 w 4803292"/>
              <a:gd name="connsiteY447" fmla="*/ 1500508 h 4764066"/>
              <a:gd name="connsiteX448" fmla="*/ 3268240 w 4803292"/>
              <a:gd name="connsiteY448" fmla="*/ 1392030 h 4764066"/>
              <a:gd name="connsiteX449" fmla="*/ 3169532 w 4803292"/>
              <a:gd name="connsiteY449" fmla="*/ 1346523 h 4764066"/>
              <a:gd name="connsiteX450" fmla="*/ 3141913 w 4803292"/>
              <a:gd name="connsiteY450" fmla="*/ 1241250 h 4764066"/>
              <a:gd name="connsiteX451" fmla="*/ 3036641 w 4803292"/>
              <a:gd name="connsiteY451" fmla="*/ 1213610 h 4764066"/>
              <a:gd name="connsiteX452" fmla="*/ 2991250 w 4803292"/>
              <a:gd name="connsiteY452" fmla="*/ 1114745 h 4764066"/>
              <a:gd name="connsiteX453" fmla="*/ 2882856 w 4803292"/>
              <a:gd name="connsiteY453" fmla="*/ 1105692 h 4764066"/>
              <a:gd name="connsiteX454" fmla="*/ 2820733 w 4803292"/>
              <a:gd name="connsiteY454" fmla="*/ 1016362 h 4764066"/>
              <a:gd name="connsiteX455" fmla="*/ 2712579 w 4803292"/>
              <a:gd name="connsiteY455" fmla="*/ 1026457 h 4764066"/>
              <a:gd name="connsiteX456" fmla="*/ 2636047 w 4803292"/>
              <a:gd name="connsiteY456" fmla="*/ 948984 h 4764066"/>
              <a:gd name="connsiteX457" fmla="*/ 2531175 w 4803292"/>
              <a:gd name="connsiteY457" fmla="*/ 977666 h 4764066"/>
              <a:gd name="connsiteX458" fmla="*/ 2442234 w 4803292"/>
              <a:gd name="connsiteY458" fmla="*/ 915014 h 4764066"/>
              <a:gd name="connsiteX459" fmla="*/ 2344007 w 4803292"/>
              <a:gd name="connsiteY459" fmla="*/ 961402 h 4764066"/>
              <a:gd name="connsiteX460" fmla="*/ 2245699 w 4803292"/>
              <a:gd name="connsiteY460" fmla="*/ 915014 h 4764066"/>
              <a:gd name="connsiteX461" fmla="*/ 3539946 w 4803292"/>
              <a:gd name="connsiteY461" fmla="*/ 904118 h 4764066"/>
              <a:gd name="connsiteX462" fmla="*/ 3670996 w 4803292"/>
              <a:gd name="connsiteY462" fmla="*/ 1035349 h 4764066"/>
              <a:gd name="connsiteX463" fmla="*/ 3539946 w 4803292"/>
              <a:gd name="connsiteY463" fmla="*/ 1166501 h 4764066"/>
              <a:gd name="connsiteX464" fmla="*/ 3408816 w 4803292"/>
              <a:gd name="connsiteY464" fmla="*/ 1035349 h 4764066"/>
              <a:gd name="connsiteX465" fmla="*/ 3539946 w 4803292"/>
              <a:gd name="connsiteY465" fmla="*/ 904118 h 4764066"/>
              <a:gd name="connsiteX466" fmla="*/ 1148147 w 4803292"/>
              <a:gd name="connsiteY466" fmla="*/ 904118 h 4764066"/>
              <a:gd name="connsiteX467" fmla="*/ 1279357 w 4803292"/>
              <a:gd name="connsiteY467" fmla="*/ 1035349 h 4764066"/>
              <a:gd name="connsiteX468" fmla="*/ 1148147 w 4803292"/>
              <a:gd name="connsiteY468" fmla="*/ 1166501 h 4764066"/>
              <a:gd name="connsiteX469" fmla="*/ 1017177 w 4803292"/>
              <a:gd name="connsiteY469" fmla="*/ 1035349 h 4764066"/>
              <a:gd name="connsiteX470" fmla="*/ 1148147 w 4803292"/>
              <a:gd name="connsiteY470" fmla="*/ 904118 h 4764066"/>
              <a:gd name="connsiteX471" fmla="*/ 3347895 w 4803292"/>
              <a:gd name="connsiteY471" fmla="*/ 711517 h 4764066"/>
              <a:gd name="connsiteX472" fmla="*/ 3478945 w 4803292"/>
              <a:gd name="connsiteY472" fmla="*/ 842668 h 4764066"/>
              <a:gd name="connsiteX473" fmla="*/ 3347895 w 4803292"/>
              <a:gd name="connsiteY473" fmla="*/ 973820 h 4764066"/>
              <a:gd name="connsiteX474" fmla="*/ 3216765 w 4803292"/>
              <a:gd name="connsiteY474" fmla="*/ 842668 h 4764066"/>
              <a:gd name="connsiteX475" fmla="*/ 3347895 w 4803292"/>
              <a:gd name="connsiteY475" fmla="*/ 711517 h 4764066"/>
              <a:gd name="connsiteX476" fmla="*/ 3805808 w 4803292"/>
              <a:gd name="connsiteY476" fmla="*/ 698699 h 4764066"/>
              <a:gd name="connsiteX477" fmla="*/ 3919006 w 4803292"/>
              <a:gd name="connsiteY477" fmla="*/ 812064 h 4764066"/>
              <a:gd name="connsiteX478" fmla="*/ 3805808 w 4803292"/>
              <a:gd name="connsiteY478" fmla="*/ 925430 h 4764066"/>
              <a:gd name="connsiteX479" fmla="*/ 3692611 w 4803292"/>
              <a:gd name="connsiteY479" fmla="*/ 812064 h 4764066"/>
              <a:gd name="connsiteX480" fmla="*/ 3805808 w 4803292"/>
              <a:gd name="connsiteY480" fmla="*/ 698699 h 4764066"/>
              <a:gd name="connsiteX481" fmla="*/ 2344247 w 4803292"/>
              <a:gd name="connsiteY481" fmla="*/ 687883 h 4764066"/>
              <a:gd name="connsiteX482" fmla="*/ 2456484 w 4803292"/>
              <a:gd name="connsiteY482" fmla="*/ 754220 h 4764066"/>
              <a:gd name="connsiteX483" fmla="*/ 2578807 w 4803292"/>
              <a:gd name="connsiteY483" fmla="*/ 708313 h 4764066"/>
              <a:gd name="connsiteX484" fmla="*/ 2677835 w 4803292"/>
              <a:gd name="connsiteY484" fmla="*/ 793477 h 4764066"/>
              <a:gd name="connsiteX485" fmla="*/ 2806243 w 4803292"/>
              <a:gd name="connsiteY485" fmla="*/ 769202 h 4764066"/>
              <a:gd name="connsiteX486" fmla="*/ 2888860 w 4803292"/>
              <a:gd name="connsiteY486" fmla="*/ 870149 h 4764066"/>
              <a:gd name="connsiteX487" fmla="*/ 3019349 w 4803292"/>
              <a:gd name="connsiteY487" fmla="*/ 868947 h 4764066"/>
              <a:gd name="connsiteX488" fmla="*/ 3083473 w 4803292"/>
              <a:gd name="connsiteY488" fmla="*/ 982713 h 4764066"/>
              <a:gd name="connsiteX489" fmla="*/ 3212522 w 4803292"/>
              <a:gd name="connsiteY489" fmla="*/ 1003944 h 4764066"/>
              <a:gd name="connsiteX490" fmla="*/ 3255591 w 4803292"/>
              <a:gd name="connsiteY490" fmla="*/ 1127244 h 4764066"/>
              <a:gd name="connsiteX491" fmla="*/ 3378796 w 4803292"/>
              <a:gd name="connsiteY491" fmla="*/ 1170667 h 4764066"/>
              <a:gd name="connsiteX492" fmla="*/ 3400090 w 4803292"/>
              <a:gd name="connsiteY492" fmla="*/ 1299655 h 4764066"/>
              <a:gd name="connsiteX493" fmla="*/ 3513848 w 4803292"/>
              <a:gd name="connsiteY493" fmla="*/ 1363668 h 4764066"/>
              <a:gd name="connsiteX494" fmla="*/ 3512488 w 4803292"/>
              <a:gd name="connsiteY494" fmla="*/ 1494259 h 4764066"/>
              <a:gd name="connsiteX495" fmla="*/ 3613596 w 4803292"/>
              <a:gd name="connsiteY495" fmla="*/ 1577180 h 4764066"/>
              <a:gd name="connsiteX496" fmla="*/ 3589260 w 4803292"/>
              <a:gd name="connsiteY496" fmla="*/ 1705527 h 4764066"/>
              <a:gd name="connsiteX497" fmla="*/ 3674438 w 4803292"/>
              <a:gd name="connsiteY497" fmla="*/ 1804792 h 4764066"/>
              <a:gd name="connsiteX498" fmla="*/ 3628487 w 4803292"/>
              <a:gd name="connsiteY498" fmla="*/ 1927130 h 4764066"/>
              <a:gd name="connsiteX499" fmla="*/ 3695093 w 4803292"/>
              <a:gd name="connsiteY499" fmla="*/ 2039694 h 4764066"/>
              <a:gd name="connsiteX500" fmla="*/ 3628487 w 4803292"/>
              <a:gd name="connsiteY500" fmla="*/ 2151858 h 4764066"/>
              <a:gd name="connsiteX501" fmla="*/ 3674438 w 4803292"/>
              <a:gd name="connsiteY501" fmla="*/ 2274276 h 4764066"/>
              <a:gd name="connsiteX502" fmla="*/ 3589260 w 4803292"/>
              <a:gd name="connsiteY502" fmla="*/ 2373301 h 4764066"/>
              <a:gd name="connsiteX503" fmla="*/ 3613596 w 4803292"/>
              <a:gd name="connsiteY503" fmla="*/ 2501648 h 4764066"/>
              <a:gd name="connsiteX504" fmla="*/ 3512488 w 4803292"/>
              <a:gd name="connsiteY504" fmla="*/ 2584408 h 4764066"/>
              <a:gd name="connsiteX505" fmla="*/ 3513848 w 4803292"/>
              <a:gd name="connsiteY505" fmla="*/ 2715239 h 4764066"/>
              <a:gd name="connsiteX506" fmla="*/ 3400090 w 4803292"/>
              <a:gd name="connsiteY506" fmla="*/ 2779092 h 4764066"/>
              <a:gd name="connsiteX507" fmla="*/ 3378796 w 4803292"/>
              <a:gd name="connsiteY507" fmla="*/ 2908161 h 4764066"/>
              <a:gd name="connsiteX508" fmla="*/ 3255591 w 4803292"/>
              <a:gd name="connsiteY508" fmla="*/ 2951584 h 4764066"/>
              <a:gd name="connsiteX509" fmla="*/ 3212362 w 4803292"/>
              <a:gd name="connsiteY509" fmla="*/ 3074804 h 4764066"/>
              <a:gd name="connsiteX510" fmla="*/ 3083393 w 4803292"/>
              <a:gd name="connsiteY510" fmla="*/ 3096115 h 4764066"/>
              <a:gd name="connsiteX511" fmla="*/ 3019269 w 4803292"/>
              <a:gd name="connsiteY511" fmla="*/ 3209961 h 4764066"/>
              <a:gd name="connsiteX512" fmla="*/ 2888860 w 4803292"/>
              <a:gd name="connsiteY512" fmla="*/ 3208438 h 4764066"/>
              <a:gd name="connsiteX513" fmla="*/ 2805923 w 4803292"/>
              <a:gd name="connsiteY513" fmla="*/ 3309546 h 4764066"/>
              <a:gd name="connsiteX514" fmla="*/ 2678075 w 4803292"/>
              <a:gd name="connsiteY514" fmla="*/ 3285351 h 4764066"/>
              <a:gd name="connsiteX515" fmla="*/ 2578888 w 4803292"/>
              <a:gd name="connsiteY515" fmla="*/ 3370675 h 4764066"/>
              <a:gd name="connsiteX516" fmla="*/ 2456644 w 4803292"/>
              <a:gd name="connsiteY516" fmla="*/ 3324368 h 4764066"/>
              <a:gd name="connsiteX517" fmla="*/ 2344407 w 4803292"/>
              <a:gd name="connsiteY517" fmla="*/ 3391025 h 4764066"/>
              <a:gd name="connsiteX518" fmla="*/ 2232010 w 4803292"/>
              <a:gd name="connsiteY518" fmla="*/ 3324368 h 4764066"/>
              <a:gd name="connsiteX519" fmla="*/ 2109766 w 4803292"/>
              <a:gd name="connsiteY519" fmla="*/ 3370355 h 4764066"/>
              <a:gd name="connsiteX520" fmla="*/ 2010578 w 4803292"/>
              <a:gd name="connsiteY520" fmla="*/ 3285190 h 4764066"/>
              <a:gd name="connsiteX521" fmla="*/ 1882330 w 4803292"/>
              <a:gd name="connsiteY521" fmla="*/ 3309386 h 4764066"/>
              <a:gd name="connsiteX522" fmla="*/ 1799393 w 4803292"/>
              <a:gd name="connsiteY522" fmla="*/ 3208519 h 4764066"/>
              <a:gd name="connsiteX523" fmla="*/ 1668904 w 4803292"/>
              <a:gd name="connsiteY523" fmla="*/ 3209721 h 4764066"/>
              <a:gd name="connsiteX524" fmla="*/ 1604940 w 4803292"/>
              <a:gd name="connsiteY524" fmla="*/ 3095874 h 4764066"/>
              <a:gd name="connsiteX525" fmla="*/ 1476052 w 4803292"/>
              <a:gd name="connsiteY525" fmla="*/ 3074723 h 4764066"/>
              <a:gd name="connsiteX526" fmla="*/ 1432902 w 4803292"/>
              <a:gd name="connsiteY526" fmla="*/ 2951424 h 4764066"/>
              <a:gd name="connsiteX527" fmla="*/ 1309698 w 4803292"/>
              <a:gd name="connsiteY527" fmla="*/ 2908000 h 4764066"/>
              <a:gd name="connsiteX528" fmla="*/ 1288403 w 4803292"/>
              <a:gd name="connsiteY528" fmla="*/ 2779012 h 4764066"/>
              <a:gd name="connsiteX529" fmla="*/ 1174405 w 4803292"/>
              <a:gd name="connsiteY529" fmla="*/ 2715079 h 4764066"/>
              <a:gd name="connsiteX530" fmla="*/ 1176006 w 4803292"/>
              <a:gd name="connsiteY530" fmla="*/ 2584328 h 4764066"/>
              <a:gd name="connsiteX531" fmla="*/ 1075057 w 4803292"/>
              <a:gd name="connsiteY531" fmla="*/ 2501568 h 4764066"/>
              <a:gd name="connsiteX532" fmla="*/ 1099073 w 4803292"/>
              <a:gd name="connsiteY532" fmla="*/ 2373220 h 4764066"/>
              <a:gd name="connsiteX533" fmla="*/ 1013895 w 4803292"/>
              <a:gd name="connsiteY533" fmla="*/ 2274196 h 4764066"/>
              <a:gd name="connsiteX534" fmla="*/ 1060167 w 4803292"/>
              <a:gd name="connsiteY534" fmla="*/ 2151858 h 4764066"/>
              <a:gd name="connsiteX535" fmla="*/ 993481 w 4803292"/>
              <a:gd name="connsiteY535" fmla="*/ 2039534 h 4764066"/>
              <a:gd name="connsiteX536" fmla="*/ 1060167 w 4803292"/>
              <a:gd name="connsiteY536" fmla="*/ 1927130 h 4764066"/>
              <a:gd name="connsiteX537" fmla="*/ 1013895 w 4803292"/>
              <a:gd name="connsiteY537" fmla="*/ 1804792 h 4764066"/>
              <a:gd name="connsiteX538" fmla="*/ 1099073 w 4803292"/>
              <a:gd name="connsiteY538" fmla="*/ 1705527 h 4764066"/>
              <a:gd name="connsiteX539" fmla="*/ 1075057 w 4803292"/>
              <a:gd name="connsiteY539" fmla="*/ 1577180 h 4764066"/>
              <a:gd name="connsiteX540" fmla="*/ 1176166 w 4803292"/>
              <a:gd name="connsiteY540" fmla="*/ 1494259 h 4764066"/>
              <a:gd name="connsiteX541" fmla="*/ 1174325 w 4803292"/>
              <a:gd name="connsiteY541" fmla="*/ 1363668 h 4764066"/>
              <a:gd name="connsiteX542" fmla="*/ 1288323 w 4803292"/>
              <a:gd name="connsiteY542" fmla="*/ 1299655 h 4764066"/>
              <a:gd name="connsiteX543" fmla="*/ 1309618 w 4803292"/>
              <a:gd name="connsiteY543" fmla="*/ 1170667 h 4764066"/>
              <a:gd name="connsiteX544" fmla="*/ 1432822 w 4803292"/>
              <a:gd name="connsiteY544" fmla="*/ 1127324 h 4764066"/>
              <a:gd name="connsiteX545" fmla="*/ 1475972 w 4803292"/>
              <a:gd name="connsiteY545" fmla="*/ 1003944 h 4764066"/>
              <a:gd name="connsiteX546" fmla="*/ 1604860 w 4803292"/>
              <a:gd name="connsiteY546" fmla="*/ 982873 h 4764066"/>
              <a:gd name="connsiteX547" fmla="*/ 1668824 w 4803292"/>
              <a:gd name="connsiteY547" fmla="*/ 868947 h 4764066"/>
              <a:gd name="connsiteX548" fmla="*/ 1799473 w 4803292"/>
              <a:gd name="connsiteY548" fmla="*/ 870309 h 4764066"/>
              <a:gd name="connsiteX549" fmla="*/ 1882250 w 4803292"/>
              <a:gd name="connsiteY549" fmla="*/ 769202 h 4764066"/>
              <a:gd name="connsiteX550" fmla="*/ 2010578 w 4803292"/>
              <a:gd name="connsiteY550" fmla="*/ 793477 h 4764066"/>
              <a:gd name="connsiteX551" fmla="*/ 2109606 w 4803292"/>
              <a:gd name="connsiteY551" fmla="*/ 708313 h 4764066"/>
              <a:gd name="connsiteX552" fmla="*/ 2231850 w 4803292"/>
              <a:gd name="connsiteY552" fmla="*/ 754540 h 4764066"/>
              <a:gd name="connsiteX553" fmla="*/ 2344247 w 4803292"/>
              <a:gd name="connsiteY553" fmla="*/ 687883 h 4764066"/>
              <a:gd name="connsiteX554" fmla="*/ 3570447 w 4803292"/>
              <a:gd name="connsiteY554" fmla="*/ 463396 h 4764066"/>
              <a:gd name="connsiteX555" fmla="*/ 3683805 w 4803292"/>
              <a:gd name="connsiteY555" fmla="*/ 576761 h 4764066"/>
              <a:gd name="connsiteX556" fmla="*/ 3570447 w 4803292"/>
              <a:gd name="connsiteY556" fmla="*/ 690127 h 4764066"/>
              <a:gd name="connsiteX557" fmla="*/ 3457410 w 4803292"/>
              <a:gd name="connsiteY557" fmla="*/ 576761 h 4764066"/>
              <a:gd name="connsiteX558" fmla="*/ 3570447 w 4803292"/>
              <a:gd name="connsiteY558" fmla="*/ 463396 h 4764066"/>
              <a:gd name="connsiteX559" fmla="*/ 2072861 w 4803292"/>
              <a:gd name="connsiteY559" fmla="*/ 369899 h 4764066"/>
              <a:gd name="connsiteX560" fmla="*/ 2203911 w 4803292"/>
              <a:gd name="connsiteY560" fmla="*/ 500970 h 4764066"/>
              <a:gd name="connsiteX561" fmla="*/ 2072861 w 4803292"/>
              <a:gd name="connsiteY561" fmla="*/ 632202 h 4764066"/>
              <a:gd name="connsiteX562" fmla="*/ 1941891 w 4803292"/>
              <a:gd name="connsiteY562" fmla="*/ 500970 h 4764066"/>
              <a:gd name="connsiteX563" fmla="*/ 2072861 w 4803292"/>
              <a:gd name="connsiteY563" fmla="*/ 369899 h 4764066"/>
              <a:gd name="connsiteX564" fmla="*/ 2615072 w 4803292"/>
              <a:gd name="connsiteY564" fmla="*/ 369579 h 4764066"/>
              <a:gd name="connsiteX565" fmla="*/ 2746122 w 4803292"/>
              <a:gd name="connsiteY565" fmla="*/ 500810 h 4764066"/>
              <a:gd name="connsiteX566" fmla="*/ 2615072 w 4803292"/>
              <a:gd name="connsiteY566" fmla="*/ 631962 h 4764066"/>
              <a:gd name="connsiteX567" fmla="*/ 2483942 w 4803292"/>
              <a:gd name="connsiteY567" fmla="*/ 500810 h 4764066"/>
              <a:gd name="connsiteX568" fmla="*/ 2615072 w 4803292"/>
              <a:gd name="connsiteY568" fmla="*/ 369579 h 4764066"/>
              <a:gd name="connsiteX569" fmla="*/ 2344087 w 4803292"/>
              <a:gd name="connsiteY569" fmla="*/ 346024 h 4764066"/>
              <a:gd name="connsiteX570" fmla="*/ 2475137 w 4803292"/>
              <a:gd name="connsiteY570" fmla="*/ 477255 h 4764066"/>
              <a:gd name="connsiteX571" fmla="*/ 2344087 w 4803292"/>
              <a:gd name="connsiteY571" fmla="*/ 608407 h 4764066"/>
              <a:gd name="connsiteX572" fmla="*/ 2213037 w 4803292"/>
              <a:gd name="connsiteY572" fmla="*/ 477255 h 4764066"/>
              <a:gd name="connsiteX573" fmla="*/ 2344087 w 4803292"/>
              <a:gd name="connsiteY573" fmla="*/ 346024 h 4764066"/>
              <a:gd name="connsiteX574" fmla="*/ 3298021 w 4803292"/>
              <a:gd name="connsiteY574" fmla="*/ 272557 h 4764066"/>
              <a:gd name="connsiteX575" fmla="*/ 3411218 w 4803292"/>
              <a:gd name="connsiteY575" fmla="*/ 385762 h 4764066"/>
              <a:gd name="connsiteX576" fmla="*/ 3298021 w 4803292"/>
              <a:gd name="connsiteY576" fmla="*/ 499127 h 4764066"/>
              <a:gd name="connsiteX577" fmla="*/ 3184823 w 4803292"/>
              <a:gd name="connsiteY577" fmla="*/ 385762 h 4764066"/>
              <a:gd name="connsiteX578" fmla="*/ 3298021 w 4803292"/>
              <a:gd name="connsiteY578" fmla="*/ 272557 h 4764066"/>
              <a:gd name="connsiteX579" fmla="*/ 3793320 w 4803292"/>
              <a:gd name="connsiteY579" fmla="*/ 224968 h 4764066"/>
              <a:gd name="connsiteX580" fmla="*/ 3882421 w 4803292"/>
              <a:gd name="connsiteY580" fmla="*/ 314138 h 4764066"/>
              <a:gd name="connsiteX581" fmla="*/ 3793320 w 4803292"/>
              <a:gd name="connsiteY581" fmla="*/ 403468 h 4764066"/>
              <a:gd name="connsiteX582" fmla="*/ 3703979 w 4803292"/>
              <a:gd name="connsiteY582" fmla="*/ 314138 h 4764066"/>
              <a:gd name="connsiteX583" fmla="*/ 3793320 w 4803292"/>
              <a:gd name="connsiteY583" fmla="*/ 224968 h 4764066"/>
              <a:gd name="connsiteX584" fmla="*/ 3473821 w 4803292"/>
              <a:gd name="connsiteY584" fmla="*/ 0 h 4764066"/>
              <a:gd name="connsiteX585" fmla="*/ 3562922 w 4803292"/>
              <a:gd name="connsiteY585" fmla="*/ 89170 h 4764066"/>
              <a:gd name="connsiteX586" fmla="*/ 3473821 w 4803292"/>
              <a:gd name="connsiteY586" fmla="*/ 178340 h 4764066"/>
              <a:gd name="connsiteX587" fmla="*/ 3384560 w 4803292"/>
              <a:gd name="connsiteY587" fmla="*/ 89170 h 4764066"/>
              <a:gd name="connsiteX588" fmla="*/ 3473821 w 4803292"/>
              <a:gd name="connsiteY588" fmla="*/ 0 h 476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Lst>
            <a:rect l="l" t="t" r="r" b="b"/>
            <a:pathLst>
              <a:path w="4803292" h="4764066">
                <a:moveTo>
                  <a:pt x="3825502" y="4632114"/>
                </a:moveTo>
                <a:cubicBezTo>
                  <a:pt x="3861927" y="4632114"/>
                  <a:pt x="3891547" y="4661597"/>
                  <a:pt x="3891547" y="4698050"/>
                </a:cubicBezTo>
                <a:cubicBezTo>
                  <a:pt x="3891547" y="4734583"/>
                  <a:pt x="3861927" y="4764066"/>
                  <a:pt x="3825502" y="4764066"/>
                </a:cubicBezTo>
                <a:cubicBezTo>
                  <a:pt x="3789157" y="4764066"/>
                  <a:pt x="3759537" y="4734663"/>
                  <a:pt x="3759537" y="4698050"/>
                </a:cubicBezTo>
                <a:cubicBezTo>
                  <a:pt x="3759537" y="4661597"/>
                  <a:pt x="3789077" y="4632114"/>
                  <a:pt x="3825502" y="4632114"/>
                </a:cubicBezTo>
                <a:close/>
                <a:moveTo>
                  <a:pt x="3925010" y="4414517"/>
                </a:moveTo>
                <a:cubicBezTo>
                  <a:pt x="3961355" y="4414517"/>
                  <a:pt x="3990816" y="4444000"/>
                  <a:pt x="3990895" y="4480453"/>
                </a:cubicBezTo>
                <a:cubicBezTo>
                  <a:pt x="3990895" y="4517066"/>
                  <a:pt x="3961435" y="4546710"/>
                  <a:pt x="3925010" y="4546710"/>
                </a:cubicBezTo>
                <a:cubicBezTo>
                  <a:pt x="3888585" y="4546710"/>
                  <a:pt x="3858965" y="4517066"/>
                  <a:pt x="3858965" y="4480453"/>
                </a:cubicBezTo>
                <a:cubicBezTo>
                  <a:pt x="3858965" y="4444000"/>
                  <a:pt x="3888585" y="4414517"/>
                  <a:pt x="3925010" y="4414517"/>
                </a:cubicBezTo>
                <a:close/>
                <a:moveTo>
                  <a:pt x="3661709" y="4414517"/>
                </a:moveTo>
                <a:cubicBezTo>
                  <a:pt x="3698135" y="4414517"/>
                  <a:pt x="3727595" y="4444000"/>
                  <a:pt x="3727595" y="4480453"/>
                </a:cubicBezTo>
                <a:cubicBezTo>
                  <a:pt x="3727595" y="4517066"/>
                  <a:pt x="3698135" y="4546710"/>
                  <a:pt x="3661709" y="4546710"/>
                </a:cubicBezTo>
                <a:cubicBezTo>
                  <a:pt x="3625284" y="4546710"/>
                  <a:pt x="3595664" y="4517066"/>
                  <a:pt x="3595664" y="4480453"/>
                </a:cubicBezTo>
                <a:cubicBezTo>
                  <a:pt x="3595664" y="4444000"/>
                  <a:pt x="3625284" y="4414517"/>
                  <a:pt x="3661709" y="4414517"/>
                </a:cubicBezTo>
                <a:close/>
                <a:moveTo>
                  <a:pt x="3982170" y="3933336"/>
                </a:moveTo>
                <a:cubicBezTo>
                  <a:pt x="4018514" y="3933336"/>
                  <a:pt x="4047974" y="3962739"/>
                  <a:pt x="4048055" y="3999352"/>
                </a:cubicBezTo>
                <a:cubicBezTo>
                  <a:pt x="4048055" y="4035805"/>
                  <a:pt x="4018594" y="4065288"/>
                  <a:pt x="3982170" y="4065288"/>
                </a:cubicBezTo>
                <a:cubicBezTo>
                  <a:pt x="3945584" y="4065288"/>
                  <a:pt x="3915964" y="4035805"/>
                  <a:pt x="3915964" y="3999352"/>
                </a:cubicBezTo>
                <a:cubicBezTo>
                  <a:pt x="3915964" y="3962819"/>
                  <a:pt x="3945584" y="3933336"/>
                  <a:pt x="3982170" y="3933336"/>
                </a:cubicBezTo>
                <a:close/>
                <a:moveTo>
                  <a:pt x="3471579" y="3904333"/>
                </a:moveTo>
                <a:cubicBezTo>
                  <a:pt x="3520653" y="3904333"/>
                  <a:pt x="3560600" y="3944312"/>
                  <a:pt x="3560680" y="3993503"/>
                </a:cubicBezTo>
                <a:cubicBezTo>
                  <a:pt x="3560680" y="4042775"/>
                  <a:pt x="3520733" y="4082753"/>
                  <a:pt x="3471579" y="4082753"/>
                </a:cubicBezTo>
                <a:cubicBezTo>
                  <a:pt x="3422426" y="4082753"/>
                  <a:pt x="3382558" y="4042775"/>
                  <a:pt x="3382558" y="3993503"/>
                </a:cubicBezTo>
                <a:cubicBezTo>
                  <a:pt x="3382558" y="3944312"/>
                  <a:pt x="3422346" y="3904333"/>
                  <a:pt x="3471579" y="3904333"/>
                </a:cubicBezTo>
                <a:close/>
                <a:moveTo>
                  <a:pt x="3793560" y="3678564"/>
                </a:moveTo>
                <a:cubicBezTo>
                  <a:pt x="3842714" y="3678564"/>
                  <a:pt x="3882661" y="3718542"/>
                  <a:pt x="3882661" y="3767975"/>
                </a:cubicBezTo>
                <a:cubicBezTo>
                  <a:pt x="3882661" y="3817167"/>
                  <a:pt x="3842714" y="3857145"/>
                  <a:pt x="3793560" y="3857145"/>
                </a:cubicBezTo>
                <a:cubicBezTo>
                  <a:pt x="3744246" y="3857145"/>
                  <a:pt x="3704379" y="3817167"/>
                  <a:pt x="3704379" y="3767975"/>
                </a:cubicBezTo>
                <a:cubicBezTo>
                  <a:pt x="3704379" y="3718542"/>
                  <a:pt x="3744167" y="3678564"/>
                  <a:pt x="3793560" y="3678564"/>
                </a:cubicBezTo>
                <a:close/>
                <a:moveTo>
                  <a:pt x="4302789" y="3612387"/>
                </a:moveTo>
                <a:cubicBezTo>
                  <a:pt x="4339134" y="3612387"/>
                  <a:pt x="4368674" y="3641870"/>
                  <a:pt x="4368674" y="3678323"/>
                </a:cubicBezTo>
                <a:cubicBezTo>
                  <a:pt x="4368674" y="3714937"/>
                  <a:pt x="4339054" y="3744580"/>
                  <a:pt x="4302789" y="3744580"/>
                </a:cubicBezTo>
                <a:cubicBezTo>
                  <a:pt x="4266204" y="3744580"/>
                  <a:pt x="4236744" y="3714937"/>
                  <a:pt x="4236744" y="3678323"/>
                </a:cubicBezTo>
                <a:cubicBezTo>
                  <a:pt x="4236744" y="3641870"/>
                  <a:pt x="4266204" y="3612387"/>
                  <a:pt x="4302789" y="3612387"/>
                </a:cubicBezTo>
                <a:close/>
                <a:moveTo>
                  <a:pt x="3298021" y="3579620"/>
                </a:moveTo>
                <a:cubicBezTo>
                  <a:pt x="3360704" y="3579620"/>
                  <a:pt x="3411299" y="3630254"/>
                  <a:pt x="3411218" y="3692745"/>
                </a:cubicBezTo>
                <a:cubicBezTo>
                  <a:pt x="3411218" y="3755396"/>
                  <a:pt x="3360624" y="3806190"/>
                  <a:pt x="3298021" y="3806190"/>
                </a:cubicBezTo>
                <a:cubicBezTo>
                  <a:pt x="3235578" y="3806190"/>
                  <a:pt x="3184823" y="3755396"/>
                  <a:pt x="3184823" y="3692745"/>
                </a:cubicBezTo>
                <a:cubicBezTo>
                  <a:pt x="3184823" y="3630254"/>
                  <a:pt x="3235578" y="3579620"/>
                  <a:pt x="3298021" y="3579620"/>
                </a:cubicBezTo>
                <a:close/>
                <a:moveTo>
                  <a:pt x="4071430" y="3400478"/>
                </a:moveTo>
                <a:cubicBezTo>
                  <a:pt x="4120744" y="3400478"/>
                  <a:pt x="4160691" y="3440456"/>
                  <a:pt x="4160611" y="3489648"/>
                </a:cubicBezTo>
                <a:cubicBezTo>
                  <a:pt x="4160611" y="3538920"/>
                  <a:pt x="4120664" y="3578898"/>
                  <a:pt x="4071430" y="3578898"/>
                </a:cubicBezTo>
                <a:cubicBezTo>
                  <a:pt x="4022196" y="3578898"/>
                  <a:pt x="3982249" y="3538920"/>
                  <a:pt x="3982249" y="3489648"/>
                </a:cubicBezTo>
                <a:cubicBezTo>
                  <a:pt x="3982249" y="3440456"/>
                  <a:pt x="4022196" y="3400478"/>
                  <a:pt x="4071430" y="3400478"/>
                </a:cubicBezTo>
                <a:close/>
                <a:moveTo>
                  <a:pt x="616663" y="3400318"/>
                </a:moveTo>
                <a:cubicBezTo>
                  <a:pt x="665897" y="3400318"/>
                  <a:pt x="705844" y="3440296"/>
                  <a:pt x="705844" y="3489568"/>
                </a:cubicBezTo>
                <a:cubicBezTo>
                  <a:pt x="705844" y="3538840"/>
                  <a:pt x="665897" y="3578738"/>
                  <a:pt x="616663" y="3578738"/>
                </a:cubicBezTo>
                <a:cubicBezTo>
                  <a:pt x="567429" y="3578738"/>
                  <a:pt x="527482" y="3538840"/>
                  <a:pt x="527482" y="3489568"/>
                </a:cubicBezTo>
                <a:cubicBezTo>
                  <a:pt x="527482" y="3440296"/>
                  <a:pt x="567429" y="3400318"/>
                  <a:pt x="616663" y="3400318"/>
                </a:cubicBezTo>
                <a:close/>
                <a:moveTo>
                  <a:pt x="3570447" y="3388461"/>
                </a:moveTo>
                <a:cubicBezTo>
                  <a:pt x="3633050" y="3388461"/>
                  <a:pt x="3683805" y="3439255"/>
                  <a:pt x="3683805" y="3501906"/>
                </a:cubicBezTo>
                <a:cubicBezTo>
                  <a:pt x="3683805" y="3564397"/>
                  <a:pt x="3633050" y="3615192"/>
                  <a:pt x="3570447" y="3615192"/>
                </a:cubicBezTo>
                <a:cubicBezTo>
                  <a:pt x="3508005" y="3615192"/>
                  <a:pt x="3457410" y="3564397"/>
                  <a:pt x="3457410" y="3501906"/>
                </a:cubicBezTo>
                <a:cubicBezTo>
                  <a:pt x="3457410" y="3439255"/>
                  <a:pt x="3508005" y="3388461"/>
                  <a:pt x="3570447" y="3388461"/>
                </a:cubicBezTo>
                <a:close/>
                <a:moveTo>
                  <a:pt x="2878053" y="3376042"/>
                </a:moveTo>
                <a:cubicBezTo>
                  <a:pt x="2950262" y="3376042"/>
                  <a:pt x="3009023" y="3434768"/>
                  <a:pt x="3009023" y="3507194"/>
                </a:cubicBezTo>
                <a:cubicBezTo>
                  <a:pt x="3009023" y="3579619"/>
                  <a:pt x="2950262" y="3638345"/>
                  <a:pt x="2878053" y="3638345"/>
                </a:cubicBezTo>
                <a:cubicBezTo>
                  <a:pt x="2805523" y="3638345"/>
                  <a:pt x="2746843" y="3579619"/>
                  <a:pt x="2746843" y="3507194"/>
                </a:cubicBezTo>
                <a:cubicBezTo>
                  <a:pt x="2746843" y="3434768"/>
                  <a:pt x="2805523" y="3376042"/>
                  <a:pt x="2878053" y="3376042"/>
                </a:cubicBezTo>
                <a:close/>
                <a:moveTo>
                  <a:pt x="3124542" y="3260995"/>
                </a:moveTo>
                <a:cubicBezTo>
                  <a:pt x="3196831" y="3260995"/>
                  <a:pt x="3255752" y="3319560"/>
                  <a:pt x="3255752" y="3392146"/>
                </a:cubicBezTo>
                <a:cubicBezTo>
                  <a:pt x="3255752" y="3464492"/>
                  <a:pt x="3196831" y="3523297"/>
                  <a:pt x="3124542" y="3523297"/>
                </a:cubicBezTo>
                <a:cubicBezTo>
                  <a:pt x="3052252" y="3523297"/>
                  <a:pt x="2993572" y="3464492"/>
                  <a:pt x="2993572" y="3392146"/>
                </a:cubicBezTo>
                <a:cubicBezTo>
                  <a:pt x="2993572" y="3319560"/>
                  <a:pt x="3052252" y="3260995"/>
                  <a:pt x="3124542" y="3260995"/>
                </a:cubicBezTo>
                <a:close/>
                <a:moveTo>
                  <a:pt x="4562807" y="3240485"/>
                </a:moveTo>
                <a:cubicBezTo>
                  <a:pt x="4599312" y="3240485"/>
                  <a:pt x="4628852" y="3269968"/>
                  <a:pt x="4628852" y="3306421"/>
                </a:cubicBezTo>
                <a:cubicBezTo>
                  <a:pt x="4628852" y="3343034"/>
                  <a:pt x="4599392" y="3372678"/>
                  <a:pt x="4562807" y="3372678"/>
                </a:cubicBezTo>
                <a:cubicBezTo>
                  <a:pt x="4526542" y="3372678"/>
                  <a:pt x="4496922" y="3343034"/>
                  <a:pt x="4496922" y="3306421"/>
                </a:cubicBezTo>
                <a:cubicBezTo>
                  <a:pt x="4496922" y="3269968"/>
                  <a:pt x="4526542" y="3240485"/>
                  <a:pt x="4562807" y="3240485"/>
                </a:cubicBezTo>
                <a:close/>
                <a:moveTo>
                  <a:pt x="3805568" y="3153318"/>
                </a:moveTo>
                <a:cubicBezTo>
                  <a:pt x="3868171" y="3153318"/>
                  <a:pt x="3918926" y="3203952"/>
                  <a:pt x="3918926" y="3266443"/>
                </a:cubicBezTo>
                <a:cubicBezTo>
                  <a:pt x="3918926" y="3329094"/>
                  <a:pt x="3868171" y="3379889"/>
                  <a:pt x="3805568" y="3379889"/>
                </a:cubicBezTo>
                <a:cubicBezTo>
                  <a:pt x="3743126" y="3379889"/>
                  <a:pt x="3692531" y="3329094"/>
                  <a:pt x="3692531" y="3266443"/>
                </a:cubicBezTo>
                <a:cubicBezTo>
                  <a:pt x="3692531" y="3203952"/>
                  <a:pt x="3743126" y="3153318"/>
                  <a:pt x="3805568" y="3153318"/>
                </a:cubicBezTo>
                <a:close/>
                <a:moveTo>
                  <a:pt x="882365" y="3152997"/>
                </a:moveTo>
                <a:cubicBezTo>
                  <a:pt x="944967" y="3152997"/>
                  <a:pt x="995722" y="3203791"/>
                  <a:pt x="995722" y="3266442"/>
                </a:cubicBezTo>
                <a:cubicBezTo>
                  <a:pt x="995722" y="3329094"/>
                  <a:pt x="944967" y="3379728"/>
                  <a:pt x="882365" y="3379728"/>
                </a:cubicBezTo>
                <a:cubicBezTo>
                  <a:pt x="819762" y="3379728"/>
                  <a:pt x="769327" y="3329094"/>
                  <a:pt x="769327" y="3266442"/>
                </a:cubicBezTo>
                <a:cubicBezTo>
                  <a:pt x="769327" y="3203791"/>
                  <a:pt x="819762" y="3152997"/>
                  <a:pt x="882365" y="3152997"/>
                </a:cubicBezTo>
                <a:close/>
                <a:moveTo>
                  <a:pt x="3347574" y="3104847"/>
                </a:moveTo>
                <a:cubicBezTo>
                  <a:pt x="3419864" y="3104847"/>
                  <a:pt x="3478544" y="3163493"/>
                  <a:pt x="3478544" y="3235998"/>
                </a:cubicBezTo>
                <a:cubicBezTo>
                  <a:pt x="3478544" y="3308344"/>
                  <a:pt x="3419864" y="3367069"/>
                  <a:pt x="3347574" y="3367069"/>
                </a:cubicBezTo>
                <a:cubicBezTo>
                  <a:pt x="3275124" y="3367069"/>
                  <a:pt x="3216364" y="3308344"/>
                  <a:pt x="3216364" y="3235998"/>
                </a:cubicBezTo>
                <a:cubicBezTo>
                  <a:pt x="3216364" y="3163573"/>
                  <a:pt x="3275124" y="3104847"/>
                  <a:pt x="3347574" y="3104847"/>
                </a:cubicBezTo>
                <a:close/>
                <a:moveTo>
                  <a:pt x="1340279" y="3104687"/>
                </a:moveTo>
                <a:cubicBezTo>
                  <a:pt x="1412728" y="3104687"/>
                  <a:pt x="1471329" y="3163333"/>
                  <a:pt x="1471329" y="3235838"/>
                </a:cubicBezTo>
                <a:cubicBezTo>
                  <a:pt x="1471329" y="3308344"/>
                  <a:pt x="1412648" y="3366910"/>
                  <a:pt x="1340279" y="3366910"/>
                </a:cubicBezTo>
                <a:cubicBezTo>
                  <a:pt x="1267909" y="3366910"/>
                  <a:pt x="1209229" y="3308264"/>
                  <a:pt x="1209229" y="3235838"/>
                </a:cubicBezTo>
                <a:cubicBezTo>
                  <a:pt x="1209229" y="3163413"/>
                  <a:pt x="1267829" y="3104687"/>
                  <a:pt x="1340279" y="3104687"/>
                </a:cubicBezTo>
                <a:close/>
                <a:moveTo>
                  <a:pt x="4296945" y="3078329"/>
                </a:moveTo>
                <a:cubicBezTo>
                  <a:pt x="4346019" y="3078329"/>
                  <a:pt x="4386046" y="3118147"/>
                  <a:pt x="4386046" y="3167499"/>
                </a:cubicBezTo>
                <a:cubicBezTo>
                  <a:pt x="4386046" y="3216691"/>
                  <a:pt x="4346098" y="3256669"/>
                  <a:pt x="4296945" y="3256669"/>
                </a:cubicBezTo>
                <a:cubicBezTo>
                  <a:pt x="4247791" y="3256669"/>
                  <a:pt x="4207924" y="3216691"/>
                  <a:pt x="4207924" y="3167499"/>
                </a:cubicBezTo>
                <a:cubicBezTo>
                  <a:pt x="4207924" y="3118227"/>
                  <a:pt x="4247711" y="3078329"/>
                  <a:pt x="4296945" y="3078329"/>
                </a:cubicBezTo>
                <a:close/>
                <a:moveTo>
                  <a:pt x="391148" y="3078168"/>
                </a:moveTo>
                <a:cubicBezTo>
                  <a:pt x="440382" y="3078168"/>
                  <a:pt x="480409" y="3118226"/>
                  <a:pt x="480329" y="3167258"/>
                </a:cubicBezTo>
                <a:cubicBezTo>
                  <a:pt x="480329" y="3216610"/>
                  <a:pt x="440382" y="3256508"/>
                  <a:pt x="391148" y="3256508"/>
                </a:cubicBezTo>
                <a:cubicBezTo>
                  <a:pt x="341914" y="3256508"/>
                  <a:pt x="302127" y="3216690"/>
                  <a:pt x="302127" y="3167258"/>
                </a:cubicBezTo>
                <a:cubicBezTo>
                  <a:pt x="302127" y="3118147"/>
                  <a:pt x="341914" y="3078168"/>
                  <a:pt x="391148" y="3078168"/>
                </a:cubicBezTo>
                <a:close/>
                <a:moveTo>
                  <a:pt x="1148227" y="2912647"/>
                </a:moveTo>
                <a:cubicBezTo>
                  <a:pt x="1220757" y="2912647"/>
                  <a:pt x="1279437" y="2971132"/>
                  <a:pt x="1279437" y="3043798"/>
                </a:cubicBezTo>
                <a:cubicBezTo>
                  <a:pt x="1279437" y="3116304"/>
                  <a:pt x="1220757" y="3174869"/>
                  <a:pt x="1148227" y="3174869"/>
                </a:cubicBezTo>
                <a:cubicBezTo>
                  <a:pt x="1075937" y="3174869"/>
                  <a:pt x="1017257" y="3116304"/>
                  <a:pt x="1017257" y="3043798"/>
                </a:cubicBezTo>
                <a:cubicBezTo>
                  <a:pt x="1017257" y="2971212"/>
                  <a:pt x="1075937" y="2912647"/>
                  <a:pt x="1148227" y="2912647"/>
                </a:cubicBezTo>
                <a:close/>
                <a:moveTo>
                  <a:pt x="3540026" y="2912086"/>
                </a:moveTo>
                <a:cubicBezTo>
                  <a:pt x="3612315" y="2912086"/>
                  <a:pt x="3670996" y="2970732"/>
                  <a:pt x="3670996" y="3043237"/>
                </a:cubicBezTo>
                <a:cubicBezTo>
                  <a:pt x="3670996" y="3115583"/>
                  <a:pt x="3612315" y="3174388"/>
                  <a:pt x="3540026" y="3174388"/>
                </a:cubicBezTo>
                <a:cubicBezTo>
                  <a:pt x="3467656" y="3174388"/>
                  <a:pt x="3408816" y="3115583"/>
                  <a:pt x="3408816" y="3043237"/>
                </a:cubicBezTo>
                <a:cubicBezTo>
                  <a:pt x="3408816" y="2970812"/>
                  <a:pt x="3467576" y="2912086"/>
                  <a:pt x="3540026" y="2912086"/>
                </a:cubicBezTo>
                <a:close/>
                <a:moveTo>
                  <a:pt x="3996499" y="2880680"/>
                </a:moveTo>
                <a:cubicBezTo>
                  <a:pt x="4058941" y="2880680"/>
                  <a:pt x="4109696" y="2931314"/>
                  <a:pt x="4109696" y="2993805"/>
                </a:cubicBezTo>
                <a:cubicBezTo>
                  <a:pt x="4109696" y="3056456"/>
                  <a:pt x="4058941" y="3107250"/>
                  <a:pt x="3996499" y="3107250"/>
                </a:cubicBezTo>
                <a:cubicBezTo>
                  <a:pt x="3934056" y="3107250"/>
                  <a:pt x="3883301" y="3056456"/>
                  <a:pt x="3883301" y="2993805"/>
                </a:cubicBezTo>
                <a:cubicBezTo>
                  <a:pt x="3883301" y="2931314"/>
                  <a:pt x="3934056" y="2880680"/>
                  <a:pt x="3996499" y="2880680"/>
                </a:cubicBezTo>
                <a:close/>
                <a:moveTo>
                  <a:pt x="691675" y="2880600"/>
                </a:moveTo>
                <a:cubicBezTo>
                  <a:pt x="754117" y="2880600"/>
                  <a:pt x="804872" y="2931234"/>
                  <a:pt x="804872" y="2993885"/>
                </a:cubicBezTo>
                <a:cubicBezTo>
                  <a:pt x="804872" y="3056376"/>
                  <a:pt x="754117" y="3107170"/>
                  <a:pt x="691675" y="3107170"/>
                </a:cubicBezTo>
                <a:cubicBezTo>
                  <a:pt x="629152" y="3107170"/>
                  <a:pt x="578477" y="3056376"/>
                  <a:pt x="578477" y="2993885"/>
                </a:cubicBezTo>
                <a:cubicBezTo>
                  <a:pt x="578477" y="2931234"/>
                  <a:pt x="629152" y="2880600"/>
                  <a:pt x="691675" y="2880600"/>
                </a:cubicBezTo>
                <a:close/>
                <a:moveTo>
                  <a:pt x="4737247" y="2846390"/>
                </a:moveTo>
                <a:cubicBezTo>
                  <a:pt x="4773832" y="2846390"/>
                  <a:pt x="4803292" y="2875873"/>
                  <a:pt x="4803292" y="2912326"/>
                </a:cubicBezTo>
                <a:cubicBezTo>
                  <a:pt x="4803292" y="2948940"/>
                  <a:pt x="4773832" y="2978583"/>
                  <a:pt x="4737247" y="2978583"/>
                </a:cubicBezTo>
                <a:cubicBezTo>
                  <a:pt x="4700902" y="2978583"/>
                  <a:pt x="4671282" y="2948940"/>
                  <a:pt x="4671282" y="2912326"/>
                </a:cubicBezTo>
                <a:cubicBezTo>
                  <a:pt x="4671282" y="2875873"/>
                  <a:pt x="4700822" y="2846390"/>
                  <a:pt x="4737247" y="2846390"/>
                </a:cubicBezTo>
                <a:close/>
                <a:moveTo>
                  <a:pt x="4463140" y="2721728"/>
                </a:moveTo>
                <a:cubicBezTo>
                  <a:pt x="4512213" y="2721728"/>
                  <a:pt x="4552160" y="2761786"/>
                  <a:pt x="4552160" y="2810898"/>
                </a:cubicBezTo>
                <a:cubicBezTo>
                  <a:pt x="4552160" y="2860170"/>
                  <a:pt x="4512213" y="2900068"/>
                  <a:pt x="4463140" y="2900068"/>
                </a:cubicBezTo>
                <a:cubicBezTo>
                  <a:pt x="4413745" y="2900068"/>
                  <a:pt x="4373798" y="2860170"/>
                  <a:pt x="4373798" y="2810898"/>
                </a:cubicBezTo>
                <a:cubicBezTo>
                  <a:pt x="4373798" y="2761786"/>
                  <a:pt x="4413745" y="2721728"/>
                  <a:pt x="4463140" y="2721728"/>
                </a:cubicBezTo>
                <a:close/>
                <a:moveTo>
                  <a:pt x="225114" y="2721728"/>
                </a:moveTo>
                <a:cubicBezTo>
                  <a:pt x="274268" y="2721728"/>
                  <a:pt x="314215" y="2761626"/>
                  <a:pt x="314215" y="2810898"/>
                </a:cubicBezTo>
                <a:cubicBezTo>
                  <a:pt x="314215" y="2860170"/>
                  <a:pt x="274268" y="2900068"/>
                  <a:pt x="225114" y="2900068"/>
                </a:cubicBezTo>
                <a:cubicBezTo>
                  <a:pt x="175720" y="2900068"/>
                  <a:pt x="135933" y="2860170"/>
                  <a:pt x="135933" y="2810898"/>
                </a:cubicBezTo>
                <a:cubicBezTo>
                  <a:pt x="135933" y="2761626"/>
                  <a:pt x="175720" y="2721728"/>
                  <a:pt x="225114" y="2721728"/>
                </a:cubicBezTo>
                <a:close/>
                <a:moveTo>
                  <a:pt x="3695973" y="2689041"/>
                </a:moveTo>
                <a:cubicBezTo>
                  <a:pt x="3768342" y="2689041"/>
                  <a:pt x="3827023" y="2747847"/>
                  <a:pt x="3827023" y="2820192"/>
                </a:cubicBezTo>
                <a:cubicBezTo>
                  <a:pt x="3827023" y="2892538"/>
                  <a:pt x="3768342" y="2951263"/>
                  <a:pt x="3695973" y="2951263"/>
                </a:cubicBezTo>
                <a:cubicBezTo>
                  <a:pt x="3623843" y="2951263"/>
                  <a:pt x="3564923" y="2892538"/>
                  <a:pt x="3564923" y="2820192"/>
                </a:cubicBezTo>
                <a:cubicBezTo>
                  <a:pt x="3564923" y="2747847"/>
                  <a:pt x="3623763" y="2689041"/>
                  <a:pt x="3695973" y="2689041"/>
                </a:cubicBezTo>
                <a:close/>
                <a:moveTo>
                  <a:pt x="992200" y="2689041"/>
                </a:moveTo>
                <a:cubicBezTo>
                  <a:pt x="1064489" y="2689041"/>
                  <a:pt x="1123170" y="2747847"/>
                  <a:pt x="1123170" y="2820192"/>
                </a:cubicBezTo>
                <a:cubicBezTo>
                  <a:pt x="1123170" y="2892538"/>
                  <a:pt x="1064489" y="2951264"/>
                  <a:pt x="992200" y="2951264"/>
                </a:cubicBezTo>
                <a:cubicBezTo>
                  <a:pt x="919750" y="2951264"/>
                  <a:pt x="860990" y="2892538"/>
                  <a:pt x="860990" y="2820192"/>
                </a:cubicBezTo>
                <a:cubicBezTo>
                  <a:pt x="860990" y="2747847"/>
                  <a:pt x="919750" y="2688961"/>
                  <a:pt x="992200" y="2689041"/>
                </a:cubicBezTo>
                <a:close/>
                <a:moveTo>
                  <a:pt x="4137075" y="2579040"/>
                </a:moveTo>
                <a:cubicBezTo>
                  <a:pt x="4199518" y="2579040"/>
                  <a:pt x="4250113" y="2629674"/>
                  <a:pt x="4250113" y="2692165"/>
                </a:cubicBezTo>
                <a:cubicBezTo>
                  <a:pt x="4250113" y="2754816"/>
                  <a:pt x="4199598" y="2805450"/>
                  <a:pt x="4137075" y="2805450"/>
                </a:cubicBezTo>
                <a:cubicBezTo>
                  <a:pt x="4074473" y="2805450"/>
                  <a:pt x="4023718" y="2754816"/>
                  <a:pt x="4023718" y="2692165"/>
                </a:cubicBezTo>
                <a:cubicBezTo>
                  <a:pt x="4023718" y="2629674"/>
                  <a:pt x="4074473" y="2579040"/>
                  <a:pt x="4137075" y="2579040"/>
                </a:cubicBezTo>
                <a:close/>
                <a:moveTo>
                  <a:pt x="551018" y="2578880"/>
                </a:moveTo>
                <a:cubicBezTo>
                  <a:pt x="613620" y="2578880"/>
                  <a:pt x="664375" y="2629594"/>
                  <a:pt x="664375" y="2692005"/>
                </a:cubicBezTo>
                <a:cubicBezTo>
                  <a:pt x="664375" y="2754656"/>
                  <a:pt x="613620" y="2805450"/>
                  <a:pt x="551018" y="2805450"/>
                </a:cubicBezTo>
                <a:cubicBezTo>
                  <a:pt x="488575" y="2805450"/>
                  <a:pt x="437980" y="2754656"/>
                  <a:pt x="437980" y="2692005"/>
                </a:cubicBezTo>
                <a:cubicBezTo>
                  <a:pt x="437980" y="2629674"/>
                  <a:pt x="488575" y="2578880"/>
                  <a:pt x="551018" y="2578880"/>
                </a:cubicBezTo>
                <a:close/>
                <a:moveTo>
                  <a:pt x="3811092" y="2442281"/>
                </a:moveTo>
                <a:cubicBezTo>
                  <a:pt x="3883381" y="2442281"/>
                  <a:pt x="3942062" y="2501007"/>
                  <a:pt x="3942062" y="2573432"/>
                </a:cubicBezTo>
                <a:cubicBezTo>
                  <a:pt x="3942062" y="2645858"/>
                  <a:pt x="3883381" y="2704583"/>
                  <a:pt x="3811092" y="2704583"/>
                </a:cubicBezTo>
                <a:cubicBezTo>
                  <a:pt x="3738562" y="2704583"/>
                  <a:pt x="3679802" y="2645858"/>
                  <a:pt x="3679882" y="2573432"/>
                </a:cubicBezTo>
                <a:cubicBezTo>
                  <a:pt x="3679882" y="2501007"/>
                  <a:pt x="3738562" y="2442281"/>
                  <a:pt x="3811092" y="2442281"/>
                </a:cubicBezTo>
                <a:close/>
                <a:moveTo>
                  <a:pt x="877161" y="2442201"/>
                </a:moveTo>
                <a:cubicBezTo>
                  <a:pt x="949450" y="2442201"/>
                  <a:pt x="1008291" y="2501007"/>
                  <a:pt x="1008211" y="2573352"/>
                </a:cubicBezTo>
                <a:cubicBezTo>
                  <a:pt x="1008211" y="2645778"/>
                  <a:pt x="949450" y="2704503"/>
                  <a:pt x="877161" y="2704503"/>
                </a:cubicBezTo>
                <a:cubicBezTo>
                  <a:pt x="804871" y="2704503"/>
                  <a:pt x="745951" y="2645858"/>
                  <a:pt x="745951" y="2573352"/>
                </a:cubicBezTo>
                <a:cubicBezTo>
                  <a:pt x="745951" y="2500927"/>
                  <a:pt x="804871" y="2442201"/>
                  <a:pt x="877161" y="2442201"/>
                </a:cubicBezTo>
                <a:close/>
                <a:moveTo>
                  <a:pt x="4564809" y="2341975"/>
                </a:moveTo>
                <a:cubicBezTo>
                  <a:pt x="4613963" y="2341975"/>
                  <a:pt x="4653910" y="2381873"/>
                  <a:pt x="4653910" y="2431145"/>
                </a:cubicBezTo>
                <a:cubicBezTo>
                  <a:pt x="4653910" y="2480337"/>
                  <a:pt x="4613963" y="2520315"/>
                  <a:pt x="4564809" y="2520315"/>
                </a:cubicBezTo>
                <a:cubicBezTo>
                  <a:pt x="4515575" y="2520315"/>
                  <a:pt x="4475628" y="2480337"/>
                  <a:pt x="4475628" y="2431145"/>
                </a:cubicBezTo>
                <a:cubicBezTo>
                  <a:pt x="4475628" y="2381873"/>
                  <a:pt x="4515575" y="2341975"/>
                  <a:pt x="4564809" y="2341975"/>
                </a:cubicBezTo>
                <a:close/>
                <a:moveTo>
                  <a:pt x="123365" y="2341975"/>
                </a:moveTo>
                <a:cubicBezTo>
                  <a:pt x="172679" y="2341975"/>
                  <a:pt x="212466" y="2381953"/>
                  <a:pt x="212466" y="2431145"/>
                </a:cubicBezTo>
                <a:cubicBezTo>
                  <a:pt x="212466" y="2480337"/>
                  <a:pt x="172679" y="2520315"/>
                  <a:pt x="123365" y="2520315"/>
                </a:cubicBezTo>
                <a:cubicBezTo>
                  <a:pt x="73971" y="2520315"/>
                  <a:pt x="34184" y="2480337"/>
                  <a:pt x="34184" y="2431145"/>
                </a:cubicBezTo>
                <a:cubicBezTo>
                  <a:pt x="34184" y="2381953"/>
                  <a:pt x="73971" y="2341975"/>
                  <a:pt x="123365" y="2341975"/>
                </a:cubicBezTo>
                <a:close/>
                <a:moveTo>
                  <a:pt x="4223054" y="2257692"/>
                </a:moveTo>
                <a:cubicBezTo>
                  <a:pt x="4285497" y="2257692"/>
                  <a:pt x="4336252" y="2308326"/>
                  <a:pt x="4336252" y="2370897"/>
                </a:cubicBezTo>
                <a:cubicBezTo>
                  <a:pt x="4336252" y="2433548"/>
                  <a:pt x="4285497" y="2484262"/>
                  <a:pt x="4223054" y="2484262"/>
                </a:cubicBezTo>
                <a:cubicBezTo>
                  <a:pt x="4160612" y="2484262"/>
                  <a:pt x="4109857" y="2433548"/>
                  <a:pt x="4109857" y="2370897"/>
                </a:cubicBezTo>
                <a:cubicBezTo>
                  <a:pt x="4109857" y="2308326"/>
                  <a:pt x="4160612" y="2257692"/>
                  <a:pt x="4223054" y="2257692"/>
                </a:cubicBezTo>
                <a:close/>
                <a:moveTo>
                  <a:pt x="464959" y="2257452"/>
                </a:moveTo>
                <a:cubicBezTo>
                  <a:pt x="527561" y="2257452"/>
                  <a:pt x="578156" y="2308246"/>
                  <a:pt x="578156" y="2370817"/>
                </a:cubicBezTo>
                <a:cubicBezTo>
                  <a:pt x="578156" y="2433469"/>
                  <a:pt x="527561" y="2484183"/>
                  <a:pt x="464959" y="2484183"/>
                </a:cubicBezTo>
                <a:cubicBezTo>
                  <a:pt x="402356" y="2484183"/>
                  <a:pt x="351921" y="2433469"/>
                  <a:pt x="351921" y="2370817"/>
                </a:cubicBezTo>
                <a:cubicBezTo>
                  <a:pt x="351921" y="2308246"/>
                  <a:pt x="402356" y="2257452"/>
                  <a:pt x="464959" y="2257452"/>
                </a:cubicBezTo>
                <a:close/>
                <a:moveTo>
                  <a:pt x="3881460" y="2179498"/>
                </a:moveTo>
                <a:cubicBezTo>
                  <a:pt x="3953909" y="2179498"/>
                  <a:pt x="4012510" y="2238224"/>
                  <a:pt x="4012510" y="2310569"/>
                </a:cubicBezTo>
                <a:cubicBezTo>
                  <a:pt x="4012510" y="2382995"/>
                  <a:pt x="3953909" y="2441800"/>
                  <a:pt x="3881460" y="2441800"/>
                </a:cubicBezTo>
                <a:cubicBezTo>
                  <a:pt x="3809171" y="2441800"/>
                  <a:pt x="3750330" y="2382995"/>
                  <a:pt x="3750330" y="2310569"/>
                </a:cubicBezTo>
                <a:cubicBezTo>
                  <a:pt x="3750330" y="2238224"/>
                  <a:pt x="3809171" y="2179498"/>
                  <a:pt x="3881460" y="2179498"/>
                </a:cubicBezTo>
                <a:close/>
                <a:moveTo>
                  <a:pt x="806713" y="2179498"/>
                </a:moveTo>
                <a:cubicBezTo>
                  <a:pt x="879082" y="2179498"/>
                  <a:pt x="937763" y="2238144"/>
                  <a:pt x="937763" y="2310569"/>
                </a:cubicBezTo>
                <a:cubicBezTo>
                  <a:pt x="937763" y="2382995"/>
                  <a:pt x="879162" y="2441800"/>
                  <a:pt x="806713" y="2441800"/>
                </a:cubicBezTo>
                <a:cubicBezTo>
                  <a:pt x="734423" y="2441800"/>
                  <a:pt x="675583" y="2382995"/>
                  <a:pt x="675583" y="2310569"/>
                </a:cubicBezTo>
                <a:cubicBezTo>
                  <a:pt x="675583" y="2238224"/>
                  <a:pt x="734343" y="2179498"/>
                  <a:pt x="806713" y="2179498"/>
                </a:cubicBezTo>
                <a:close/>
                <a:moveTo>
                  <a:pt x="89181" y="1950284"/>
                </a:moveTo>
                <a:cubicBezTo>
                  <a:pt x="138335" y="1950284"/>
                  <a:pt x="178282" y="1990262"/>
                  <a:pt x="178282" y="2039454"/>
                </a:cubicBezTo>
                <a:cubicBezTo>
                  <a:pt x="178282" y="2088726"/>
                  <a:pt x="138255" y="2128624"/>
                  <a:pt x="89181" y="2128624"/>
                </a:cubicBezTo>
                <a:cubicBezTo>
                  <a:pt x="39947" y="2128624"/>
                  <a:pt x="0" y="2088646"/>
                  <a:pt x="0" y="2039454"/>
                </a:cubicBezTo>
                <a:cubicBezTo>
                  <a:pt x="0" y="1990262"/>
                  <a:pt x="39947" y="1950284"/>
                  <a:pt x="89181" y="1950284"/>
                </a:cubicBezTo>
                <a:close/>
                <a:moveTo>
                  <a:pt x="4597391" y="1950204"/>
                </a:moveTo>
                <a:cubicBezTo>
                  <a:pt x="4646545" y="1950204"/>
                  <a:pt x="4686492" y="1990182"/>
                  <a:pt x="4686492" y="2039374"/>
                </a:cubicBezTo>
                <a:cubicBezTo>
                  <a:pt x="4686492" y="2088566"/>
                  <a:pt x="4646545" y="2128544"/>
                  <a:pt x="4597391" y="2128544"/>
                </a:cubicBezTo>
                <a:cubicBezTo>
                  <a:pt x="4547997" y="2128544"/>
                  <a:pt x="4508050" y="2088566"/>
                  <a:pt x="4508050" y="2039374"/>
                </a:cubicBezTo>
                <a:cubicBezTo>
                  <a:pt x="4508050" y="1990182"/>
                  <a:pt x="4547997" y="1950204"/>
                  <a:pt x="4597391" y="1950204"/>
                </a:cubicBezTo>
                <a:close/>
                <a:moveTo>
                  <a:pt x="4252194" y="1926169"/>
                </a:moveTo>
                <a:cubicBezTo>
                  <a:pt x="4314558" y="1926169"/>
                  <a:pt x="4365312" y="1976963"/>
                  <a:pt x="4365232" y="2039534"/>
                </a:cubicBezTo>
                <a:cubicBezTo>
                  <a:pt x="4365232" y="2102105"/>
                  <a:pt x="4314477" y="2152900"/>
                  <a:pt x="4252194" y="2152900"/>
                </a:cubicBezTo>
                <a:cubicBezTo>
                  <a:pt x="4189592" y="2152900"/>
                  <a:pt x="4138837" y="2102105"/>
                  <a:pt x="4138837" y="2039534"/>
                </a:cubicBezTo>
                <a:cubicBezTo>
                  <a:pt x="4138837" y="1977043"/>
                  <a:pt x="4189592" y="1926169"/>
                  <a:pt x="4252194" y="1926169"/>
                </a:cubicBezTo>
                <a:close/>
                <a:moveTo>
                  <a:pt x="436060" y="1926088"/>
                </a:moveTo>
                <a:cubicBezTo>
                  <a:pt x="498662" y="1926088"/>
                  <a:pt x="549257" y="1976962"/>
                  <a:pt x="549257" y="2039454"/>
                </a:cubicBezTo>
                <a:cubicBezTo>
                  <a:pt x="549257" y="2102025"/>
                  <a:pt x="498662" y="2152819"/>
                  <a:pt x="436060" y="2152819"/>
                </a:cubicBezTo>
                <a:cubicBezTo>
                  <a:pt x="373537" y="2152819"/>
                  <a:pt x="322862" y="2102105"/>
                  <a:pt x="322862" y="2039454"/>
                </a:cubicBezTo>
                <a:cubicBezTo>
                  <a:pt x="322862" y="1976962"/>
                  <a:pt x="373537" y="1926088"/>
                  <a:pt x="436060" y="1926088"/>
                </a:cubicBezTo>
                <a:close/>
                <a:moveTo>
                  <a:pt x="3905237" y="1908383"/>
                </a:moveTo>
                <a:cubicBezTo>
                  <a:pt x="3977606" y="1908383"/>
                  <a:pt x="4036287" y="1967109"/>
                  <a:pt x="4036287" y="2039534"/>
                </a:cubicBezTo>
                <a:cubicBezTo>
                  <a:pt x="4036287" y="2111960"/>
                  <a:pt x="3977686" y="2170685"/>
                  <a:pt x="3905237" y="2170685"/>
                </a:cubicBezTo>
                <a:cubicBezTo>
                  <a:pt x="3832787" y="2170685"/>
                  <a:pt x="3774107" y="2111960"/>
                  <a:pt x="3774107" y="2039534"/>
                </a:cubicBezTo>
                <a:cubicBezTo>
                  <a:pt x="3774107" y="1967109"/>
                  <a:pt x="3832787" y="1908383"/>
                  <a:pt x="3905237" y="1908383"/>
                </a:cubicBezTo>
                <a:close/>
                <a:moveTo>
                  <a:pt x="783097" y="1908383"/>
                </a:moveTo>
                <a:cubicBezTo>
                  <a:pt x="855386" y="1908383"/>
                  <a:pt x="914067" y="1967109"/>
                  <a:pt x="914067" y="2039534"/>
                </a:cubicBezTo>
                <a:cubicBezTo>
                  <a:pt x="914067" y="2111960"/>
                  <a:pt x="855386" y="2170685"/>
                  <a:pt x="783097" y="2170685"/>
                </a:cubicBezTo>
                <a:cubicBezTo>
                  <a:pt x="710567" y="2170685"/>
                  <a:pt x="651887" y="2111960"/>
                  <a:pt x="651887" y="2039534"/>
                </a:cubicBezTo>
                <a:cubicBezTo>
                  <a:pt x="651887" y="1967109"/>
                  <a:pt x="710487" y="1908383"/>
                  <a:pt x="783097" y="1908383"/>
                </a:cubicBezTo>
                <a:close/>
                <a:moveTo>
                  <a:pt x="3881460" y="1637027"/>
                </a:moveTo>
                <a:cubicBezTo>
                  <a:pt x="3953909" y="1637027"/>
                  <a:pt x="4012510" y="1695753"/>
                  <a:pt x="4012510" y="1768178"/>
                </a:cubicBezTo>
                <a:cubicBezTo>
                  <a:pt x="4012510" y="1840764"/>
                  <a:pt x="3953909" y="1899329"/>
                  <a:pt x="3881460" y="1899329"/>
                </a:cubicBezTo>
                <a:cubicBezTo>
                  <a:pt x="3809171" y="1899329"/>
                  <a:pt x="3750330" y="1840764"/>
                  <a:pt x="3750330" y="1768178"/>
                </a:cubicBezTo>
                <a:cubicBezTo>
                  <a:pt x="3750330" y="1695753"/>
                  <a:pt x="3809171" y="1637027"/>
                  <a:pt x="3881460" y="1637027"/>
                </a:cubicBezTo>
                <a:close/>
                <a:moveTo>
                  <a:pt x="806633" y="1637027"/>
                </a:moveTo>
                <a:cubicBezTo>
                  <a:pt x="879002" y="1637027"/>
                  <a:pt x="937683" y="1695753"/>
                  <a:pt x="937683" y="1768178"/>
                </a:cubicBezTo>
                <a:cubicBezTo>
                  <a:pt x="937683" y="1840764"/>
                  <a:pt x="879082" y="1899329"/>
                  <a:pt x="806633" y="1899329"/>
                </a:cubicBezTo>
                <a:cubicBezTo>
                  <a:pt x="734343" y="1899329"/>
                  <a:pt x="675583" y="1840764"/>
                  <a:pt x="675503" y="1768178"/>
                </a:cubicBezTo>
                <a:cubicBezTo>
                  <a:pt x="675503" y="1695753"/>
                  <a:pt x="734343" y="1637027"/>
                  <a:pt x="806633" y="1637027"/>
                </a:cubicBezTo>
                <a:close/>
                <a:moveTo>
                  <a:pt x="4222975" y="1594645"/>
                </a:moveTo>
                <a:cubicBezTo>
                  <a:pt x="4285417" y="1594645"/>
                  <a:pt x="4336172" y="1645199"/>
                  <a:pt x="4336172" y="1707850"/>
                </a:cubicBezTo>
                <a:cubicBezTo>
                  <a:pt x="4336172" y="1770421"/>
                  <a:pt x="4285417" y="1821215"/>
                  <a:pt x="4222975" y="1821215"/>
                </a:cubicBezTo>
                <a:cubicBezTo>
                  <a:pt x="4160532" y="1821215"/>
                  <a:pt x="4109777" y="1770421"/>
                  <a:pt x="4109777" y="1707850"/>
                </a:cubicBezTo>
                <a:cubicBezTo>
                  <a:pt x="4109777" y="1645199"/>
                  <a:pt x="4160532" y="1594645"/>
                  <a:pt x="4222975" y="1594645"/>
                </a:cubicBezTo>
                <a:close/>
                <a:moveTo>
                  <a:pt x="464959" y="1594645"/>
                </a:moveTo>
                <a:cubicBezTo>
                  <a:pt x="527561" y="1594645"/>
                  <a:pt x="578156" y="1645359"/>
                  <a:pt x="578156" y="1707850"/>
                </a:cubicBezTo>
                <a:cubicBezTo>
                  <a:pt x="578156" y="1770421"/>
                  <a:pt x="527561" y="1821215"/>
                  <a:pt x="464959" y="1821215"/>
                </a:cubicBezTo>
                <a:cubicBezTo>
                  <a:pt x="402356" y="1821215"/>
                  <a:pt x="351921" y="1770421"/>
                  <a:pt x="351921" y="1707850"/>
                </a:cubicBezTo>
                <a:cubicBezTo>
                  <a:pt x="351921" y="1645359"/>
                  <a:pt x="402356" y="1594645"/>
                  <a:pt x="464959" y="1594645"/>
                </a:cubicBezTo>
                <a:close/>
                <a:moveTo>
                  <a:pt x="123365" y="1558432"/>
                </a:moveTo>
                <a:cubicBezTo>
                  <a:pt x="172679" y="1558432"/>
                  <a:pt x="212466" y="1598250"/>
                  <a:pt x="212466" y="1647602"/>
                </a:cubicBezTo>
                <a:cubicBezTo>
                  <a:pt x="212466" y="1696794"/>
                  <a:pt x="172679" y="1736772"/>
                  <a:pt x="123365" y="1736772"/>
                </a:cubicBezTo>
                <a:cubicBezTo>
                  <a:pt x="74051" y="1736772"/>
                  <a:pt x="34184" y="1696874"/>
                  <a:pt x="34184" y="1647602"/>
                </a:cubicBezTo>
                <a:cubicBezTo>
                  <a:pt x="34184" y="1598250"/>
                  <a:pt x="73971" y="1558432"/>
                  <a:pt x="123365" y="1558432"/>
                </a:cubicBezTo>
                <a:close/>
                <a:moveTo>
                  <a:pt x="2354654" y="1508840"/>
                </a:moveTo>
                <a:cubicBezTo>
                  <a:pt x="2643972" y="1508840"/>
                  <a:pt x="2878373" y="1743582"/>
                  <a:pt x="2878293" y="2032884"/>
                </a:cubicBezTo>
                <a:cubicBezTo>
                  <a:pt x="2878293" y="2322426"/>
                  <a:pt x="2643972" y="2556928"/>
                  <a:pt x="2354654" y="2556928"/>
                </a:cubicBezTo>
                <a:cubicBezTo>
                  <a:pt x="2065656" y="2556928"/>
                  <a:pt x="1831015" y="2322426"/>
                  <a:pt x="1831015" y="2032884"/>
                </a:cubicBezTo>
                <a:cubicBezTo>
                  <a:pt x="1831015" y="1743582"/>
                  <a:pt x="2065656" y="1508840"/>
                  <a:pt x="2354654" y="1508840"/>
                </a:cubicBezTo>
                <a:close/>
                <a:moveTo>
                  <a:pt x="3811092" y="1374003"/>
                </a:moveTo>
                <a:cubicBezTo>
                  <a:pt x="3883381" y="1374003"/>
                  <a:pt x="3942142" y="1432649"/>
                  <a:pt x="3942142" y="1505074"/>
                </a:cubicBezTo>
                <a:cubicBezTo>
                  <a:pt x="3942142" y="1577580"/>
                  <a:pt x="3883381" y="1636306"/>
                  <a:pt x="3811092" y="1636306"/>
                </a:cubicBezTo>
                <a:cubicBezTo>
                  <a:pt x="3738642" y="1636306"/>
                  <a:pt x="3679962" y="1577580"/>
                  <a:pt x="3679962" y="1505074"/>
                </a:cubicBezTo>
                <a:cubicBezTo>
                  <a:pt x="3679962" y="1432729"/>
                  <a:pt x="3738642" y="1374003"/>
                  <a:pt x="3811092" y="1374003"/>
                </a:cubicBezTo>
                <a:close/>
                <a:moveTo>
                  <a:pt x="877161" y="1374003"/>
                </a:moveTo>
                <a:cubicBezTo>
                  <a:pt x="949450" y="1374003"/>
                  <a:pt x="1008211" y="1432649"/>
                  <a:pt x="1008211" y="1505074"/>
                </a:cubicBezTo>
                <a:cubicBezTo>
                  <a:pt x="1008211" y="1577580"/>
                  <a:pt x="949450" y="1636306"/>
                  <a:pt x="877161" y="1636306"/>
                </a:cubicBezTo>
                <a:cubicBezTo>
                  <a:pt x="804871" y="1636306"/>
                  <a:pt x="745951" y="1577580"/>
                  <a:pt x="745951" y="1505074"/>
                </a:cubicBezTo>
                <a:cubicBezTo>
                  <a:pt x="745951" y="1432729"/>
                  <a:pt x="804871" y="1374003"/>
                  <a:pt x="877161" y="1374003"/>
                </a:cubicBezTo>
                <a:close/>
                <a:moveTo>
                  <a:pt x="2232810" y="1301498"/>
                </a:moveTo>
                <a:cubicBezTo>
                  <a:pt x="2214317" y="1359262"/>
                  <a:pt x="2162041" y="1401804"/>
                  <a:pt x="2098078" y="1401804"/>
                </a:cubicBezTo>
                <a:cubicBezTo>
                  <a:pt x="2060532" y="1401804"/>
                  <a:pt x="2027229" y="1386502"/>
                  <a:pt x="2001611" y="1363027"/>
                </a:cubicBezTo>
                <a:cubicBezTo>
                  <a:pt x="2002092" y="1368555"/>
                  <a:pt x="2004734" y="1373042"/>
                  <a:pt x="2004734" y="1378650"/>
                </a:cubicBezTo>
                <a:cubicBezTo>
                  <a:pt x="2004734" y="1458046"/>
                  <a:pt x="1940450" y="1522220"/>
                  <a:pt x="1861195" y="1522220"/>
                </a:cubicBezTo>
                <a:cubicBezTo>
                  <a:pt x="1844784" y="1522220"/>
                  <a:pt x="1829093" y="1519335"/>
                  <a:pt x="1814443" y="1514288"/>
                </a:cubicBezTo>
                <a:cubicBezTo>
                  <a:pt x="1816605" y="1524142"/>
                  <a:pt x="1817806" y="1534397"/>
                  <a:pt x="1817806" y="1544973"/>
                </a:cubicBezTo>
                <a:cubicBezTo>
                  <a:pt x="1817806" y="1620122"/>
                  <a:pt x="1760006" y="1681652"/>
                  <a:pt x="1686356" y="1687901"/>
                </a:cubicBezTo>
                <a:cubicBezTo>
                  <a:pt x="1706129" y="1712497"/>
                  <a:pt x="1718057" y="1743663"/>
                  <a:pt x="1718057" y="1777712"/>
                </a:cubicBezTo>
                <a:cubicBezTo>
                  <a:pt x="1718057" y="1849577"/>
                  <a:pt x="1664420" y="1906300"/>
                  <a:pt x="1595974" y="1916955"/>
                </a:cubicBezTo>
                <a:cubicBezTo>
                  <a:pt x="1638643" y="1941792"/>
                  <a:pt x="1668663" y="1986256"/>
                  <a:pt x="1668663" y="2039374"/>
                </a:cubicBezTo>
                <a:cubicBezTo>
                  <a:pt x="1668663" y="2092411"/>
                  <a:pt x="1638643" y="2136796"/>
                  <a:pt x="1595974" y="2161712"/>
                </a:cubicBezTo>
                <a:cubicBezTo>
                  <a:pt x="1664420" y="2172368"/>
                  <a:pt x="1718057" y="2229251"/>
                  <a:pt x="1718057" y="2300955"/>
                </a:cubicBezTo>
                <a:cubicBezTo>
                  <a:pt x="1718057" y="2335966"/>
                  <a:pt x="1704048" y="2367052"/>
                  <a:pt x="1683153" y="2391888"/>
                </a:cubicBezTo>
                <a:cubicBezTo>
                  <a:pt x="1757925" y="2396775"/>
                  <a:pt x="1817806" y="2457504"/>
                  <a:pt x="1817806" y="2533614"/>
                </a:cubicBezTo>
                <a:cubicBezTo>
                  <a:pt x="1817806" y="2545392"/>
                  <a:pt x="1813723" y="2555727"/>
                  <a:pt x="1811241" y="2566542"/>
                </a:cubicBezTo>
                <a:cubicBezTo>
                  <a:pt x="1826772" y="2560694"/>
                  <a:pt x="1843503" y="2556448"/>
                  <a:pt x="1861195" y="2556448"/>
                </a:cubicBezTo>
                <a:cubicBezTo>
                  <a:pt x="1940530" y="2556448"/>
                  <a:pt x="2004734" y="2620782"/>
                  <a:pt x="2004734" y="2700097"/>
                </a:cubicBezTo>
                <a:cubicBezTo>
                  <a:pt x="2004734" y="2705705"/>
                  <a:pt x="2002172" y="2710352"/>
                  <a:pt x="2001611" y="2715800"/>
                </a:cubicBezTo>
                <a:cubicBezTo>
                  <a:pt x="2027309" y="2692326"/>
                  <a:pt x="2060612" y="2677184"/>
                  <a:pt x="2098078" y="2677184"/>
                </a:cubicBezTo>
                <a:cubicBezTo>
                  <a:pt x="2162041" y="2677184"/>
                  <a:pt x="2214237" y="2719485"/>
                  <a:pt x="2232810" y="2777250"/>
                </a:cubicBezTo>
                <a:cubicBezTo>
                  <a:pt x="2259148" y="2743761"/>
                  <a:pt x="2298055" y="2720847"/>
                  <a:pt x="2344006" y="2720847"/>
                </a:cubicBezTo>
                <a:cubicBezTo>
                  <a:pt x="2389878" y="2720847"/>
                  <a:pt x="2429024" y="2743761"/>
                  <a:pt x="2455202" y="2777330"/>
                </a:cubicBezTo>
                <a:cubicBezTo>
                  <a:pt x="2473775" y="2719566"/>
                  <a:pt x="2525971" y="2677104"/>
                  <a:pt x="2589855" y="2677104"/>
                </a:cubicBezTo>
                <a:cubicBezTo>
                  <a:pt x="2627481" y="2677104"/>
                  <a:pt x="2660863" y="2692246"/>
                  <a:pt x="2686401" y="2715720"/>
                </a:cubicBezTo>
                <a:cubicBezTo>
                  <a:pt x="2685840" y="2710272"/>
                  <a:pt x="2683119" y="2705625"/>
                  <a:pt x="2683119" y="2700017"/>
                </a:cubicBezTo>
                <a:cubicBezTo>
                  <a:pt x="2683119" y="2620782"/>
                  <a:pt x="2747403" y="2556448"/>
                  <a:pt x="2826737" y="2556528"/>
                </a:cubicBezTo>
                <a:cubicBezTo>
                  <a:pt x="2844509" y="2556528"/>
                  <a:pt x="2861081" y="2560774"/>
                  <a:pt x="2876771" y="2566623"/>
                </a:cubicBezTo>
                <a:cubicBezTo>
                  <a:pt x="2874049" y="2555807"/>
                  <a:pt x="2870207" y="2545392"/>
                  <a:pt x="2870207" y="2533694"/>
                </a:cubicBezTo>
                <a:cubicBezTo>
                  <a:pt x="2870207" y="2457583"/>
                  <a:pt x="2929848" y="2396855"/>
                  <a:pt x="3004859" y="2391968"/>
                </a:cubicBezTo>
                <a:cubicBezTo>
                  <a:pt x="2983885" y="2367132"/>
                  <a:pt x="2969795" y="2336127"/>
                  <a:pt x="2969795" y="2301035"/>
                </a:cubicBezTo>
                <a:cubicBezTo>
                  <a:pt x="2969795" y="2229331"/>
                  <a:pt x="3023272" y="2172448"/>
                  <a:pt x="3092039" y="2161792"/>
                </a:cubicBezTo>
                <a:cubicBezTo>
                  <a:pt x="3049290" y="2136876"/>
                  <a:pt x="3019109" y="2092411"/>
                  <a:pt x="3019109" y="2039454"/>
                </a:cubicBezTo>
                <a:cubicBezTo>
                  <a:pt x="3019109" y="1986336"/>
                  <a:pt x="3049210" y="1941871"/>
                  <a:pt x="3092039" y="1917035"/>
                </a:cubicBezTo>
                <a:cubicBezTo>
                  <a:pt x="3023272" y="1906380"/>
                  <a:pt x="2969795" y="1849657"/>
                  <a:pt x="2969795" y="1777792"/>
                </a:cubicBezTo>
                <a:cubicBezTo>
                  <a:pt x="2969795" y="1742781"/>
                  <a:pt x="2983885" y="1711696"/>
                  <a:pt x="3004859" y="1686860"/>
                </a:cubicBezTo>
                <a:cubicBezTo>
                  <a:pt x="2929848" y="1682053"/>
                  <a:pt x="2870207" y="1621244"/>
                  <a:pt x="2870207" y="1545053"/>
                </a:cubicBezTo>
                <a:cubicBezTo>
                  <a:pt x="2870207" y="1533436"/>
                  <a:pt x="2874049" y="1523021"/>
                  <a:pt x="2876771" y="1512205"/>
                </a:cubicBezTo>
                <a:cubicBezTo>
                  <a:pt x="2861161" y="1518054"/>
                  <a:pt x="2844509" y="1522220"/>
                  <a:pt x="2826737" y="1522220"/>
                </a:cubicBezTo>
                <a:cubicBezTo>
                  <a:pt x="2747323" y="1522220"/>
                  <a:pt x="2683119" y="1458046"/>
                  <a:pt x="2683119" y="1378650"/>
                </a:cubicBezTo>
                <a:cubicBezTo>
                  <a:pt x="2683119" y="1373042"/>
                  <a:pt x="2685840" y="1368555"/>
                  <a:pt x="2686401" y="1363027"/>
                </a:cubicBezTo>
                <a:cubicBezTo>
                  <a:pt x="2660863" y="1386582"/>
                  <a:pt x="2627481" y="1401804"/>
                  <a:pt x="2589855" y="1401804"/>
                </a:cubicBezTo>
                <a:cubicBezTo>
                  <a:pt x="2525971" y="1401804"/>
                  <a:pt x="2473775" y="1359262"/>
                  <a:pt x="2455202" y="1301578"/>
                </a:cubicBezTo>
                <a:cubicBezTo>
                  <a:pt x="2428944" y="1334987"/>
                  <a:pt x="2389878" y="1357900"/>
                  <a:pt x="2344006" y="1357900"/>
                </a:cubicBezTo>
                <a:cubicBezTo>
                  <a:pt x="2297975" y="1357900"/>
                  <a:pt x="2259148" y="1334987"/>
                  <a:pt x="2232810" y="1301498"/>
                </a:cubicBezTo>
                <a:close/>
                <a:moveTo>
                  <a:pt x="551018" y="1273136"/>
                </a:moveTo>
                <a:cubicBezTo>
                  <a:pt x="613620" y="1273136"/>
                  <a:pt x="664375" y="1323850"/>
                  <a:pt x="664375" y="1386502"/>
                </a:cubicBezTo>
                <a:cubicBezTo>
                  <a:pt x="664375" y="1448912"/>
                  <a:pt x="613620" y="1499787"/>
                  <a:pt x="551018" y="1499787"/>
                </a:cubicBezTo>
                <a:cubicBezTo>
                  <a:pt x="488575" y="1499787"/>
                  <a:pt x="437980" y="1448832"/>
                  <a:pt x="437980" y="1386502"/>
                </a:cubicBezTo>
                <a:cubicBezTo>
                  <a:pt x="437980" y="1323850"/>
                  <a:pt x="488575" y="1273136"/>
                  <a:pt x="551018" y="1273136"/>
                </a:cubicBezTo>
                <a:close/>
                <a:moveTo>
                  <a:pt x="4137076" y="1273056"/>
                </a:moveTo>
                <a:cubicBezTo>
                  <a:pt x="4199518" y="1273056"/>
                  <a:pt x="4250273" y="1323850"/>
                  <a:pt x="4250273" y="1386261"/>
                </a:cubicBezTo>
                <a:cubicBezTo>
                  <a:pt x="4250273" y="1448912"/>
                  <a:pt x="4199518" y="1499626"/>
                  <a:pt x="4137076" y="1499626"/>
                </a:cubicBezTo>
                <a:cubicBezTo>
                  <a:pt x="4074473" y="1499626"/>
                  <a:pt x="4023878" y="1448912"/>
                  <a:pt x="4023878" y="1386261"/>
                </a:cubicBezTo>
                <a:cubicBezTo>
                  <a:pt x="4023878" y="1323850"/>
                  <a:pt x="4074473" y="1273056"/>
                  <a:pt x="4137076" y="1273056"/>
                </a:cubicBezTo>
                <a:close/>
                <a:moveTo>
                  <a:pt x="3694852" y="1127163"/>
                </a:moveTo>
                <a:cubicBezTo>
                  <a:pt x="3767142" y="1127163"/>
                  <a:pt x="3825821" y="1185889"/>
                  <a:pt x="3825821" y="1258314"/>
                </a:cubicBezTo>
                <a:cubicBezTo>
                  <a:pt x="3825821" y="1330820"/>
                  <a:pt x="3767142" y="1389546"/>
                  <a:pt x="3694852" y="1389546"/>
                </a:cubicBezTo>
                <a:cubicBezTo>
                  <a:pt x="3622242" y="1389546"/>
                  <a:pt x="3563802" y="1330900"/>
                  <a:pt x="3563802" y="1258314"/>
                </a:cubicBezTo>
                <a:cubicBezTo>
                  <a:pt x="3563802" y="1185889"/>
                  <a:pt x="3622242" y="1127163"/>
                  <a:pt x="3694852" y="1127163"/>
                </a:cubicBezTo>
                <a:close/>
                <a:moveTo>
                  <a:pt x="992120" y="1127163"/>
                </a:moveTo>
                <a:cubicBezTo>
                  <a:pt x="1064410" y="1127163"/>
                  <a:pt x="1123090" y="1185889"/>
                  <a:pt x="1123090" y="1258314"/>
                </a:cubicBezTo>
                <a:cubicBezTo>
                  <a:pt x="1123090" y="1330820"/>
                  <a:pt x="1064410" y="1389546"/>
                  <a:pt x="992120" y="1389546"/>
                </a:cubicBezTo>
                <a:cubicBezTo>
                  <a:pt x="919750" y="1389546"/>
                  <a:pt x="860990" y="1330900"/>
                  <a:pt x="860910" y="1258314"/>
                </a:cubicBezTo>
                <a:cubicBezTo>
                  <a:pt x="860910" y="1185889"/>
                  <a:pt x="919670" y="1127163"/>
                  <a:pt x="992120" y="1127163"/>
                </a:cubicBezTo>
                <a:close/>
                <a:moveTo>
                  <a:pt x="2344006" y="1070601"/>
                </a:moveTo>
                <a:cubicBezTo>
                  <a:pt x="2407970" y="1070601"/>
                  <a:pt x="2460086" y="1113063"/>
                  <a:pt x="2478739" y="1170827"/>
                </a:cubicBezTo>
                <a:cubicBezTo>
                  <a:pt x="2505077" y="1137258"/>
                  <a:pt x="2544063" y="1114345"/>
                  <a:pt x="2589775" y="1114345"/>
                </a:cubicBezTo>
                <a:cubicBezTo>
                  <a:pt x="2669189" y="1114345"/>
                  <a:pt x="2733393" y="1178679"/>
                  <a:pt x="2733393" y="1258074"/>
                </a:cubicBezTo>
                <a:cubicBezTo>
                  <a:pt x="2733393" y="1263602"/>
                  <a:pt x="2730911" y="1268249"/>
                  <a:pt x="2730271" y="1273617"/>
                </a:cubicBezTo>
                <a:cubicBezTo>
                  <a:pt x="2755809" y="1250143"/>
                  <a:pt x="2789352" y="1235081"/>
                  <a:pt x="2826737" y="1235081"/>
                </a:cubicBezTo>
                <a:cubicBezTo>
                  <a:pt x="2906071" y="1235081"/>
                  <a:pt x="2970275" y="1299335"/>
                  <a:pt x="2970275" y="1378570"/>
                </a:cubicBezTo>
                <a:cubicBezTo>
                  <a:pt x="2970275" y="1390187"/>
                  <a:pt x="2966193" y="1400602"/>
                  <a:pt x="2963711" y="1411418"/>
                </a:cubicBezTo>
                <a:cubicBezTo>
                  <a:pt x="2979242" y="1405409"/>
                  <a:pt x="2995973" y="1401243"/>
                  <a:pt x="3013665" y="1401243"/>
                </a:cubicBezTo>
                <a:cubicBezTo>
                  <a:pt x="3093080" y="1401243"/>
                  <a:pt x="3157204" y="1465657"/>
                  <a:pt x="3157204" y="1544893"/>
                </a:cubicBezTo>
                <a:cubicBezTo>
                  <a:pt x="3157204" y="1579984"/>
                  <a:pt x="3143194" y="1610909"/>
                  <a:pt x="3122299" y="1635745"/>
                </a:cubicBezTo>
                <a:cubicBezTo>
                  <a:pt x="3197311" y="1640632"/>
                  <a:pt x="3256952" y="1701441"/>
                  <a:pt x="3256952" y="1777632"/>
                </a:cubicBezTo>
                <a:cubicBezTo>
                  <a:pt x="3256952" y="1830749"/>
                  <a:pt x="3226931" y="1875134"/>
                  <a:pt x="3184102" y="1899971"/>
                </a:cubicBezTo>
                <a:cubicBezTo>
                  <a:pt x="3252789" y="1910786"/>
                  <a:pt x="3306186" y="1967669"/>
                  <a:pt x="3306186" y="2039374"/>
                </a:cubicBezTo>
                <a:cubicBezTo>
                  <a:pt x="3306186" y="2111078"/>
                  <a:pt x="3252869" y="2167801"/>
                  <a:pt x="3184102" y="2178617"/>
                </a:cubicBezTo>
                <a:cubicBezTo>
                  <a:pt x="3226931" y="2203453"/>
                  <a:pt x="3256952" y="2247838"/>
                  <a:pt x="3256952" y="2300955"/>
                </a:cubicBezTo>
                <a:cubicBezTo>
                  <a:pt x="3256952" y="2377146"/>
                  <a:pt x="3197311" y="2437955"/>
                  <a:pt x="3122299" y="2442842"/>
                </a:cubicBezTo>
                <a:cubicBezTo>
                  <a:pt x="3143114" y="2467678"/>
                  <a:pt x="3157204" y="2498603"/>
                  <a:pt x="3157204" y="2533614"/>
                </a:cubicBezTo>
                <a:cubicBezTo>
                  <a:pt x="3157204" y="2613090"/>
                  <a:pt x="3093080" y="2677344"/>
                  <a:pt x="3013665" y="2677344"/>
                </a:cubicBezTo>
                <a:cubicBezTo>
                  <a:pt x="2995893" y="2677344"/>
                  <a:pt x="2979242" y="2673098"/>
                  <a:pt x="2963711" y="2667249"/>
                </a:cubicBezTo>
                <a:cubicBezTo>
                  <a:pt x="2966193" y="2678065"/>
                  <a:pt x="2970275" y="2688400"/>
                  <a:pt x="2970275" y="2700017"/>
                </a:cubicBezTo>
                <a:cubicBezTo>
                  <a:pt x="2970275" y="2779413"/>
                  <a:pt x="2906071" y="2843747"/>
                  <a:pt x="2826817" y="2843827"/>
                </a:cubicBezTo>
                <a:cubicBezTo>
                  <a:pt x="2789431" y="2843827"/>
                  <a:pt x="2755888" y="2828524"/>
                  <a:pt x="2730351" y="2805050"/>
                </a:cubicBezTo>
                <a:cubicBezTo>
                  <a:pt x="2730991" y="2810338"/>
                  <a:pt x="2733473" y="2815145"/>
                  <a:pt x="2733473" y="2820593"/>
                </a:cubicBezTo>
                <a:cubicBezTo>
                  <a:pt x="2733473" y="2899989"/>
                  <a:pt x="2669269" y="2964242"/>
                  <a:pt x="2589855" y="2964242"/>
                </a:cubicBezTo>
                <a:cubicBezTo>
                  <a:pt x="2544143" y="2964242"/>
                  <a:pt x="2505157" y="2941249"/>
                  <a:pt x="2478819" y="2907840"/>
                </a:cubicBezTo>
                <a:cubicBezTo>
                  <a:pt x="2460166" y="2965444"/>
                  <a:pt x="2407970" y="3008146"/>
                  <a:pt x="2344086" y="3008146"/>
                </a:cubicBezTo>
                <a:cubicBezTo>
                  <a:pt x="2280122" y="3008146"/>
                  <a:pt x="2227927" y="2965444"/>
                  <a:pt x="2209354" y="2907840"/>
                </a:cubicBezTo>
                <a:cubicBezTo>
                  <a:pt x="2183016" y="2941329"/>
                  <a:pt x="2144109" y="2964242"/>
                  <a:pt x="2098158" y="2964242"/>
                </a:cubicBezTo>
                <a:cubicBezTo>
                  <a:pt x="2018903" y="2964242"/>
                  <a:pt x="1954699" y="2899909"/>
                  <a:pt x="1954699" y="2820593"/>
                </a:cubicBezTo>
                <a:cubicBezTo>
                  <a:pt x="1954699" y="2815145"/>
                  <a:pt x="1957261" y="2810338"/>
                  <a:pt x="1957822" y="2805050"/>
                </a:cubicBezTo>
                <a:cubicBezTo>
                  <a:pt x="1932124" y="2828524"/>
                  <a:pt x="1898901" y="2843827"/>
                  <a:pt x="1861355" y="2843827"/>
                </a:cubicBezTo>
                <a:cubicBezTo>
                  <a:pt x="1782101" y="2843827"/>
                  <a:pt x="1717977" y="2779413"/>
                  <a:pt x="1717977" y="2700097"/>
                </a:cubicBezTo>
                <a:cubicBezTo>
                  <a:pt x="1717977" y="2688480"/>
                  <a:pt x="1721820" y="2678145"/>
                  <a:pt x="1724542" y="2667329"/>
                </a:cubicBezTo>
                <a:cubicBezTo>
                  <a:pt x="1708931" y="2673178"/>
                  <a:pt x="1692280" y="2677424"/>
                  <a:pt x="1674507" y="2677424"/>
                </a:cubicBezTo>
                <a:cubicBezTo>
                  <a:pt x="1595093" y="2677424"/>
                  <a:pt x="1530889" y="2613170"/>
                  <a:pt x="1530889" y="2533694"/>
                </a:cubicBezTo>
                <a:cubicBezTo>
                  <a:pt x="1530889" y="2498683"/>
                  <a:pt x="1545059" y="2467758"/>
                  <a:pt x="1565793" y="2442922"/>
                </a:cubicBezTo>
                <a:cubicBezTo>
                  <a:pt x="1491022" y="2438035"/>
                  <a:pt x="1431301" y="2377226"/>
                  <a:pt x="1431301" y="2301035"/>
                </a:cubicBezTo>
                <a:cubicBezTo>
                  <a:pt x="1431301" y="2247918"/>
                  <a:pt x="1461321" y="2203533"/>
                  <a:pt x="1504151" y="2178697"/>
                </a:cubicBezTo>
                <a:cubicBezTo>
                  <a:pt x="1435384" y="2167881"/>
                  <a:pt x="1382067" y="2111239"/>
                  <a:pt x="1382067" y="2039454"/>
                </a:cubicBezTo>
                <a:cubicBezTo>
                  <a:pt x="1382067" y="1967669"/>
                  <a:pt x="1435384" y="1910866"/>
                  <a:pt x="1504151" y="1900050"/>
                </a:cubicBezTo>
                <a:cubicBezTo>
                  <a:pt x="1461321" y="1875214"/>
                  <a:pt x="1431301" y="1830830"/>
                  <a:pt x="1431301" y="1777712"/>
                </a:cubicBezTo>
                <a:cubicBezTo>
                  <a:pt x="1431301" y="1702563"/>
                  <a:pt x="1489020" y="1640953"/>
                  <a:pt x="1562671" y="1634784"/>
                </a:cubicBezTo>
                <a:cubicBezTo>
                  <a:pt x="1542897" y="1610188"/>
                  <a:pt x="1530969" y="1579023"/>
                  <a:pt x="1530969" y="1544973"/>
                </a:cubicBezTo>
                <a:cubicBezTo>
                  <a:pt x="1530969" y="1465737"/>
                  <a:pt x="1595173" y="1401323"/>
                  <a:pt x="1674267" y="1401323"/>
                </a:cubicBezTo>
                <a:cubicBezTo>
                  <a:pt x="1690759" y="1401323"/>
                  <a:pt x="1706529" y="1404208"/>
                  <a:pt x="1721259" y="1409335"/>
                </a:cubicBezTo>
                <a:cubicBezTo>
                  <a:pt x="1719098" y="1399401"/>
                  <a:pt x="1717897" y="1389146"/>
                  <a:pt x="1717897" y="1378570"/>
                </a:cubicBezTo>
                <a:cubicBezTo>
                  <a:pt x="1717897" y="1299415"/>
                  <a:pt x="1782021" y="1235081"/>
                  <a:pt x="1861275" y="1235081"/>
                </a:cubicBezTo>
                <a:cubicBezTo>
                  <a:pt x="1898821" y="1235081"/>
                  <a:pt x="1932124" y="1250143"/>
                  <a:pt x="1957742" y="1273617"/>
                </a:cubicBezTo>
                <a:cubicBezTo>
                  <a:pt x="1957181" y="1268249"/>
                  <a:pt x="1954619" y="1263522"/>
                  <a:pt x="1954619" y="1258074"/>
                </a:cubicBezTo>
                <a:cubicBezTo>
                  <a:pt x="1954619" y="1178679"/>
                  <a:pt x="2018823" y="1114345"/>
                  <a:pt x="2098078" y="1114345"/>
                </a:cubicBezTo>
                <a:cubicBezTo>
                  <a:pt x="2144109" y="1114345"/>
                  <a:pt x="2182936" y="1137258"/>
                  <a:pt x="2209274" y="1170827"/>
                </a:cubicBezTo>
                <a:cubicBezTo>
                  <a:pt x="2227766" y="1113143"/>
                  <a:pt x="2280043" y="1070601"/>
                  <a:pt x="2344006" y="1070601"/>
                </a:cubicBezTo>
                <a:close/>
                <a:moveTo>
                  <a:pt x="3996579" y="971336"/>
                </a:moveTo>
                <a:cubicBezTo>
                  <a:pt x="4059021" y="971336"/>
                  <a:pt x="4109616" y="1022130"/>
                  <a:pt x="4109616" y="1084701"/>
                </a:cubicBezTo>
                <a:cubicBezTo>
                  <a:pt x="4109616" y="1147192"/>
                  <a:pt x="4059021" y="1198067"/>
                  <a:pt x="3996579" y="1198067"/>
                </a:cubicBezTo>
                <a:cubicBezTo>
                  <a:pt x="3933976" y="1198067"/>
                  <a:pt x="3883061" y="1147192"/>
                  <a:pt x="3883061" y="1084701"/>
                </a:cubicBezTo>
                <a:cubicBezTo>
                  <a:pt x="3883061" y="1022130"/>
                  <a:pt x="3933976" y="971336"/>
                  <a:pt x="3996579" y="971336"/>
                </a:cubicBezTo>
                <a:close/>
                <a:moveTo>
                  <a:pt x="2245699" y="915014"/>
                </a:moveTo>
                <a:cubicBezTo>
                  <a:pt x="2227127" y="946740"/>
                  <a:pt x="2195905" y="971016"/>
                  <a:pt x="2156758" y="977826"/>
                </a:cubicBezTo>
                <a:cubicBezTo>
                  <a:pt x="2117852" y="984636"/>
                  <a:pt x="2080066" y="972778"/>
                  <a:pt x="2051966" y="949304"/>
                </a:cubicBezTo>
                <a:cubicBezTo>
                  <a:pt x="2039398" y="983835"/>
                  <a:pt x="2012659" y="1012917"/>
                  <a:pt x="1975434" y="1026537"/>
                </a:cubicBezTo>
                <a:cubicBezTo>
                  <a:pt x="1938209" y="1039997"/>
                  <a:pt x="1898902" y="1034869"/>
                  <a:pt x="1867280" y="1016522"/>
                </a:cubicBezTo>
                <a:cubicBezTo>
                  <a:pt x="1860635" y="1052815"/>
                  <a:pt x="1839661" y="1085984"/>
                  <a:pt x="1805237" y="1105852"/>
                </a:cubicBezTo>
                <a:cubicBezTo>
                  <a:pt x="1770814" y="1125721"/>
                  <a:pt x="1731267" y="1127404"/>
                  <a:pt x="1696763" y="1114986"/>
                </a:cubicBezTo>
                <a:cubicBezTo>
                  <a:pt x="1696603" y="1151679"/>
                  <a:pt x="1681793" y="1188213"/>
                  <a:pt x="1651212" y="1213770"/>
                </a:cubicBezTo>
                <a:cubicBezTo>
                  <a:pt x="1620791" y="1239247"/>
                  <a:pt x="1582445" y="1247819"/>
                  <a:pt x="1546020" y="1241490"/>
                </a:cubicBezTo>
                <a:cubicBezTo>
                  <a:pt x="1552424" y="1277623"/>
                  <a:pt x="1543938" y="1316239"/>
                  <a:pt x="1518481" y="1346604"/>
                </a:cubicBezTo>
                <a:cubicBezTo>
                  <a:pt x="1492943" y="1377048"/>
                  <a:pt x="1456518" y="1392110"/>
                  <a:pt x="1419853" y="1392110"/>
                </a:cubicBezTo>
                <a:cubicBezTo>
                  <a:pt x="1432262" y="1426801"/>
                  <a:pt x="1430500" y="1466218"/>
                  <a:pt x="1410727" y="1500588"/>
                </a:cubicBezTo>
                <a:cubicBezTo>
                  <a:pt x="1390953" y="1534798"/>
                  <a:pt x="1357731" y="1556189"/>
                  <a:pt x="1321546" y="1562518"/>
                </a:cubicBezTo>
                <a:cubicBezTo>
                  <a:pt x="1339879" y="1594565"/>
                  <a:pt x="1345002" y="1633662"/>
                  <a:pt x="1331393" y="1670996"/>
                </a:cubicBezTo>
                <a:cubicBezTo>
                  <a:pt x="1317943" y="1708171"/>
                  <a:pt x="1288723" y="1734930"/>
                  <a:pt x="1254220" y="1747588"/>
                </a:cubicBezTo>
                <a:cubicBezTo>
                  <a:pt x="1277836" y="1775789"/>
                  <a:pt x="1289684" y="1813444"/>
                  <a:pt x="1282879" y="1852541"/>
                </a:cubicBezTo>
                <a:cubicBezTo>
                  <a:pt x="1276075" y="1891638"/>
                  <a:pt x="1252058" y="1922964"/>
                  <a:pt x="1220116" y="1941391"/>
                </a:cubicBezTo>
                <a:cubicBezTo>
                  <a:pt x="1248216" y="1965105"/>
                  <a:pt x="1266308" y="2000197"/>
                  <a:pt x="1266308" y="2039774"/>
                </a:cubicBezTo>
                <a:cubicBezTo>
                  <a:pt x="1266548" y="2079432"/>
                  <a:pt x="1248216" y="2114363"/>
                  <a:pt x="1220116" y="2138238"/>
                </a:cubicBezTo>
                <a:cubicBezTo>
                  <a:pt x="1251898" y="2156665"/>
                  <a:pt x="1275915" y="2188071"/>
                  <a:pt x="1282719" y="2227087"/>
                </a:cubicBezTo>
                <a:cubicBezTo>
                  <a:pt x="1289684" y="2266024"/>
                  <a:pt x="1277836" y="2303759"/>
                  <a:pt x="1254220" y="2332041"/>
                </a:cubicBezTo>
                <a:cubicBezTo>
                  <a:pt x="1288723" y="2344539"/>
                  <a:pt x="1317943" y="2371138"/>
                  <a:pt x="1331313" y="2408472"/>
                </a:cubicBezTo>
                <a:cubicBezTo>
                  <a:pt x="1345082" y="2445646"/>
                  <a:pt x="1339958" y="2484583"/>
                  <a:pt x="1321626" y="2516469"/>
                </a:cubicBezTo>
                <a:cubicBezTo>
                  <a:pt x="1357731" y="2522959"/>
                  <a:pt x="1391033" y="2544190"/>
                  <a:pt x="1410807" y="2578560"/>
                </a:cubicBezTo>
                <a:cubicBezTo>
                  <a:pt x="1430581" y="2612850"/>
                  <a:pt x="1432342" y="2652428"/>
                  <a:pt x="1419933" y="2686958"/>
                </a:cubicBezTo>
                <a:cubicBezTo>
                  <a:pt x="1456598" y="2687118"/>
                  <a:pt x="1492863" y="2702260"/>
                  <a:pt x="1518401" y="2732544"/>
                </a:cubicBezTo>
                <a:cubicBezTo>
                  <a:pt x="1544018" y="2762829"/>
                  <a:pt x="1552504" y="2801445"/>
                  <a:pt x="1546100" y="2837658"/>
                </a:cubicBezTo>
                <a:cubicBezTo>
                  <a:pt x="1582525" y="2831409"/>
                  <a:pt x="1620871" y="2840141"/>
                  <a:pt x="1651292" y="2865538"/>
                </a:cubicBezTo>
                <a:cubicBezTo>
                  <a:pt x="1681873" y="2890855"/>
                  <a:pt x="1696843" y="2927469"/>
                  <a:pt x="1696843" y="2964162"/>
                </a:cubicBezTo>
                <a:cubicBezTo>
                  <a:pt x="1731347" y="2951744"/>
                  <a:pt x="1770894" y="2953346"/>
                  <a:pt x="1805157" y="2973296"/>
                </a:cubicBezTo>
                <a:cubicBezTo>
                  <a:pt x="1839581" y="2993085"/>
                  <a:pt x="1860715" y="3026333"/>
                  <a:pt x="1867120" y="3062546"/>
                </a:cubicBezTo>
                <a:cubicBezTo>
                  <a:pt x="1899062" y="3044279"/>
                  <a:pt x="1938289" y="3039072"/>
                  <a:pt x="1975434" y="3052691"/>
                </a:cubicBezTo>
                <a:cubicBezTo>
                  <a:pt x="2012820" y="3066151"/>
                  <a:pt x="2039398" y="3095394"/>
                  <a:pt x="2052047" y="3129924"/>
                </a:cubicBezTo>
                <a:cubicBezTo>
                  <a:pt x="2080146" y="3106130"/>
                  <a:pt x="2117932" y="3094272"/>
                  <a:pt x="2156838" y="3101402"/>
                </a:cubicBezTo>
                <a:cubicBezTo>
                  <a:pt x="2195905" y="3108052"/>
                  <a:pt x="2227207" y="3132087"/>
                  <a:pt x="2245859" y="3163893"/>
                </a:cubicBezTo>
                <a:cubicBezTo>
                  <a:pt x="2269476" y="3135933"/>
                  <a:pt x="2304540" y="3117666"/>
                  <a:pt x="2344087" y="3117666"/>
                </a:cubicBezTo>
                <a:cubicBezTo>
                  <a:pt x="2383634" y="3117666"/>
                  <a:pt x="2418698" y="3136093"/>
                  <a:pt x="2442314" y="3164054"/>
                </a:cubicBezTo>
                <a:cubicBezTo>
                  <a:pt x="2461047" y="3132247"/>
                  <a:pt x="2492268" y="3108212"/>
                  <a:pt x="2531255" y="3101402"/>
                </a:cubicBezTo>
                <a:cubicBezTo>
                  <a:pt x="2570242" y="3094272"/>
                  <a:pt x="2607948" y="3106289"/>
                  <a:pt x="2636127" y="3129924"/>
                </a:cubicBezTo>
                <a:cubicBezTo>
                  <a:pt x="2648776" y="3095554"/>
                  <a:pt x="2675434" y="3066311"/>
                  <a:pt x="2712659" y="3052691"/>
                </a:cubicBezTo>
                <a:cubicBezTo>
                  <a:pt x="2749885" y="3039152"/>
                  <a:pt x="2788951" y="3044359"/>
                  <a:pt x="2820733" y="3062706"/>
                </a:cubicBezTo>
                <a:cubicBezTo>
                  <a:pt x="2827298" y="3026493"/>
                  <a:pt x="2848432" y="2993085"/>
                  <a:pt x="2882856" y="2973296"/>
                </a:cubicBezTo>
                <a:cubicBezTo>
                  <a:pt x="2917200" y="2953427"/>
                  <a:pt x="2956747" y="2951744"/>
                  <a:pt x="2991250" y="2964322"/>
                </a:cubicBezTo>
                <a:cubicBezTo>
                  <a:pt x="2991410" y="2927629"/>
                  <a:pt x="3006381" y="2891176"/>
                  <a:pt x="3036641" y="2865538"/>
                </a:cubicBezTo>
                <a:cubicBezTo>
                  <a:pt x="3067142" y="2840061"/>
                  <a:pt x="3105489" y="2831489"/>
                  <a:pt x="3141913" y="2837658"/>
                </a:cubicBezTo>
                <a:cubicBezTo>
                  <a:pt x="3135589" y="2801525"/>
                  <a:pt x="3143995" y="2762829"/>
                  <a:pt x="3169532" y="2732544"/>
                </a:cubicBezTo>
                <a:cubicBezTo>
                  <a:pt x="3194990" y="2702260"/>
                  <a:pt x="3231575" y="2687118"/>
                  <a:pt x="3268240" y="2686958"/>
                </a:cubicBezTo>
                <a:cubicBezTo>
                  <a:pt x="3255672" y="2652428"/>
                  <a:pt x="3257432" y="2613010"/>
                  <a:pt x="3277286" y="2578560"/>
                </a:cubicBezTo>
                <a:cubicBezTo>
                  <a:pt x="3297060" y="2544270"/>
                  <a:pt x="3330442" y="2523039"/>
                  <a:pt x="3366547" y="2516550"/>
                </a:cubicBezTo>
                <a:cubicBezTo>
                  <a:pt x="3348215" y="2484503"/>
                  <a:pt x="3343171" y="2445486"/>
                  <a:pt x="3356621" y="2408232"/>
                </a:cubicBezTo>
                <a:cubicBezTo>
                  <a:pt x="3370230" y="2371057"/>
                  <a:pt x="3399450" y="2344539"/>
                  <a:pt x="3433794" y="2331960"/>
                </a:cubicBezTo>
                <a:cubicBezTo>
                  <a:pt x="3410338" y="2303679"/>
                  <a:pt x="3398329" y="2265944"/>
                  <a:pt x="3405134" y="2227007"/>
                </a:cubicBezTo>
                <a:cubicBezTo>
                  <a:pt x="3412259" y="2187830"/>
                  <a:pt x="3436275" y="2156505"/>
                  <a:pt x="3468057" y="2138158"/>
                </a:cubicBezTo>
                <a:cubicBezTo>
                  <a:pt x="3439958" y="2114283"/>
                  <a:pt x="3421705" y="2079352"/>
                  <a:pt x="3421545" y="2039694"/>
                </a:cubicBezTo>
                <a:cubicBezTo>
                  <a:pt x="3421705" y="2000117"/>
                  <a:pt x="3439958" y="1965025"/>
                  <a:pt x="3467897" y="1941311"/>
                </a:cubicBezTo>
                <a:cubicBezTo>
                  <a:pt x="3436115" y="1922804"/>
                  <a:pt x="3412099" y="1891478"/>
                  <a:pt x="3405134" y="1852461"/>
                </a:cubicBezTo>
                <a:cubicBezTo>
                  <a:pt x="3398329" y="1813204"/>
                  <a:pt x="3410338" y="1775709"/>
                  <a:pt x="3433794" y="1747508"/>
                </a:cubicBezTo>
                <a:cubicBezTo>
                  <a:pt x="3399450" y="1734769"/>
                  <a:pt x="3370230" y="1708091"/>
                  <a:pt x="3356621" y="1670756"/>
                </a:cubicBezTo>
                <a:cubicBezTo>
                  <a:pt x="3343091" y="1633422"/>
                  <a:pt x="3348135" y="1594485"/>
                  <a:pt x="3366547" y="1562438"/>
                </a:cubicBezTo>
                <a:cubicBezTo>
                  <a:pt x="3330442" y="1556029"/>
                  <a:pt x="3297060" y="1534718"/>
                  <a:pt x="3277286" y="1500508"/>
                </a:cubicBezTo>
                <a:cubicBezTo>
                  <a:pt x="3257432" y="1466058"/>
                  <a:pt x="3255672" y="1426560"/>
                  <a:pt x="3268240" y="1392030"/>
                </a:cubicBezTo>
                <a:cubicBezTo>
                  <a:pt x="3231575" y="1391870"/>
                  <a:pt x="3194990" y="1376808"/>
                  <a:pt x="3169532" y="1346523"/>
                </a:cubicBezTo>
                <a:cubicBezTo>
                  <a:pt x="3143995" y="1316079"/>
                  <a:pt x="3135509" y="1277463"/>
                  <a:pt x="3141913" y="1241250"/>
                </a:cubicBezTo>
                <a:cubicBezTo>
                  <a:pt x="3105569" y="1247579"/>
                  <a:pt x="3067222" y="1239007"/>
                  <a:pt x="3036641" y="1213610"/>
                </a:cubicBezTo>
                <a:cubicBezTo>
                  <a:pt x="3006381" y="1187972"/>
                  <a:pt x="2991410" y="1151519"/>
                  <a:pt x="2991250" y="1114745"/>
                </a:cubicBezTo>
                <a:cubicBezTo>
                  <a:pt x="2956586" y="1127244"/>
                  <a:pt x="2917200" y="1125561"/>
                  <a:pt x="2882856" y="1105692"/>
                </a:cubicBezTo>
                <a:cubicBezTo>
                  <a:pt x="2848432" y="1085823"/>
                  <a:pt x="2827298" y="1052655"/>
                  <a:pt x="2820733" y="1016362"/>
                </a:cubicBezTo>
                <a:cubicBezTo>
                  <a:pt x="2788951" y="1034709"/>
                  <a:pt x="2749805" y="1039836"/>
                  <a:pt x="2712579" y="1026457"/>
                </a:cubicBezTo>
                <a:cubicBezTo>
                  <a:pt x="2675194" y="1012757"/>
                  <a:pt x="2648695" y="983514"/>
                  <a:pt x="2636047" y="948984"/>
                </a:cubicBezTo>
                <a:cubicBezTo>
                  <a:pt x="2607867" y="972618"/>
                  <a:pt x="2570162" y="984476"/>
                  <a:pt x="2531175" y="977666"/>
                </a:cubicBezTo>
                <a:cubicBezTo>
                  <a:pt x="2492188" y="970695"/>
                  <a:pt x="2460887" y="946580"/>
                  <a:pt x="2442234" y="915014"/>
                </a:cubicBezTo>
                <a:cubicBezTo>
                  <a:pt x="2418618" y="943135"/>
                  <a:pt x="2383634" y="961402"/>
                  <a:pt x="2344007" y="961402"/>
                </a:cubicBezTo>
                <a:cubicBezTo>
                  <a:pt x="2304460" y="961402"/>
                  <a:pt x="2269395" y="943135"/>
                  <a:pt x="2245699" y="915014"/>
                </a:cubicBezTo>
                <a:close/>
                <a:moveTo>
                  <a:pt x="3539946" y="904118"/>
                </a:moveTo>
                <a:cubicBezTo>
                  <a:pt x="3612315" y="904118"/>
                  <a:pt x="3670996" y="962764"/>
                  <a:pt x="3670996" y="1035349"/>
                </a:cubicBezTo>
                <a:cubicBezTo>
                  <a:pt x="3670996" y="1107775"/>
                  <a:pt x="3612395" y="1166501"/>
                  <a:pt x="3539946" y="1166501"/>
                </a:cubicBezTo>
                <a:cubicBezTo>
                  <a:pt x="3467416" y="1166501"/>
                  <a:pt x="3408816" y="1107775"/>
                  <a:pt x="3408816" y="1035349"/>
                </a:cubicBezTo>
                <a:cubicBezTo>
                  <a:pt x="3408816" y="962844"/>
                  <a:pt x="3467496" y="904118"/>
                  <a:pt x="3539946" y="904118"/>
                </a:cubicBezTo>
                <a:close/>
                <a:moveTo>
                  <a:pt x="1148147" y="904118"/>
                </a:moveTo>
                <a:cubicBezTo>
                  <a:pt x="1220676" y="904118"/>
                  <a:pt x="1279357" y="962764"/>
                  <a:pt x="1279357" y="1035349"/>
                </a:cubicBezTo>
                <a:cubicBezTo>
                  <a:pt x="1279357" y="1107775"/>
                  <a:pt x="1220756" y="1166501"/>
                  <a:pt x="1148147" y="1166501"/>
                </a:cubicBezTo>
                <a:cubicBezTo>
                  <a:pt x="1075937" y="1166501"/>
                  <a:pt x="1017257" y="1107775"/>
                  <a:pt x="1017177" y="1035349"/>
                </a:cubicBezTo>
                <a:cubicBezTo>
                  <a:pt x="1017177" y="962844"/>
                  <a:pt x="1075857" y="904118"/>
                  <a:pt x="1148147" y="904118"/>
                </a:cubicBezTo>
                <a:close/>
                <a:moveTo>
                  <a:pt x="3347895" y="711517"/>
                </a:moveTo>
                <a:cubicBezTo>
                  <a:pt x="3420264" y="711517"/>
                  <a:pt x="3478945" y="770243"/>
                  <a:pt x="3478945" y="842668"/>
                </a:cubicBezTo>
                <a:cubicBezTo>
                  <a:pt x="3478945" y="915254"/>
                  <a:pt x="3420344" y="973820"/>
                  <a:pt x="3347895" y="973820"/>
                </a:cubicBezTo>
                <a:cubicBezTo>
                  <a:pt x="3275445" y="973820"/>
                  <a:pt x="3216765" y="915254"/>
                  <a:pt x="3216765" y="842668"/>
                </a:cubicBezTo>
                <a:cubicBezTo>
                  <a:pt x="3216765" y="770243"/>
                  <a:pt x="3275445" y="711517"/>
                  <a:pt x="3347895" y="711517"/>
                </a:cubicBezTo>
                <a:close/>
                <a:moveTo>
                  <a:pt x="3805808" y="698699"/>
                </a:moveTo>
                <a:cubicBezTo>
                  <a:pt x="3868251" y="698699"/>
                  <a:pt x="3919006" y="749413"/>
                  <a:pt x="3919006" y="812064"/>
                </a:cubicBezTo>
                <a:cubicBezTo>
                  <a:pt x="3919006" y="874636"/>
                  <a:pt x="3868251" y="925430"/>
                  <a:pt x="3805808" y="925430"/>
                </a:cubicBezTo>
                <a:cubicBezTo>
                  <a:pt x="3743126" y="925430"/>
                  <a:pt x="3692531" y="874636"/>
                  <a:pt x="3692611" y="812064"/>
                </a:cubicBezTo>
                <a:cubicBezTo>
                  <a:pt x="3692611" y="749413"/>
                  <a:pt x="3743205" y="698699"/>
                  <a:pt x="3805808" y="698699"/>
                </a:cubicBezTo>
                <a:close/>
                <a:moveTo>
                  <a:pt x="2344247" y="687883"/>
                </a:moveTo>
                <a:cubicBezTo>
                  <a:pt x="2392760" y="687883"/>
                  <a:pt x="2434389" y="714882"/>
                  <a:pt x="2456484" y="754220"/>
                </a:cubicBezTo>
                <a:cubicBezTo>
                  <a:pt x="2485063" y="719209"/>
                  <a:pt x="2530935" y="699820"/>
                  <a:pt x="2578807" y="708313"/>
                </a:cubicBezTo>
                <a:cubicBezTo>
                  <a:pt x="2626600" y="716645"/>
                  <a:pt x="2662945" y="750534"/>
                  <a:pt x="2677835" y="793477"/>
                </a:cubicBezTo>
                <a:cubicBezTo>
                  <a:pt x="2712099" y="763673"/>
                  <a:pt x="2760612" y="752617"/>
                  <a:pt x="2806243" y="769202"/>
                </a:cubicBezTo>
                <a:cubicBezTo>
                  <a:pt x="2851875" y="785866"/>
                  <a:pt x="2881735" y="825604"/>
                  <a:pt x="2888860" y="870149"/>
                </a:cubicBezTo>
                <a:cubicBezTo>
                  <a:pt x="2927847" y="847075"/>
                  <a:pt x="2977481" y="844591"/>
                  <a:pt x="3019349" y="868947"/>
                </a:cubicBezTo>
                <a:cubicBezTo>
                  <a:pt x="3061699" y="893142"/>
                  <a:pt x="3084274" y="937447"/>
                  <a:pt x="3083473" y="982713"/>
                </a:cubicBezTo>
                <a:cubicBezTo>
                  <a:pt x="3125902" y="966609"/>
                  <a:pt x="3175136" y="972698"/>
                  <a:pt x="3212522" y="1003944"/>
                </a:cubicBezTo>
                <a:cubicBezTo>
                  <a:pt x="3249667" y="1035109"/>
                  <a:pt x="3264318" y="1082779"/>
                  <a:pt x="3255591" y="1127244"/>
                </a:cubicBezTo>
                <a:cubicBezTo>
                  <a:pt x="3300262" y="1118671"/>
                  <a:pt x="3347735" y="1133413"/>
                  <a:pt x="3378796" y="1170667"/>
                </a:cubicBezTo>
                <a:cubicBezTo>
                  <a:pt x="3410338" y="1207841"/>
                  <a:pt x="3416181" y="1257113"/>
                  <a:pt x="3400090" y="1299655"/>
                </a:cubicBezTo>
                <a:cubicBezTo>
                  <a:pt x="3445481" y="1298854"/>
                  <a:pt x="3489672" y="1321527"/>
                  <a:pt x="3513848" y="1363668"/>
                </a:cubicBezTo>
                <a:cubicBezTo>
                  <a:pt x="3538425" y="1405650"/>
                  <a:pt x="3535703" y="1455402"/>
                  <a:pt x="3512488" y="1494259"/>
                </a:cubicBezTo>
                <a:cubicBezTo>
                  <a:pt x="3557238" y="1501469"/>
                  <a:pt x="3597105" y="1531433"/>
                  <a:pt x="3613596" y="1577180"/>
                </a:cubicBezTo>
                <a:cubicBezTo>
                  <a:pt x="3630088" y="1622766"/>
                  <a:pt x="3619120" y="1671237"/>
                  <a:pt x="3589260" y="1705527"/>
                </a:cubicBezTo>
                <a:cubicBezTo>
                  <a:pt x="3632169" y="1720509"/>
                  <a:pt x="3665953" y="1757122"/>
                  <a:pt x="3674438" y="1804792"/>
                </a:cubicBezTo>
                <a:cubicBezTo>
                  <a:pt x="3682924" y="1852621"/>
                  <a:pt x="3663551" y="1898448"/>
                  <a:pt x="3628487" y="1927130"/>
                </a:cubicBezTo>
                <a:cubicBezTo>
                  <a:pt x="3668034" y="1949242"/>
                  <a:pt x="3695253" y="1990983"/>
                  <a:pt x="3695093" y="2039694"/>
                </a:cubicBezTo>
                <a:cubicBezTo>
                  <a:pt x="3695172" y="2088085"/>
                  <a:pt x="3668034" y="2129906"/>
                  <a:pt x="3628487" y="2151858"/>
                </a:cubicBezTo>
                <a:cubicBezTo>
                  <a:pt x="3663551" y="2180459"/>
                  <a:pt x="3682764" y="2226527"/>
                  <a:pt x="3674438" y="2274276"/>
                </a:cubicBezTo>
                <a:cubicBezTo>
                  <a:pt x="3665953" y="2322026"/>
                  <a:pt x="3632090" y="2358479"/>
                  <a:pt x="3589260" y="2373301"/>
                </a:cubicBezTo>
                <a:cubicBezTo>
                  <a:pt x="3618880" y="2407591"/>
                  <a:pt x="3630088" y="2455981"/>
                  <a:pt x="3613596" y="2501648"/>
                </a:cubicBezTo>
                <a:cubicBezTo>
                  <a:pt x="3597105" y="2547154"/>
                  <a:pt x="3557238" y="2577198"/>
                  <a:pt x="3512488" y="2584408"/>
                </a:cubicBezTo>
                <a:cubicBezTo>
                  <a:pt x="3535703" y="2623345"/>
                  <a:pt x="3538425" y="2673178"/>
                  <a:pt x="3513848" y="2715239"/>
                </a:cubicBezTo>
                <a:cubicBezTo>
                  <a:pt x="3489752" y="2757300"/>
                  <a:pt x="3445481" y="2779733"/>
                  <a:pt x="3400090" y="2779092"/>
                </a:cubicBezTo>
                <a:cubicBezTo>
                  <a:pt x="3416181" y="2821634"/>
                  <a:pt x="3410017" y="2870986"/>
                  <a:pt x="3378796" y="2908161"/>
                </a:cubicBezTo>
                <a:cubicBezTo>
                  <a:pt x="3347735" y="2945415"/>
                  <a:pt x="3300182" y="2959916"/>
                  <a:pt x="3255591" y="2951584"/>
                </a:cubicBezTo>
                <a:cubicBezTo>
                  <a:pt x="3264318" y="2996049"/>
                  <a:pt x="3249587" y="3043718"/>
                  <a:pt x="3212362" y="3074804"/>
                </a:cubicBezTo>
                <a:cubicBezTo>
                  <a:pt x="3175056" y="3105969"/>
                  <a:pt x="3125822" y="3112058"/>
                  <a:pt x="3083393" y="3096115"/>
                </a:cubicBezTo>
                <a:cubicBezTo>
                  <a:pt x="3084194" y="3141300"/>
                  <a:pt x="3061458" y="3185685"/>
                  <a:pt x="3019269" y="3209961"/>
                </a:cubicBezTo>
                <a:cubicBezTo>
                  <a:pt x="2977401" y="3234236"/>
                  <a:pt x="2927927" y="3231592"/>
                  <a:pt x="2888860" y="3208438"/>
                </a:cubicBezTo>
                <a:cubicBezTo>
                  <a:pt x="2881815" y="3253224"/>
                  <a:pt x="2851795" y="3292882"/>
                  <a:pt x="2805923" y="3309546"/>
                </a:cubicBezTo>
                <a:cubicBezTo>
                  <a:pt x="2760372" y="3326130"/>
                  <a:pt x="2712099" y="3314914"/>
                  <a:pt x="2678075" y="3285351"/>
                </a:cubicBezTo>
                <a:cubicBezTo>
                  <a:pt x="2663185" y="3328373"/>
                  <a:pt x="2626600" y="3362022"/>
                  <a:pt x="2578888" y="3370675"/>
                </a:cubicBezTo>
                <a:cubicBezTo>
                  <a:pt x="2531095" y="3379007"/>
                  <a:pt x="2485303" y="3359539"/>
                  <a:pt x="2456644" y="3324368"/>
                </a:cubicBezTo>
                <a:cubicBezTo>
                  <a:pt x="2434709" y="3364025"/>
                  <a:pt x="2393000" y="3391025"/>
                  <a:pt x="2344407" y="3391025"/>
                </a:cubicBezTo>
                <a:cubicBezTo>
                  <a:pt x="2295894" y="3391025"/>
                  <a:pt x="2253945" y="3364025"/>
                  <a:pt x="2232010" y="3324368"/>
                </a:cubicBezTo>
                <a:cubicBezTo>
                  <a:pt x="2203350" y="3359459"/>
                  <a:pt x="2157479" y="3378847"/>
                  <a:pt x="2109766" y="3370355"/>
                </a:cubicBezTo>
                <a:cubicBezTo>
                  <a:pt x="2061973" y="3361942"/>
                  <a:pt x="2025628" y="3328213"/>
                  <a:pt x="2010578" y="3285190"/>
                </a:cubicBezTo>
                <a:cubicBezTo>
                  <a:pt x="1976315" y="3314834"/>
                  <a:pt x="1927881" y="3326050"/>
                  <a:pt x="1882330" y="3309386"/>
                </a:cubicBezTo>
                <a:cubicBezTo>
                  <a:pt x="1836619" y="3293042"/>
                  <a:pt x="1806758" y="3253304"/>
                  <a:pt x="1799393" y="3208519"/>
                </a:cubicBezTo>
                <a:cubicBezTo>
                  <a:pt x="1760567" y="3231592"/>
                  <a:pt x="1710853" y="3234076"/>
                  <a:pt x="1668904" y="3209721"/>
                </a:cubicBezTo>
                <a:cubicBezTo>
                  <a:pt x="1626875" y="3185525"/>
                  <a:pt x="1604300" y="3141141"/>
                  <a:pt x="1604940" y="3095874"/>
                </a:cubicBezTo>
                <a:cubicBezTo>
                  <a:pt x="1562671" y="3111978"/>
                  <a:pt x="1513277" y="3105889"/>
                  <a:pt x="1476052" y="3074723"/>
                </a:cubicBezTo>
                <a:cubicBezTo>
                  <a:pt x="1438906" y="3043558"/>
                  <a:pt x="1424176" y="2995888"/>
                  <a:pt x="1432902" y="2951424"/>
                </a:cubicBezTo>
                <a:cubicBezTo>
                  <a:pt x="1388312" y="2959916"/>
                  <a:pt x="1340839" y="2945255"/>
                  <a:pt x="1309698" y="2908000"/>
                </a:cubicBezTo>
                <a:cubicBezTo>
                  <a:pt x="1278316" y="2870906"/>
                  <a:pt x="1272232" y="2821634"/>
                  <a:pt x="1288403" y="2779012"/>
                </a:cubicBezTo>
                <a:cubicBezTo>
                  <a:pt x="1243012" y="2779653"/>
                  <a:pt x="1198822" y="2757140"/>
                  <a:pt x="1174405" y="2715079"/>
                </a:cubicBezTo>
                <a:cubicBezTo>
                  <a:pt x="1150068" y="2673098"/>
                  <a:pt x="1152870" y="2623345"/>
                  <a:pt x="1176006" y="2584328"/>
                </a:cubicBezTo>
                <a:cubicBezTo>
                  <a:pt x="1131256" y="2577118"/>
                  <a:pt x="1091548" y="2547074"/>
                  <a:pt x="1075057" y="2501568"/>
                </a:cubicBezTo>
                <a:cubicBezTo>
                  <a:pt x="1058245" y="2455981"/>
                  <a:pt x="1069453" y="2407430"/>
                  <a:pt x="1099073" y="2373220"/>
                </a:cubicBezTo>
                <a:cubicBezTo>
                  <a:pt x="1056324" y="2358319"/>
                  <a:pt x="1022381" y="2321946"/>
                  <a:pt x="1013895" y="2274196"/>
                </a:cubicBezTo>
                <a:cubicBezTo>
                  <a:pt x="1005489" y="2226366"/>
                  <a:pt x="1025103" y="2180379"/>
                  <a:pt x="1060167" y="2151858"/>
                </a:cubicBezTo>
                <a:cubicBezTo>
                  <a:pt x="1020620" y="2129826"/>
                  <a:pt x="993481" y="2088005"/>
                  <a:pt x="993481" y="2039534"/>
                </a:cubicBezTo>
                <a:cubicBezTo>
                  <a:pt x="993481" y="1990983"/>
                  <a:pt x="1020620" y="1949242"/>
                  <a:pt x="1060167" y="1927130"/>
                </a:cubicBezTo>
                <a:cubicBezTo>
                  <a:pt x="1025103" y="1898368"/>
                  <a:pt x="1005649" y="1852541"/>
                  <a:pt x="1013895" y="1804792"/>
                </a:cubicBezTo>
                <a:cubicBezTo>
                  <a:pt x="1022381" y="1757122"/>
                  <a:pt x="1056404" y="1720509"/>
                  <a:pt x="1099073" y="1705527"/>
                </a:cubicBezTo>
                <a:cubicBezTo>
                  <a:pt x="1069613" y="1671237"/>
                  <a:pt x="1058566" y="1622846"/>
                  <a:pt x="1075057" y="1577180"/>
                </a:cubicBezTo>
                <a:cubicBezTo>
                  <a:pt x="1091548" y="1531593"/>
                  <a:pt x="1131256" y="1501549"/>
                  <a:pt x="1176166" y="1494259"/>
                </a:cubicBezTo>
                <a:cubicBezTo>
                  <a:pt x="1152790" y="1455482"/>
                  <a:pt x="1150148" y="1405650"/>
                  <a:pt x="1174325" y="1363668"/>
                </a:cubicBezTo>
                <a:cubicBezTo>
                  <a:pt x="1198822" y="1321527"/>
                  <a:pt x="1243092" y="1299014"/>
                  <a:pt x="1288323" y="1299655"/>
                </a:cubicBezTo>
                <a:cubicBezTo>
                  <a:pt x="1272232" y="1257193"/>
                  <a:pt x="1278236" y="1207921"/>
                  <a:pt x="1309618" y="1170667"/>
                </a:cubicBezTo>
                <a:cubicBezTo>
                  <a:pt x="1340759" y="1133573"/>
                  <a:pt x="1388392" y="1118831"/>
                  <a:pt x="1432822" y="1127324"/>
                </a:cubicBezTo>
                <a:cubicBezTo>
                  <a:pt x="1424336" y="1082779"/>
                  <a:pt x="1438826" y="1035269"/>
                  <a:pt x="1475972" y="1003944"/>
                </a:cubicBezTo>
                <a:cubicBezTo>
                  <a:pt x="1513197" y="972939"/>
                  <a:pt x="1562591" y="966770"/>
                  <a:pt x="1604860" y="982873"/>
                </a:cubicBezTo>
                <a:cubicBezTo>
                  <a:pt x="1604300" y="937527"/>
                  <a:pt x="1626795" y="893142"/>
                  <a:pt x="1668824" y="868947"/>
                </a:cubicBezTo>
                <a:cubicBezTo>
                  <a:pt x="1710773" y="844752"/>
                  <a:pt x="1760487" y="847235"/>
                  <a:pt x="1799473" y="870309"/>
                </a:cubicBezTo>
                <a:cubicBezTo>
                  <a:pt x="1806678" y="825604"/>
                  <a:pt x="1836539" y="785866"/>
                  <a:pt x="1882250" y="769202"/>
                </a:cubicBezTo>
                <a:cubicBezTo>
                  <a:pt x="1927801" y="752778"/>
                  <a:pt x="1976235" y="763834"/>
                  <a:pt x="2010578" y="793477"/>
                </a:cubicBezTo>
                <a:cubicBezTo>
                  <a:pt x="2025468" y="750614"/>
                  <a:pt x="2061893" y="716805"/>
                  <a:pt x="2109606" y="708313"/>
                </a:cubicBezTo>
                <a:cubicBezTo>
                  <a:pt x="2157399" y="699981"/>
                  <a:pt x="2203190" y="719369"/>
                  <a:pt x="2231850" y="754540"/>
                </a:cubicBezTo>
                <a:cubicBezTo>
                  <a:pt x="2253945" y="714882"/>
                  <a:pt x="2295734" y="687883"/>
                  <a:pt x="2344247" y="687883"/>
                </a:cubicBezTo>
                <a:close/>
                <a:moveTo>
                  <a:pt x="3570447" y="463396"/>
                </a:moveTo>
                <a:cubicBezTo>
                  <a:pt x="3633050" y="463396"/>
                  <a:pt x="3683805" y="514110"/>
                  <a:pt x="3683805" y="576761"/>
                </a:cubicBezTo>
                <a:cubicBezTo>
                  <a:pt x="3683805" y="639333"/>
                  <a:pt x="3633050" y="690127"/>
                  <a:pt x="3570447" y="690127"/>
                </a:cubicBezTo>
                <a:cubicBezTo>
                  <a:pt x="3508005" y="690127"/>
                  <a:pt x="3457410" y="639333"/>
                  <a:pt x="3457410" y="576761"/>
                </a:cubicBezTo>
                <a:cubicBezTo>
                  <a:pt x="3457410" y="514110"/>
                  <a:pt x="3508005" y="463396"/>
                  <a:pt x="3570447" y="463396"/>
                </a:cubicBezTo>
                <a:close/>
                <a:moveTo>
                  <a:pt x="2072861" y="369899"/>
                </a:moveTo>
                <a:cubicBezTo>
                  <a:pt x="2145230" y="369899"/>
                  <a:pt x="2203911" y="428545"/>
                  <a:pt x="2203911" y="500970"/>
                </a:cubicBezTo>
                <a:cubicBezTo>
                  <a:pt x="2203911" y="573476"/>
                  <a:pt x="2145310" y="632202"/>
                  <a:pt x="2072861" y="632202"/>
                </a:cubicBezTo>
                <a:cubicBezTo>
                  <a:pt x="2000571" y="632202"/>
                  <a:pt x="1941971" y="573556"/>
                  <a:pt x="1941891" y="500970"/>
                </a:cubicBezTo>
                <a:cubicBezTo>
                  <a:pt x="1941891" y="428625"/>
                  <a:pt x="2000571" y="369899"/>
                  <a:pt x="2072861" y="369899"/>
                </a:cubicBezTo>
                <a:close/>
                <a:moveTo>
                  <a:pt x="2615072" y="369579"/>
                </a:moveTo>
                <a:cubicBezTo>
                  <a:pt x="2687442" y="369579"/>
                  <a:pt x="2746122" y="428224"/>
                  <a:pt x="2746122" y="500810"/>
                </a:cubicBezTo>
                <a:cubicBezTo>
                  <a:pt x="2746122" y="573236"/>
                  <a:pt x="2687522" y="631962"/>
                  <a:pt x="2615072" y="631962"/>
                </a:cubicBezTo>
                <a:cubicBezTo>
                  <a:pt x="2542622" y="631962"/>
                  <a:pt x="2484022" y="573236"/>
                  <a:pt x="2483942" y="500810"/>
                </a:cubicBezTo>
                <a:cubicBezTo>
                  <a:pt x="2483942" y="428305"/>
                  <a:pt x="2542622" y="369579"/>
                  <a:pt x="2615072" y="369579"/>
                </a:cubicBezTo>
                <a:close/>
                <a:moveTo>
                  <a:pt x="2344087" y="346024"/>
                </a:moveTo>
                <a:cubicBezTo>
                  <a:pt x="2416457" y="346024"/>
                  <a:pt x="2475137" y="404830"/>
                  <a:pt x="2475137" y="477255"/>
                </a:cubicBezTo>
                <a:cubicBezTo>
                  <a:pt x="2475137" y="549681"/>
                  <a:pt x="2416537" y="608407"/>
                  <a:pt x="2344087" y="608407"/>
                </a:cubicBezTo>
                <a:cubicBezTo>
                  <a:pt x="2271637" y="608407"/>
                  <a:pt x="2212957" y="549681"/>
                  <a:pt x="2213037" y="477255"/>
                </a:cubicBezTo>
                <a:cubicBezTo>
                  <a:pt x="2213037" y="404830"/>
                  <a:pt x="2271717" y="346024"/>
                  <a:pt x="2344087" y="346024"/>
                </a:cubicBezTo>
                <a:close/>
                <a:moveTo>
                  <a:pt x="3298021" y="272557"/>
                </a:moveTo>
                <a:cubicBezTo>
                  <a:pt x="3360624" y="272557"/>
                  <a:pt x="3411218" y="323191"/>
                  <a:pt x="3411218" y="385762"/>
                </a:cubicBezTo>
                <a:cubicBezTo>
                  <a:pt x="3411218" y="448413"/>
                  <a:pt x="3360624" y="499127"/>
                  <a:pt x="3298021" y="499127"/>
                </a:cubicBezTo>
                <a:cubicBezTo>
                  <a:pt x="3235578" y="499127"/>
                  <a:pt x="3184823" y="448413"/>
                  <a:pt x="3184823" y="385762"/>
                </a:cubicBezTo>
                <a:cubicBezTo>
                  <a:pt x="3184823" y="323191"/>
                  <a:pt x="3235578" y="272557"/>
                  <a:pt x="3298021" y="272557"/>
                </a:cubicBezTo>
                <a:close/>
                <a:moveTo>
                  <a:pt x="3793320" y="224968"/>
                </a:moveTo>
                <a:cubicBezTo>
                  <a:pt x="3842474" y="224968"/>
                  <a:pt x="3882421" y="264946"/>
                  <a:pt x="3882421" y="314138"/>
                </a:cubicBezTo>
                <a:cubicBezTo>
                  <a:pt x="3882421" y="363490"/>
                  <a:pt x="3842474" y="403468"/>
                  <a:pt x="3793320" y="403468"/>
                </a:cubicBezTo>
                <a:cubicBezTo>
                  <a:pt x="3743926" y="403468"/>
                  <a:pt x="3703979" y="363490"/>
                  <a:pt x="3703979" y="314138"/>
                </a:cubicBezTo>
                <a:cubicBezTo>
                  <a:pt x="3703979" y="264946"/>
                  <a:pt x="3743926" y="224968"/>
                  <a:pt x="3793320" y="224968"/>
                </a:cubicBezTo>
                <a:close/>
                <a:moveTo>
                  <a:pt x="3473821" y="0"/>
                </a:moveTo>
                <a:cubicBezTo>
                  <a:pt x="3522975" y="0"/>
                  <a:pt x="3562922" y="39978"/>
                  <a:pt x="3562922" y="89170"/>
                </a:cubicBezTo>
                <a:cubicBezTo>
                  <a:pt x="3562922" y="138362"/>
                  <a:pt x="3522975" y="178340"/>
                  <a:pt x="3473821" y="178340"/>
                </a:cubicBezTo>
                <a:cubicBezTo>
                  <a:pt x="3424507" y="178340"/>
                  <a:pt x="3384560" y="138362"/>
                  <a:pt x="3384560" y="89170"/>
                </a:cubicBezTo>
                <a:cubicBezTo>
                  <a:pt x="3384560" y="39978"/>
                  <a:pt x="3424428" y="0"/>
                  <a:pt x="3473821" y="0"/>
                </a:cubicBezTo>
                <a:close/>
              </a:path>
            </a:pathLst>
          </a:custGeom>
          <a:solidFill>
            <a:schemeClr val="accent1"/>
          </a:solidFill>
          <a:ln w="8000" cap="flat">
            <a:noFill/>
            <a:prstDash val="solid"/>
            <a:miter/>
          </a:ln>
        </p:spPr>
        <p:txBody>
          <a:bodyPr rtlCol="0" anchor="ctr"/>
          <a:lstStyle/>
          <a:p>
            <a:endParaRPr lang="en-US"/>
          </a:p>
        </p:txBody>
      </p:sp>
      <p:sp>
        <p:nvSpPr>
          <p:cNvPr id="33" name="Text Placeholder 34">
            <a:extLst>
              <a:ext uri="{FF2B5EF4-FFF2-40B4-BE49-F238E27FC236}">
                <a16:creationId xmlns:a16="http://schemas.microsoft.com/office/drawing/2014/main" id="{6E9F9D97-62DD-8DC8-210B-F7C0F877A8F7}"/>
              </a:ext>
            </a:extLst>
          </p:cNvPr>
          <p:cNvSpPr>
            <a:spLocks noGrp="1"/>
          </p:cNvSpPr>
          <p:nvPr>
            <p:ph type="body" sz="quarter" idx="10"/>
          </p:nvPr>
        </p:nvSpPr>
        <p:spPr>
          <a:xfrm>
            <a:off x="328743" y="5971977"/>
            <a:ext cx="5583600" cy="403200"/>
          </a:xfrm>
        </p:spPr>
        <p:txBody>
          <a:bodyPr anchor="b" anchorCtr="0"/>
          <a:lstStyle>
            <a:lvl1pPr>
              <a:defRPr sz="570">
                <a:solidFill>
                  <a:schemeClr val="tx1"/>
                </a:solidFill>
              </a:defRPr>
            </a:lvl1pPr>
            <a:lvl2pPr marL="92075" indent="-92075">
              <a:tabLst/>
              <a:defRPr sz="570"/>
            </a:lvl2pPr>
            <a:lvl3pPr marL="179388" indent="-87313">
              <a:tabLst/>
              <a:defRPr sz="570"/>
            </a:lvl3pPr>
            <a:lvl4pPr marL="271463" indent="-92075">
              <a:tabLst/>
              <a:defRPr sz="570"/>
            </a:lvl4pPr>
            <a:lvl5pPr marL="358775" indent="-87313">
              <a:tabLst/>
              <a:defRPr sz="570"/>
            </a:lvl5pPr>
          </a:lstStyle>
          <a:p>
            <a:pPr lvl="0"/>
            <a:r>
              <a:rPr lang="en-US"/>
              <a:t>Click to edit Master text styles</a:t>
            </a:r>
          </a:p>
        </p:txBody>
      </p:sp>
      <p:sp>
        <p:nvSpPr>
          <p:cNvPr id="34" name="Text Placeholder 34">
            <a:extLst>
              <a:ext uri="{FF2B5EF4-FFF2-40B4-BE49-F238E27FC236}">
                <a16:creationId xmlns:a16="http://schemas.microsoft.com/office/drawing/2014/main" id="{E4E0BD5F-FEBB-EF6B-B3D1-47F541F479CA}"/>
              </a:ext>
            </a:extLst>
          </p:cNvPr>
          <p:cNvSpPr>
            <a:spLocks noGrp="1"/>
          </p:cNvSpPr>
          <p:nvPr>
            <p:ph type="body" sz="quarter" idx="11"/>
          </p:nvPr>
        </p:nvSpPr>
        <p:spPr>
          <a:xfrm>
            <a:off x="328743" y="6392076"/>
            <a:ext cx="5583600" cy="155265"/>
          </a:xfrm>
        </p:spPr>
        <p:txBody>
          <a:bodyPr anchor="b" anchorCtr="0"/>
          <a:lstStyle>
            <a:lvl1pPr>
              <a:defRPr sz="570">
                <a:solidFill>
                  <a:schemeClr val="tx1"/>
                </a:solidFill>
              </a:defRPr>
            </a:lvl1pPr>
            <a:lvl2pPr marL="92075" indent="-92075">
              <a:tabLst/>
              <a:defRPr sz="570"/>
            </a:lvl2pPr>
            <a:lvl3pPr marL="179388" indent="-87313">
              <a:tabLst/>
              <a:defRPr sz="570"/>
            </a:lvl3pPr>
            <a:lvl4pPr marL="271463" indent="-92075">
              <a:tabLst/>
              <a:defRPr sz="570"/>
            </a:lvl4pPr>
            <a:lvl5pPr marL="358775" indent="-87313">
              <a:tabLst/>
              <a:defRPr sz="570"/>
            </a:lvl5pPr>
          </a:lstStyle>
          <a:p>
            <a:pPr lvl="0"/>
            <a:r>
              <a:rPr lang="en-US"/>
              <a:t>Click to edit Master text styles</a:t>
            </a:r>
          </a:p>
        </p:txBody>
      </p:sp>
      <p:sp>
        <p:nvSpPr>
          <p:cNvPr id="13" name="Subtitle 2">
            <a:extLst>
              <a:ext uri="{FF2B5EF4-FFF2-40B4-BE49-F238E27FC236}">
                <a16:creationId xmlns:a16="http://schemas.microsoft.com/office/drawing/2014/main" id="{9DD0A7C3-9364-4D66-A7AC-E83D08877D89}"/>
              </a:ext>
            </a:extLst>
          </p:cNvPr>
          <p:cNvSpPr>
            <a:spLocks noGrp="1"/>
          </p:cNvSpPr>
          <p:nvPr>
            <p:ph type="subTitle" idx="1"/>
          </p:nvPr>
        </p:nvSpPr>
        <p:spPr>
          <a:xfrm>
            <a:off x="322351" y="4387489"/>
            <a:ext cx="4867658" cy="839568"/>
          </a:xfrm>
        </p:spPr>
        <p:txBody>
          <a:bodyPr anchor="t" anchorCtr="0"/>
          <a:lstStyle>
            <a:lvl1pPr marL="0" indent="0" algn="l">
              <a:buNone/>
              <a:defRPr sz="2600" b="0" i="0" cap="all" baseline="0">
                <a:solidFill>
                  <a:schemeClr val="tx1"/>
                </a:solidFill>
                <a:latin typeface="Aptos Black" panose="020B00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7903055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Column Graphics - Blue BG">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2" y="300859"/>
            <a:ext cx="10543243" cy="751000"/>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bg1"/>
                </a:solidFill>
              </a:defRPr>
            </a:lvl1pPr>
          </a:lstStyle>
          <a:p>
            <a:fld id="{AAF502CD-F636-C049-B05E-4ED95BC0AEE0}" type="slidenum">
              <a:rPr lang="en-US" smtClean="0"/>
              <a:pPr/>
              <a:t>‹#›</a:t>
            </a:fld>
            <a:endParaRPr lang="en-US"/>
          </a:p>
        </p:txBody>
      </p:sp>
      <p:sp>
        <p:nvSpPr>
          <p:cNvPr id="8" name="Picture Placeholder 6">
            <a:extLst>
              <a:ext uri="{FF2B5EF4-FFF2-40B4-BE49-F238E27FC236}">
                <a16:creationId xmlns:a16="http://schemas.microsoft.com/office/drawing/2014/main" id="{94A244D6-0A96-E7C4-4E93-FECB87EBB6C8}"/>
              </a:ext>
            </a:extLst>
          </p:cNvPr>
          <p:cNvSpPr>
            <a:spLocks noGrp="1"/>
          </p:cNvSpPr>
          <p:nvPr>
            <p:ph type="pic" sz="quarter" idx="13"/>
          </p:nvPr>
        </p:nvSpPr>
        <p:spPr>
          <a:xfrm>
            <a:off x="1927647" y="1159435"/>
            <a:ext cx="1476000" cy="1476000"/>
          </a:xfrm>
          <a:prstGeom prst="ellipse">
            <a:avLst/>
          </a:prstGeom>
          <a:solidFill>
            <a:schemeClr val="bg1"/>
          </a:solidFill>
        </p:spPr>
        <p:txBody>
          <a:bodyPr anchor="ctr" anchorCtr="0"/>
          <a:lstStyle>
            <a:lvl1pPr algn="ctr">
              <a:defRPr sz="1000">
                <a:solidFill>
                  <a:schemeClr val="tx1"/>
                </a:solidFill>
              </a:defRPr>
            </a:lvl1pPr>
          </a:lstStyle>
          <a:p>
            <a:r>
              <a:rPr lang="en-US"/>
              <a:t>Click icon to add picture</a:t>
            </a:r>
          </a:p>
        </p:txBody>
      </p:sp>
      <p:sp>
        <p:nvSpPr>
          <p:cNvPr id="18" name="Picture Placeholder 6">
            <a:extLst>
              <a:ext uri="{FF2B5EF4-FFF2-40B4-BE49-F238E27FC236}">
                <a16:creationId xmlns:a16="http://schemas.microsoft.com/office/drawing/2014/main" id="{1CBDF4E2-E0CF-AC6D-816C-8B12DFBDBE38}"/>
              </a:ext>
            </a:extLst>
          </p:cNvPr>
          <p:cNvSpPr>
            <a:spLocks noGrp="1"/>
          </p:cNvSpPr>
          <p:nvPr>
            <p:ph type="pic" sz="quarter" idx="17"/>
          </p:nvPr>
        </p:nvSpPr>
        <p:spPr>
          <a:xfrm>
            <a:off x="5358890" y="1159435"/>
            <a:ext cx="1476000" cy="1476000"/>
          </a:xfrm>
          <a:prstGeom prst="ellipse">
            <a:avLst/>
          </a:prstGeom>
          <a:solidFill>
            <a:schemeClr val="bg1"/>
          </a:solidFill>
        </p:spPr>
        <p:txBody>
          <a:bodyPr anchor="ctr" anchorCtr="0"/>
          <a:lstStyle>
            <a:lvl1pPr algn="ctr">
              <a:defRPr sz="1000">
                <a:solidFill>
                  <a:schemeClr val="tx1"/>
                </a:solidFill>
              </a:defRPr>
            </a:lvl1pPr>
          </a:lstStyle>
          <a:p>
            <a:r>
              <a:rPr lang="en-US"/>
              <a:t>Click icon to add picture</a:t>
            </a:r>
          </a:p>
        </p:txBody>
      </p:sp>
      <p:sp>
        <p:nvSpPr>
          <p:cNvPr id="20" name="Picture Placeholder 6">
            <a:extLst>
              <a:ext uri="{FF2B5EF4-FFF2-40B4-BE49-F238E27FC236}">
                <a16:creationId xmlns:a16="http://schemas.microsoft.com/office/drawing/2014/main" id="{5E218E37-9A75-BBCB-D8E6-E88D27CB70C4}"/>
              </a:ext>
            </a:extLst>
          </p:cNvPr>
          <p:cNvSpPr>
            <a:spLocks noGrp="1"/>
          </p:cNvSpPr>
          <p:nvPr>
            <p:ph type="pic" sz="quarter" idx="19"/>
          </p:nvPr>
        </p:nvSpPr>
        <p:spPr>
          <a:xfrm>
            <a:off x="8796152" y="1159435"/>
            <a:ext cx="1476000" cy="1476000"/>
          </a:xfrm>
          <a:prstGeom prst="ellipse">
            <a:avLst/>
          </a:prstGeom>
          <a:solidFill>
            <a:schemeClr val="bg1"/>
          </a:solidFill>
        </p:spPr>
        <p:txBody>
          <a:bodyPr anchor="ctr" anchorCtr="0"/>
          <a:lstStyle>
            <a:lvl1pPr algn="ctr">
              <a:defRPr sz="1000">
                <a:solidFill>
                  <a:schemeClr val="tx1"/>
                </a:solidFill>
              </a:defRPr>
            </a:lvl1pPr>
          </a:lstStyle>
          <a:p>
            <a:r>
              <a:rPr lang="en-US"/>
              <a:t>Click icon to add picture</a:t>
            </a:r>
          </a:p>
        </p:txBody>
      </p:sp>
      <p:sp>
        <p:nvSpPr>
          <p:cNvPr id="29" name="Text Placeholder 27">
            <a:extLst>
              <a:ext uri="{FF2B5EF4-FFF2-40B4-BE49-F238E27FC236}">
                <a16:creationId xmlns:a16="http://schemas.microsoft.com/office/drawing/2014/main" id="{16D58214-3E9D-5178-FF78-8555B5883CAC}"/>
              </a:ext>
            </a:extLst>
          </p:cNvPr>
          <p:cNvSpPr>
            <a:spLocks noGrp="1"/>
          </p:cNvSpPr>
          <p:nvPr>
            <p:ph type="body" sz="quarter" idx="26"/>
          </p:nvPr>
        </p:nvSpPr>
        <p:spPr>
          <a:xfrm>
            <a:off x="1380751" y="2772989"/>
            <a:ext cx="2574925" cy="830262"/>
          </a:xfrm>
        </p:spPr>
        <p:txBody>
          <a:bodyPr/>
          <a:lstStyle>
            <a:lvl1pPr algn="ctr">
              <a:spcAft>
                <a:spcPts val="400"/>
              </a:spcAft>
              <a:defRPr sz="1800" b="1">
                <a:solidFill>
                  <a:schemeClr val="bg1"/>
                </a:solidFill>
                <a:latin typeface="+mj-lt"/>
              </a:defRPr>
            </a:lvl1pPr>
            <a:lvl2pPr marL="0" indent="0" algn="ctr">
              <a:buNone/>
              <a:defRPr sz="1200">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30" name="Text Placeholder 27">
            <a:extLst>
              <a:ext uri="{FF2B5EF4-FFF2-40B4-BE49-F238E27FC236}">
                <a16:creationId xmlns:a16="http://schemas.microsoft.com/office/drawing/2014/main" id="{ACFF7675-1B95-4EEC-3428-E9E7457068A7}"/>
              </a:ext>
            </a:extLst>
          </p:cNvPr>
          <p:cNvSpPr>
            <a:spLocks noGrp="1"/>
          </p:cNvSpPr>
          <p:nvPr>
            <p:ph type="body" sz="quarter" idx="27"/>
          </p:nvPr>
        </p:nvSpPr>
        <p:spPr>
          <a:xfrm>
            <a:off x="4808537" y="2772989"/>
            <a:ext cx="2574925" cy="830262"/>
          </a:xfrm>
        </p:spPr>
        <p:txBody>
          <a:bodyPr/>
          <a:lstStyle>
            <a:lvl1pPr algn="ctr">
              <a:spcAft>
                <a:spcPts val="400"/>
              </a:spcAft>
              <a:defRPr sz="1800" b="1">
                <a:solidFill>
                  <a:schemeClr val="bg1"/>
                </a:solidFill>
                <a:latin typeface="+mj-lt"/>
              </a:defRPr>
            </a:lvl1pPr>
            <a:lvl2pPr marL="0" indent="0" algn="ctr">
              <a:buNone/>
              <a:defRPr sz="1200">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31" name="Text Placeholder 27">
            <a:extLst>
              <a:ext uri="{FF2B5EF4-FFF2-40B4-BE49-F238E27FC236}">
                <a16:creationId xmlns:a16="http://schemas.microsoft.com/office/drawing/2014/main" id="{66C162C7-98A9-5922-46F0-ED60F4EE06BE}"/>
              </a:ext>
            </a:extLst>
          </p:cNvPr>
          <p:cNvSpPr>
            <a:spLocks noGrp="1"/>
          </p:cNvSpPr>
          <p:nvPr>
            <p:ph type="body" sz="quarter" idx="28"/>
          </p:nvPr>
        </p:nvSpPr>
        <p:spPr>
          <a:xfrm>
            <a:off x="8232624" y="2772989"/>
            <a:ext cx="2574925" cy="830262"/>
          </a:xfrm>
        </p:spPr>
        <p:txBody>
          <a:bodyPr/>
          <a:lstStyle>
            <a:lvl1pPr algn="ctr">
              <a:spcAft>
                <a:spcPts val="400"/>
              </a:spcAft>
              <a:defRPr sz="1800" b="1">
                <a:solidFill>
                  <a:schemeClr val="bg1"/>
                </a:solidFill>
                <a:latin typeface="+mj-lt"/>
              </a:defRPr>
            </a:lvl1pPr>
            <a:lvl2pPr marL="0" indent="0" algn="ctr">
              <a:buNone/>
              <a:defRPr sz="1200">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32" name="Picture Placeholder 6">
            <a:extLst>
              <a:ext uri="{FF2B5EF4-FFF2-40B4-BE49-F238E27FC236}">
                <a16:creationId xmlns:a16="http://schemas.microsoft.com/office/drawing/2014/main" id="{B2433A2A-AA05-28EC-66EF-56C94B2AFB80}"/>
              </a:ext>
            </a:extLst>
          </p:cNvPr>
          <p:cNvSpPr>
            <a:spLocks noGrp="1"/>
          </p:cNvSpPr>
          <p:nvPr>
            <p:ph type="pic" sz="quarter" idx="29"/>
          </p:nvPr>
        </p:nvSpPr>
        <p:spPr>
          <a:xfrm>
            <a:off x="1927647" y="3663750"/>
            <a:ext cx="1476000" cy="1476000"/>
          </a:xfrm>
          <a:prstGeom prst="ellipse">
            <a:avLst/>
          </a:prstGeom>
          <a:solidFill>
            <a:schemeClr val="bg1"/>
          </a:solidFill>
        </p:spPr>
        <p:txBody>
          <a:bodyPr anchor="ctr" anchorCtr="0"/>
          <a:lstStyle>
            <a:lvl1pPr algn="ctr">
              <a:defRPr sz="1000">
                <a:solidFill>
                  <a:schemeClr val="tx1"/>
                </a:solidFill>
              </a:defRPr>
            </a:lvl1pPr>
          </a:lstStyle>
          <a:p>
            <a:r>
              <a:rPr lang="en-US"/>
              <a:t>Click icon to add picture</a:t>
            </a:r>
          </a:p>
        </p:txBody>
      </p:sp>
      <p:sp>
        <p:nvSpPr>
          <p:cNvPr id="33" name="Picture Placeholder 6">
            <a:extLst>
              <a:ext uri="{FF2B5EF4-FFF2-40B4-BE49-F238E27FC236}">
                <a16:creationId xmlns:a16="http://schemas.microsoft.com/office/drawing/2014/main" id="{1B14DD31-F445-E080-7969-67981C5E06BA}"/>
              </a:ext>
            </a:extLst>
          </p:cNvPr>
          <p:cNvSpPr>
            <a:spLocks noGrp="1"/>
          </p:cNvSpPr>
          <p:nvPr>
            <p:ph type="pic" sz="quarter" idx="30"/>
          </p:nvPr>
        </p:nvSpPr>
        <p:spPr>
          <a:xfrm>
            <a:off x="5358890" y="3663750"/>
            <a:ext cx="1476000" cy="1476000"/>
          </a:xfrm>
          <a:prstGeom prst="ellipse">
            <a:avLst/>
          </a:prstGeom>
          <a:solidFill>
            <a:schemeClr val="bg1"/>
          </a:solidFill>
        </p:spPr>
        <p:txBody>
          <a:bodyPr anchor="ctr" anchorCtr="0"/>
          <a:lstStyle>
            <a:lvl1pPr algn="ctr">
              <a:defRPr sz="1000">
                <a:solidFill>
                  <a:schemeClr val="tx1"/>
                </a:solidFill>
              </a:defRPr>
            </a:lvl1pPr>
          </a:lstStyle>
          <a:p>
            <a:r>
              <a:rPr lang="en-US"/>
              <a:t>Click icon to add picture</a:t>
            </a:r>
          </a:p>
        </p:txBody>
      </p:sp>
      <p:sp>
        <p:nvSpPr>
          <p:cNvPr id="34" name="Picture Placeholder 6">
            <a:extLst>
              <a:ext uri="{FF2B5EF4-FFF2-40B4-BE49-F238E27FC236}">
                <a16:creationId xmlns:a16="http://schemas.microsoft.com/office/drawing/2014/main" id="{B0FA3341-7ED9-0D65-ECB3-24692C6EA6BC}"/>
              </a:ext>
            </a:extLst>
          </p:cNvPr>
          <p:cNvSpPr>
            <a:spLocks noGrp="1"/>
          </p:cNvSpPr>
          <p:nvPr>
            <p:ph type="pic" sz="quarter" idx="31"/>
          </p:nvPr>
        </p:nvSpPr>
        <p:spPr>
          <a:xfrm>
            <a:off x="8796152" y="3663750"/>
            <a:ext cx="1476000" cy="1476000"/>
          </a:xfrm>
          <a:prstGeom prst="ellipse">
            <a:avLst/>
          </a:prstGeom>
          <a:solidFill>
            <a:schemeClr val="bg1"/>
          </a:solidFill>
        </p:spPr>
        <p:txBody>
          <a:bodyPr anchor="ctr" anchorCtr="0"/>
          <a:lstStyle>
            <a:lvl1pPr algn="ctr">
              <a:defRPr sz="1000">
                <a:solidFill>
                  <a:schemeClr val="tx1"/>
                </a:solidFill>
              </a:defRPr>
            </a:lvl1pPr>
          </a:lstStyle>
          <a:p>
            <a:r>
              <a:rPr lang="en-US"/>
              <a:t>Click icon to add picture</a:t>
            </a:r>
          </a:p>
        </p:txBody>
      </p:sp>
      <p:sp>
        <p:nvSpPr>
          <p:cNvPr id="35" name="Text Placeholder 27">
            <a:extLst>
              <a:ext uri="{FF2B5EF4-FFF2-40B4-BE49-F238E27FC236}">
                <a16:creationId xmlns:a16="http://schemas.microsoft.com/office/drawing/2014/main" id="{C6150B3F-BCB4-C957-872D-4C8DEF6E7053}"/>
              </a:ext>
            </a:extLst>
          </p:cNvPr>
          <p:cNvSpPr>
            <a:spLocks noGrp="1"/>
          </p:cNvSpPr>
          <p:nvPr>
            <p:ph type="body" sz="quarter" idx="32"/>
          </p:nvPr>
        </p:nvSpPr>
        <p:spPr>
          <a:xfrm>
            <a:off x="1380751" y="5277304"/>
            <a:ext cx="2574925" cy="830262"/>
          </a:xfrm>
        </p:spPr>
        <p:txBody>
          <a:bodyPr/>
          <a:lstStyle>
            <a:lvl1pPr algn="ctr">
              <a:spcAft>
                <a:spcPts val="400"/>
              </a:spcAft>
              <a:defRPr sz="1800" b="1">
                <a:solidFill>
                  <a:schemeClr val="bg1"/>
                </a:solidFill>
                <a:latin typeface="+mj-lt"/>
              </a:defRPr>
            </a:lvl1pPr>
            <a:lvl2pPr marL="0" indent="0" algn="ctr">
              <a:buNone/>
              <a:defRPr sz="1200">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36" name="Text Placeholder 27">
            <a:extLst>
              <a:ext uri="{FF2B5EF4-FFF2-40B4-BE49-F238E27FC236}">
                <a16:creationId xmlns:a16="http://schemas.microsoft.com/office/drawing/2014/main" id="{4EE19F18-6D01-2AC1-4CC0-44FFE9F8CB0E}"/>
              </a:ext>
            </a:extLst>
          </p:cNvPr>
          <p:cNvSpPr>
            <a:spLocks noGrp="1"/>
          </p:cNvSpPr>
          <p:nvPr>
            <p:ph type="body" sz="quarter" idx="33"/>
          </p:nvPr>
        </p:nvSpPr>
        <p:spPr>
          <a:xfrm>
            <a:off x="4808537" y="5277304"/>
            <a:ext cx="2574925" cy="830262"/>
          </a:xfrm>
        </p:spPr>
        <p:txBody>
          <a:bodyPr/>
          <a:lstStyle>
            <a:lvl1pPr algn="ctr">
              <a:spcAft>
                <a:spcPts val="400"/>
              </a:spcAft>
              <a:defRPr sz="1800" b="1">
                <a:solidFill>
                  <a:schemeClr val="bg1"/>
                </a:solidFill>
                <a:latin typeface="+mj-lt"/>
              </a:defRPr>
            </a:lvl1pPr>
            <a:lvl2pPr marL="0" indent="0" algn="ctr">
              <a:buNone/>
              <a:defRPr sz="1200">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37" name="Text Placeholder 27">
            <a:extLst>
              <a:ext uri="{FF2B5EF4-FFF2-40B4-BE49-F238E27FC236}">
                <a16:creationId xmlns:a16="http://schemas.microsoft.com/office/drawing/2014/main" id="{D61B5DC4-985C-9D6E-3EEC-8B7F31F2CF9A}"/>
              </a:ext>
            </a:extLst>
          </p:cNvPr>
          <p:cNvSpPr>
            <a:spLocks noGrp="1"/>
          </p:cNvSpPr>
          <p:nvPr>
            <p:ph type="body" sz="quarter" idx="34"/>
          </p:nvPr>
        </p:nvSpPr>
        <p:spPr>
          <a:xfrm>
            <a:off x="8232624" y="5277304"/>
            <a:ext cx="2574925" cy="830262"/>
          </a:xfrm>
        </p:spPr>
        <p:txBody>
          <a:bodyPr/>
          <a:lstStyle>
            <a:lvl1pPr algn="ctr">
              <a:spcAft>
                <a:spcPts val="400"/>
              </a:spcAft>
              <a:defRPr sz="1800" b="1">
                <a:solidFill>
                  <a:schemeClr val="bg1"/>
                </a:solidFill>
                <a:latin typeface="+mj-lt"/>
              </a:defRPr>
            </a:lvl1pPr>
            <a:lvl2pPr marL="0" indent="0" algn="ctr">
              <a:buNone/>
              <a:defRPr sz="1200">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7" name="Graphic 11">
            <a:extLst>
              <a:ext uri="{FF2B5EF4-FFF2-40B4-BE49-F238E27FC236}">
                <a16:creationId xmlns:a16="http://schemas.microsoft.com/office/drawing/2014/main" id="{69C2BB13-64A4-2CB8-299B-B5DE4D41B7ED}"/>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bg1"/>
          </a:solidFill>
          <a:ln w="9076" cap="flat">
            <a:noFill/>
            <a:prstDash val="solid"/>
            <a:miter/>
          </a:ln>
        </p:spPr>
        <p:txBody>
          <a:bodyPr rtlCol="0" anchor="ctr"/>
          <a:lstStyle/>
          <a:p>
            <a:endParaRPr lang="en-US">
              <a:solidFill>
                <a:schemeClr val="bg1"/>
              </a:solidFill>
            </a:endParaRPr>
          </a:p>
        </p:txBody>
      </p:sp>
    </p:spTree>
    <p:extLst>
      <p:ext uri="{BB962C8B-B14F-4D97-AF65-F5344CB8AC3E}">
        <p14:creationId xmlns:p14="http://schemas.microsoft.com/office/powerpoint/2010/main" val="4608765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Column Graphics - White BG">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2" y="300859"/>
            <a:ext cx="10543243" cy="751000"/>
          </a:xfrm>
        </p:spPr>
        <p:txBody>
          <a:bodyPr/>
          <a:lstStyle>
            <a:lvl1pPr>
              <a:defRPr>
                <a:solidFill>
                  <a:schemeClr val="tx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tx1"/>
                </a:solidFill>
              </a:defRPr>
            </a:lvl1pPr>
          </a:lstStyle>
          <a:p>
            <a:fld id="{AAF502CD-F636-C049-B05E-4ED95BC0AEE0}" type="slidenum">
              <a:rPr lang="en-US" smtClean="0"/>
              <a:pPr/>
              <a:t>‹#›</a:t>
            </a:fld>
            <a:endParaRPr lang="en-US"/>
          </a:p>
        </p:txBody>
      </p:sp>
      <p:sp>
        <p:nvSpPr>
          <p:cNvPr id="8" name="Picture Placeholder 6">
            <a:extLst>
              <a:ext uri="{FF2B5EF4-FFF2-40B4-BE49-F238E27FC236}">
                <a16:creationId xmlns:a16="http://schemas.microsoft.com/office/drawing/2014/main" id="{94A244D6-0A96-E7C4-4E93-FECB87EBB6C8}"/>
              </a:ext>
            </a:extLst>
          </p:cNvPr>
          <p:cNvSpPr>
            <a:spLocks noGrp="1"/>
          </p:cNvSpPr>
          <p:nvPr>
            <p:ph type="pic" sz="quarter" idx="13"/>
          </p:nvPr>
        </p:nvSpPr>
        <p:spPr>
          <a:xfrm>
            <a:off x="1927647" y="1159435"/>
            <a:ext cx="1476000" cy="1476000"/>
          </a:xfrm>
          <a:prstGeom prst="ellipse">
            <a:avLst/>
          </a:prstGeom>
          <a:solidFill>
            <a:schemeClr val="accent4"/>
          </a:solidFill>
        </p:spPr>
        <p:txBody>
          <a:bodyPr anchor="ctr" anchorCtr="0"/>
          <a:lstStyle>
            <a:lvl1pPr algn="ctr">
              <a:defRPr sz="1000">
                <a:solidFill>
                  <a:schemeClr val="tx1"/>
                </a:solidFill>
              </a:defRPr>
            </a:lvl1pPr>
          </a:lstStyle>
          <a:p>
            <a:r>
              <a:rPr lang="en-US"/>
              <a:t>Click icon to add picture</a:t>
            </a:r>
          </a:p>
        </p:txBody>
      </p:sp>
      <p:sp>
        <p:nvSpPr>
          <p:cNvPr id="18" name="Picture Placeholder 6">
            <a:extLst>
              <a:ext uri="{FF2B5EF4-FFF2-40B4-BE49-F238E27FC236}">
                <a16:creationId xmlns:a16="http://schemas.microsoft.com/office/drawing/2014/main" id="{1CBDF4E2-E0CF-AC6D-816C-8B12DFBDBE38}"/>
              </a:ext>
            </a:extLst>
          </p:cNvPr>
          <p:cNvSpPr>
            <a:spLocks noGrp="1"/>
          </p:cNvSpPr>
          <p:nvPr>
            <p:ph type="pic" sz="quarter" idx="17"/>
          </p:nvPr>
        </p:nvSpPr>
        <p:spPr>
          <a:xfrm>
            <a:off x="5358890" y="1159435"/>
            <a:ext cx="1476000" cy="1476000"/>
          </a:xfrm>
          <a:prstGeom prst="ellipse">
            <a:avLst/>
          </a:prstGeom>
          <a:solidFill>
            <a:schemeClr val="accent4"/>
          </a:solidFill>
        </p:spPr>
        <p:txBody>
          <a:bodyPr anchor="ctr" anchorCtr="0"/>
          <a:lstStyle>
            <a:lvl1pPr algn="ctr">
              <a:defRPr sz="1000">
                <a:solidFill>
                  <a:schemeClr val="tx1"/>
                </a:solidFill>
              </a:defRPr>
            </a:lvl1pPr>
          </a:lstStyle>
          <a:p>
            <a:r>
              <a:rPr lang="en-US"/>
              <a:t>Click icon to add picture</a:t>
            </a:r>
          </a:p>
        </p:txBody>
      </p:sp>
      <p:sp>
        <p:nvSpPr>
          <p:cNvPr id="20" name="Picture Placeholder 6">
            <a:extLst>
              <a:ext uri="{FF2B5EF4-FFF2-40B4-BE49-F238E27FC236}">
                <a16:creationId xmlns:a16="http://schemas.microsoft.com/office/drawing/2014/main" id="{5E218E37-9A75-BBCB-D8E6-E88D27CB70C4}"/>
              </a:ext>
            </a:extLst>
          </p:cNvPr>
          <p:cNvSpPr>
            <a:spLocks noGrp="1"/>
          </p:cNvSpPr>
          <p:nvPr>
            <p:ph type="pic" sz="quarter" idx="19"/>
          </p:nvPr>
        </p:nvSpPr>
        <p:spPr>
          <a:xfrm>
            <a:off x="8796152" y="1159435"/>
            <a:ext cx="1476000" cy="1476000"/>
          </a:xfrm>
          <a:prstGeom prst="ellipse">
            <a:avLst/>
          </a:prstGeom>
          <a:solidFill>
            <a:schemeClr val="accent4"/>
          </a:solidFill>
        </p:spPr>
        <p:txBody>
          <a:bodyPr anchor="ctr" anchorCtr="0"/>
          <a:lstStyle>
            <a:lvl1pPr algn="ctr">
              <a:defRPr sz="1000">
                <a:solidFill>
                  <a:schemeClr val="tx1"/>
                </a:solidFill>
              </a:defRPr>
            </a:lvl1pPr>
          </a:lstStyle>
          <a:p>
            <a:r>
              <a:rPr lang="en-US"/>
              <a:t>Click icon to add picture</a:t>
            </a:r>
          </a:p>
        </p:txBody>
      </p:sp>
      <p:sp>
        <p:nvSpPr>
          <p:cNvPr id="29" name="Text Placeholder 27">
            <a:extLst>
              <a:ext uri="{FF2B5EF4-FFF2-40B4-BE49-F238E27FC236}">
                <a16:creationId xmlns:a16="http://schemas.microsoft.com/office/drawing/2014/main" id="{16D58214-3E9D-5178-FF78-8555B5883CAC}"/>
              </a:ext>
            </a:extLst>
          </p:cNvPr>
          <p:cNvSpPr>
            <a:spLocks noGrp="1"/>
          </p:cNvSpPr>
          <p:nvPr>
            <p:ph type="body" sz="quarter" idx="26"/>
          </p:nvPr>
        </p:nvSpPr>
        <p:spPr>
          <a:xfrm>
            <a:off x="1380751" y="2772989"/>
            <a:ext cx="2574925" cy="830262"/>
          </a:xfrm>
        </p:spPr>
        <p:txBody>
          <a:bodyPr/>
          <a:lstStyle>
            <a:lvl1pPr algn="ctr">
              <a:spcAft>
                <a:spcPts val="400"/>
              </a:spcAft>
              <a:defRPr sz="1800" b="1">
                <a:solidFill>
                  <a:schemeClr val="tx1"/>
                </a:solidFill>
                <a:latin typeface="+mj-lt"/>
              </a:defRPr>
            </a:lvl1pPr>
            <a:lvl2pPr marL="0" indent="0" algn="ctr">
              <a:buNone/>
              <a:defRPr sz="1200">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30" name="Text Placeholder 27">
            <a:extLst>
              <a:ext uri="{FF2B5EF4-FFF2-40B4-BE49-F238E27FC236}">
                <a16:creationId xmlns:a16="http://schemas.microsoft.com/office/drawing/2014/main" id="{ACFF7675-1B95-4EEC-3428-E9E7457068A7}"/>
              </a:ext>
            </a:extLst>
          </p:cNvPr>
          <p:cNvSpPr>
            <a:spLocks noGrp="1"/>
          </p:cNvSpPr>
          <p:nvPr>
            <p:ph type="body" sz="quarter" idx="27"/>
          </p:nvPr>
        </p:nvSpPr>
        <p:spPr>
          <a:xfrm>
            <a:off x="4808537" y="2772989"/>
            <a:ext cx="2574925" cy="830262"/>
          </a:xfrm>
        </p:spPr>
        <p:txBody>
          <a:bodyPr/>
          <a:lstStyle>
            <a:lvl1pPr algn="ctr">
              <a:spcAft>
                <a:spcPts val="400"/>
              </a:spcAft>
              <a:defRPr sz="1800" b="1">
                <a:solidFill>
                  <a:schemeClr val="tx1"/>
                </a:solidFill>
                <a:latin typeface="+mj-lt"/>
              </a:defRPr>
            </a:lvl1pPr>
            <a:lvl2pPr marL="0" indent="0" algn="ctr">
              <a:buNone/>
              <a:defRPr sz="1200">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31" name="Text Placeholder 27">
            <a:extLst>
              <a:ext uri="{FF2B5EF4-FFF2-40B4-BE49-F238E27FC236}">
                <a16:creationId xmlns:a16="http://schemas.microsoft.com/office/drawing/2014/main" id="{66C162C7-98A9-5922-46F0-ED60F4EE06BE}"/>
              </a:ext>
            </a:extLst>
          </p:cNvPr>
          <p:cNvSpPr>
            <a:spLocks noGrp="1"/>
          </p:cNvSpPr>
          <p:nvPr>
            <p:ph type="body" sz="quarter" idx="28"/>
          </p:nvPr>
        </p:nvSpPr>
        <p:spPr>
          <a:xfrm>
            <a:off x="8232624" y="2772989"/>
            <a:ext cx="2574925" cy="830262"/>
          </a:xfrm>
        </p:spPr>
        <p:txBody>
          <a:bodyPr/>
          <a:lstStyle>
            <a:lvl1pPr algn="ctr">
              <a:spcAft>
                <a:spcPts val="400"/>
              </a:spcAft>
              <a:defRPr sz="1800" b="1">
                <a:solidFill>
                  <a:schemeClr val="tx1"/>
                </a:solidFill>
                <a:latin typeface="+mj-lt"/>
              </a:defRPr>
            </a:lvl1pPr>
            <a:lvl2pPr marL="0" indent="0" algn="ctr">
              <a:buNone/>
              <a:defRPr sz="1200">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32" name="Picture Placeholder 6">
            <a:extLst>
              <a:ext uri="{FF2B5EF4-FFF2-40B4-BE49-F238E27FC236}">
                <a16:creationId xmlns:a16="http://schemas.microsoft.com/office/drawing/2014/main" id="{B2433A2A-AA05-28EC-66EF-56C94B2AFB80}"/>
              </a:ext>
            </a:extLst>
          </p:cNvPr>
          <p:cNvSpPr>
            <a:spLocks noGrp="1"/>
          </p:cNvSpPr>
          <p:nvPr>
            <p:ph type="pic" sz="quarter" idx="29"/>
          </p:nvPr>
        </p:nvSpPr>
        <p:spPr>
          <a:xfrm>
            <a:off x="1927647" y="3663750"/>
            <a:ext cx="1476000" cy="1476000"/>
          </a:xfrm>
          <a:prstGeom prst="ellipse">
            <a:avLst/>
          </a:prstGeom>
          <a:solidFill>
            <a:schemeClr val="accent4"/>
          </a:solidFill>
        </p:spPr>
        <p:txBody>
          <a:bodyPr anchor="ctr" anchorCtr="0"/>
          <a:lstStyle>
            <a:lvl1pPr algn="ctr">
              <a:defRPr sz="1000">
                <a:solidFill>
                  <a:schemeClr val="tx1"/>
                </a:solidFill>
              </a:defRPr>
            </a:lvl1pPr>
          </a:lstStyle>
          <a:p>
            <a:r>
              <a:rPr lang="en-US"/>
              <a:t>Click icon to add picture</a:t>
            </a:r>
          </a:p>
        </p:txBody>
      </p:sp>
      <p:sp>
        <p:nvSpPr>
          <p:cNvPr id="33" name="Picture Placeholder 6">
            <a:extLst>
              <a:ext uri="{FF2B5EF4-FFF2-40B4-BE49-F238E27FC236}">
                <a16:creationId xmlns:a16="http://schemas.microsoft.com/office/drawing/2014/main" id="{1B14DD31-F445-E080-7969-67981C5E06BA}"/>
              </a:ext>
            </a:extLst>
          </p:cNvPr>
          <p:cNvSpPr>
            <a:spLocks noGrp="1"/>
          </p:cNvSpPr>
          <p:nvPr>
            <p:ph type="pic" sz="quarter" idx="30"/>
          </p:nvPr>
        </p:nvSpPr>
        <p:spPr>
          <a:xfrm>
            <a:off x="5358890" y="3663750"/>
            <a:ext cx="1476000" cy="1476000"/>
          </a:xfrm>
          <a:prstGeom prst="ellipse">
            <a:avLst/>
          </a:prstGeom>
          <a:solidFill>
            <a:schemeClr val="accent4"/>
          </a:solidFill>
        </p:spPr>
        <p:txBody>
          <a:bodyPr anchor="ctr" anchorCtr="0"/>
          <a:lstStyle>
            <a:lvl1pPr algn="ctr">
              <a:defRPr sz="1000">
                <a:solidFill>
                  <a:schemeClr val="tx1"/>
                </a:solidFill>
              </a:defRPr>
            </a:lvl1pPr>
          </a:lstStyle>
          <a:p>
            <a:r>
              <a:rPr lang="en-US"/>
              <a:t>Click icon to add picture</a:t>
            </a:r>
          </a:p>
        </p:txBody>
      </p:sp>
      <p:sp>
        <p:nvSpPr>
          <p:cNvPr id="34" name="Picture Placeholder 6">
            <a:extLst>
              <a:ext uri="{FF2B5EF4-FFF2-40B4-BE49-F238E27FC236}">
                <a16:creationId xmlns:a16="http://schemas.microsoft.com/office/drawing/2014/main" id="{B0FA3341-7ED9-0D65-ECB3-24692C6EA6BC}"/>
              </a:ext>
            </a:extLst>
          </p:cNvPr>
          <p:cNvSpPr>
            <a:spLocks noGrp="1"/>
          </p:cNvSpPr>
          <p:nvPr>
            <p:ph type="pic" sz="quarter" idx="31"/>
          </p:nvPr>
        </p:nvSpPr>
        <p:spPr>
          <a:xfrm>
            <a:off x="8796152" y="3663750"/>
            <a:ext cx="1476000" cy="1476000"/>
          </a:xfrm>
          <a:prstGeom prst="ellipse">
            <a:avLst/>
          </a:prstGeom>
          <a:solidFill>
            <a:schemeClr val="accent4"/>
          </a:solidFill>
        </p:spPr>
        <p:txBody>
          <a:bodyPr anchor="ctr" anchorCtr="0"/>
          <a:lstStyle>
            <a:lvl1pPr algn="ctr">
              <a:defRPr sz="1000">
                <a:solidFill>
                  <a:schemeClr val="tx1"/>
                </a:solidFill>
              </a:defRPr>
            </a:lvl1pPr>
          </a:lstStyle>
          <a:p>
            <a:r>
              <a:rPr lang="en-US"/>
              <a:t>Click icon to add picture</a:t>
            </a:r>
          </a:p>
        </p:txBody>
      </p:sp>
      <p:sp>
        <p:nvSpPr>
          <p:cNvPr id="35" name="Text Placeholder 27">
            <a:extLst>
              <a:ext uri="{FF2B5EF4-FFF2-40B4-BE49-F238E27FC236}">
                <a16:creationId xmlns:a16="http://schemas.microsoft.com/office/drawing/2014/main" id="{C6150B3F-BCB4-C957-872D-4C8DEF6E7053}"/>
              </a:ext>
            </a:extLst>
          </p:cNvPr>
          <p:cNvSpPr>
            <a:spLocks noGrp="1"/>
          </p:cNvSpPr>
          <p:nvPr>
            <p:ph type="body" sz="quarter" idx="32"/>
          </p:nvPr>
        </p:nvSpPr>
        <p:spPr>
          <a:xfrm>
            <a:off x="1380751" y="5277304"/>
            <a:ext cx="2574925" cy="830262"/>
          </a:xfrm>
        </p:spPr>
        <p:txBody>
          <a:bodyPr/>
          <a:lstStyle>
            <a:lvl1pPr algn="ctr">
              <a:spcAft>
                <a:spcPts val="400"/>
              </a:spcAft>
              <a:defRPr sz="1800" b="1">
                <a:solidFill>
                  <a:schemeClr val="tx1"/>
                </a:solidFill>
                <a:latin typeface="+mj-lt"/>
              </a:defRPr>
            </a:lvl1pPr>
            <a:lvl2pPr marL="0" indent="0" algn="ctr">
              <a:buNone/>
              <a:defRPr sz="1200">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36" name="Text Placeholder 27">
            <a:extLst>
              <a:ext uri="{FF2B5EF4-FFF2-40B4-BE49-F238E27FC236}">
                <a16:creationId xmlns:a16="http://schemas.microsoft.com/office/drawing/2014/main" id="{4EE19F18-6D01-2AC1-4CC0-44FFE9F8CB0E}"/>
              </a:ext>
            </a:extLst>
          </p:cNvPr>
          <p:cNvSpPr>
            <a:spLocks noGrp="1"/>
          </p:cNvSpPr>
          <p:nvPr>
            <p:ph type="body" sz="quarter" idx="33"/>
          </p:nvPr>
        </p:nvSpPr>
        <p:spPr>
          <a:xfrm>
            <a:off x="4808537" y="5277304"/>
            <a:ext cx="2574925" cy="830262"/>
          </a:xfrm>
        </p:spPr>
        <p:txBody>
          <a:bodyPr/>
          <a:lstStyle>
            <a:lvl1pPr algn="ctr">
              <a:spcAft>
                <a:spcPts val="400"/>
              </a:spcAft>
              <a:defRPr sz="1800" b="1">
                <a:solidFill>
                  <a:schemeClr val="tx1"/>
                </a:solidFill>
                <a:latin typeface="+mj-lt"/>
              </a:defRPr>
            </a:lvl1pPr>
            <a:lvl2pPr marL="0" indent="0" algn="ctr">
              <a:buNone/>
              <a:defRPr sz="1200">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37" name="Text Placeholder 27">
            <a:extLst>
              <a:ext uri="{FF2B5EF4-FFF2-40B4-BE49-F238E27FC236}">
                <a16:creationId xmlns:a16="http://schemas.microsoft.com/office/drawing/2014/main" id="{D61B5DC4-985C-9D6E-3EEC-8B7F31F2CF9A}"/>
              </a:ext>
            </a:extLst>
          </p:cNvPr>
          <p:cNvSpPr>
            <a:spLocks noGrp="1"/>
          </p:cNvSpPr>
          <p:nvPr>
            <p:ph type="body" sz="quarter" idx="34"/>
          </p:nvPr>
        </p:nvSpPr>
        <p:spPr>
          <a:xfrm>
            <a:off x="8232624" y="5277304"/>
            <a:ext cx="2574925" cy="830262"/>
          </a:xfrm>
        </p:spPr>
        <p:txBody>
          <a:bodyPr/>
          <a:lstStyle>
            <a:lvl1pPr algn="ctr">
              <a:spcAft>
                <a:spcPts val="400"/>
              </a:spcAft>
              <a:defRPr sz="1800" b="1">
                <a:solidFill>
                  <a:schemeClr val="tx1"/>
                </a:solidFill>
                <a:latin typeface="+mj-lt"/>
              </a:defRPr>
            </a:lvl1pPr>
            <a:lvl2pPr marL="0" indent="0" algn="ctr">
              <a:buNone/>
              <a:defRPr sz="1200">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7" name="Graphic 11">
            <a:extLst>
              <a:ext uri="{FF2B5EF4-FFF2-40B4-BE49-F238E27FC236}">
                <a16:creationId xmlns:a16="http://schemas.microsoft.com/office/drawing/2014/main" id="{CD2FB2A7-9B35-E414-FBC5-8B389AA0C5F4}"/>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tx1"/>
              </a:solidFill>
            </a:endParaRPr>
          </a:p>
        </p:txBody>
      </p:sp>
    </p:spTree>
    <p:extLst>
      <p:ext uri="{BB962C8B-B14F-4D97-AF65-F5344CB8AC3E}">
        <p14:creationId xmlns:p14="http://schemas.microsoft.com/office/powerpoint/2010/main" val="28665876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 Column Graphics - White BG">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2" y="300859"/>
            <a:ext cx="10543243" cy="751000"/>
          </a:xfrm>
        </p:spPr>
        <p:txBody>
          <a:bodyPr/>
          <a:lstStyle>
            <a:lvl1pPr>
              <a:defRPr>
                <a:solidFill>
                  <a:schemeClr val="tx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tx1"/>
                </a:solidFill>
              </a:defRPr>
            </a:lvl1pPr>
          </a:lstStyle>
          <a:p>
            <a:fld id="{AAF502CD-F636-C049-B05E-4ED95BC0AEE0}" type="slidenum">
              <a:rPr lang="en-US" smtClean="0"/>
              <a:pPr/>
              <a:t>‹#›</a:t>
            </a:fld>
            <a:endParaRPr lang="en-US"/>
          </a:p>
        </p:txBody>
      </p:sp>
      <p:sp>
        <p:nvSpPr>
          <p:cNvPr id="8" name="Picture Placeholder 6">
            <a:extLst>
              <a:ext uri="{FF2B5EF4-FFF2-40B4-BE49-F238E27FC236}">
                <a16:creationId xmlns:a16="http://schemas.microsoft.com/office/drawing/2014/main" id="{94A244D6-0A96-E7C4-4E93-FECB87EBB6C8}"/>
              </a:ext>
            </a:extLst>
          </p:cNvPr>
          <p:cNvSpPr>
            <a:spLocks noGrp="1"/>
          </p:cNvSpPr>
          <p:nvPr>
            <p:ph type="pic" sz="quarter" idx="13"/>
          </p:nvPr>
        </p:nvSpPr>
        <p:spPr>
          <a:xfrm>
            <a:off x="938540" y="1936381"/>
            <a:ext cx="1476000" cy="1476000"/>
          </a:xfrm>
          <a:prstGeom prst="ellipse">
            <a:avLst/>
          </a:prstGeom>
          <a:solidFill>
            <a:schemeClr val="bg1"/>
          </a:solidFill>
        </p:spPr>
        <p:txBody>
          <a:bodyPr anchor="ctr" anchorCtr="0"/>
          <a:lstStyle>
            <a:lvl1pPr algn="ctr">
              <a:defRPr sz="1000">
                <a:solidFill>
                  <a:schemeClr val="tx1"/>
                </a:solidFill>
              </a:defRPr>
            </a:lvl1pPr>
          </a:lstStyle>
          <a:p>
            <a:r>
              <a:rPr lang="en-US"/>
              <a:t>Click icon to add picture</a:t>
            </a:r>
          </a:p>
        </p:txBody>
      </p:sp>
      <p:sp>
        <p:nvSpPr>
          <p:cNvPr id="29" name="Text Placeholder 27">
            <a:extLst>
              <a:ext uri="{FF2B5EF4-FFF2-40B4-BE49-F238E27FC236}">
                <a16:creationId xmlns:a16="http://schemas.microsoft.com/office/drawing/2014/main" id="{16D58214-3E9D-5178-FF78-8555B5883CAC}"/>
              </a:ext>
            </a:extLst>
          </p:cNvPr>
          <p:cNvSpPr>
            <a:spLocks noGrp="1"/>
          </p:cNvSpPr>
          <p:nvPr>
            <p:ph type="body" sz="quarter" idx="26"/>
          </p:nvPr>
        </p:nvSpPr>
        <p:spPr>
          <a:xfrm>
            <a:off x="334963" y="3428999"/>
            <a:ext cx="2683155" cy="1256553"/>
          </a:xfrm>
        </p:spPr>
        <p:txBody>
          <a:bodyPr/>
          <a:lstStyle>
            <a:lvl1pPr algn="ctr">
              <a:spcAft>
                <a:spcPts val="400"/>
              </a:spcAft>
              <a:defRPr sz="1800" b="1">
                <a:solidFill>
                  <a:schemeClr val="tx1"/>
                </a:solidFill>
                <a:latin typeface="+mj-lt"/>
              </a:defRPr>
            </a:lvl1pPr>
            <a:lvl2pPr marL="0" indent="0" algn="ctr">
              <a:buNone/>
              <a:defRPr sz="1200">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15" name="Picture Placeholder 6">
            <a:extLst>
              <a:ext uri="{FF2B5EF4-FFF2-40B4-BE49-F238E27FC236}">
                <a16:creationId xmlns:a16="http://schemas.microsoft.com/office/drawing/2014/main" id="{7C22A1B7-34D3-43A0-26BF-6DF1F24C2411}"/>
              </a:ext>
            </a:extLst>
          </p:cNvPr>
          <p:cNvSpPr>
            <a:spLocks noGrp="1"/>
          </p:cNvSpPr>
          <p:nvPr>
            <p:ph type="pic" sz="quarter" idx="27"/>
          </p:nvPr>
        </p:nvSpPr>
        <p:spPr>
          <a:xfrm>
            <a:off x="3885912" y="1936381"/>
            <a:ext cx="1476000" cy="1476000"/>
          </a:xfrm>
          <a:prstGeom prst="ellipse">
            <a:avLst/>
          </a:prstGeom>
          <a:solidFill>
            <a:schemeClr val="bg1"/>
          </a:solidFill>
        </p:spPr>
        <p:txBody>
          <a:bodyPr anchor="ctr" anchorCtr="0"/>
          <a:lstStyle>
            <a:lvl1pPr algn="ctr">
              <a:defRPr sz="1000">
                <a:solidFill>
                  <a:schemeClr val="tx1"/>
                </a:solidFill>
              </a:defRPr>
            </a:lvl1pPr>
          </a:lstStyle>
          <a:p>
            <a:r>
              <a:rPr lang="en-US"/>
              <a:t>Click icon to add picture</a:t>
            </a:r>
          </a:p>
        </p:txBody>
      </p:sp>
      <p:sp>
        <p:nvSpPr>
          <p:cNvPr id="16" name="Text Placeholder 27">
            <a:extLst>
              <a:ext uri="{FF2B5EF4-FFF2-40B4-BE49-F238E27FC236}">
                <a16:creationId xmlns:a16="http://schemas.microsoft.com/office/drawing/2014/main" id="{F2BF5017-E2BA-BEAC-5914-FE79BAD7FF65}"/>
              </a:ext>
            </a:extLst>
          </p:cNvPr>
          <p:cNvSpPr>
            <a:spLocks noGrp="1"/>
          </p:cNvSpPr>
          <p:nvPr>
            <p:ph type="body" sz="quarter" idx="28"/>
          </p:nvPr>
        </p:nvSpPr>
        <p:spPr>
          <a:xfrm>
            <a:off x="3282335" y="3428999"/>
            <a:ext cx="2683155" cy="1256553"/>
          </a:xfrm>
        </p:spPr>
        <p:txBody>
          <a:bodyPr/>
          <a:lstStyle>
            <a:lvl1pPr algn="ctr">
              <a:spcAft>
                <a:spcPts val="400"/>
              </a:spcAft>
              <a:defRPr sz="1800" b="1">
                <a:solidFill>
                  <a:schemeClr val="tx1"/>
                </a:solidFill>
                <a:latin typeface="+mj-lt"/>
              </a:defRPr>
            </a:lvl1pPr>
            <a:lvl2pPr marL="0" indent="0" algn="ctr">
              <a:buNone/>
              <a:defRPr sz="1200">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17" name="Picture Placeholder 6">
            <a:extLst>
              <a:ext uri="{FF2B5EF4-FFF2-40B4-BE49-F238E27FC236}">
                <a16:creationId xmlns:a16="http://schemas.microsoft.com/office/drawing/2014/main" id="{2B138C0F-3C4B-BF76-EAB2-B861130951D6}"/>
              </a:ext>
            </a:extLst>
          </p:cNvPr>
          <p:cNvSpPr>
            <a:spLocks noGrp="1"/>
          </p:cNvSpPr>
          <p:nvPr>
            <p:ph type="pic" sz="quarter" idx="29"/>
          </p:nvPr>
        </p:nvSpPr>
        <p:spPr>
          <a:xfrm>
            <a:off x="6833284" y="1936381"/>
            <a:ext cx="1476000" cy="1476000"/>
          </a:xfrm>
          <a:prstGeom prst="ellipse">
            <a:avLst/>
          </a:prstGeom>
          <a:solidFill>
            <a:schemeClr val="bg1"/>
          </a:solidFill>
        </p:spPr>
        <p:txBody>
          <a:bodyPr anchor="ctr" anchorCtr="0"/>
          <a:lstStyle>
            <a:lvl1pPr algn="ctr">
              <a:defRPr sz="1000">
                <a:solidFill>
                  <a:schemeClr val="tx1"/>
                </a:solidFill>
              </a:defRPr>
            </a:lvl1pPr>
          </a:lstStyle>
          <a:p>
            <a:r>
              <a:rPr lang="en-US"/>
              <a:t>Click icon to add picture</a:t>
            </a:r>
          </a:p>
        </p:txBody>
      </p:sp>
      <p:sp>
        <p:nvSpPr>
          <p:cNvPr id="19" name="Text Placeholder 27">
            <a:extLst>
              <a:ext uri="{FF2B5EF4-FFF2-40B4-BE49-F238E27FC236}">
                <a16:creationId xmlns:a16="http://schemas.microsoft.com/office/drawing/2014/main" id="{9BF3A1D2-7CAA-8DD8-911A-A2D0BA1427F9}"/>
              </a:ext>
            </a:extLst>
          </p:cNvPr>
          <p:cNvSpPr>
            <a:spLocks noGrp="1"/>
          </p:cNvSpPr>
          <p:nvPr>
            <p:ph type="body" sz="quarter" idx="30"/>
          </p:nvPr>
        </p:nvSpPr>
        <p:spPr>
          <a:xfrm>
            <a:off x="6229707" y="3428999"/>
            <a:ext cx="2683155" cy="1256553"/>
          </a:xfrm>
        </p:spPr>
        <p:txBody>
          <a:bodyPr/>
          <a:lstStyle>
            <a:lvl1pPr algn="ctr">
              <a:spcAft>
                <a:spcPts val="400"/>
              </a:spcAft>
              <a:defRPr sz="1800" b="1">
                <a:solidFill>
                  <a:schemeClr val="tx1"/>
                </a:solidFill>
                <a:latin typeface="+mj-lt"/>
              </a:defRPr>
            </a:lvl1pPr>
            <a:lvl2pPr marL="0" indent="0" algn="ctr">
              <a:buNone/>
              <a:defRPr sz="1200">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21" name="Picture Placeholder 6">
            <a:extLst>
              <a:ext uri="{FF2B5EF4-FFF2-40B4-BE49-F238E27FC236}">
                <a16:creationId xmlns:a16="http://schemas.microsoft.com/office/drawing/2014/main" id="{66DB615F-5454-0D75-7CA0-6C62A207EA4B}"/>
              </a:ext>
            </a:extLst>
          </p:cNvPr>
          <p:cNvSpPr>
            <a:spLocks noGrp="1"/>
          </p:cNvSpPr>
          <p:nvPr>
            <p:ph type="pic" sz="quarter" idx="31"/>
          </p:nvPr>
        </p:nvSpPr>
        <p:spPr>
          <a:xfrm>
            <a:off x="9780656" y="1936381"/>
            <a:ext cx="1476000" cy="1476000"/>
          </a:xfrm>
          <a:prstGeom prst="ellipse">
            <a:avLst/>
          </a:prstGeom>
          <a:solidFill>
            <a:schemeClr val="bg1"/>
          </a:solidFill>
        </p:spPr>
        <p:txBody>
          <a:bodyPr anchor="ctr" anchorCtr="0"/>
          <a:lstStyle>
            <a:lvl1pPr algn="ctr">
              <a:defRPr sz="1000">
                <a:solidFill>
                  <a:schemeClr val="tx1"/>
                </a:solidFill>
              </a:defRPr>
            </a:lvl1pPr>
          </a:lstStyle>
          <a:p>
            <a:r>
              <a:rPr lang="en-US"/>
              <a:t>Click icon to add picture</a:t>
            </a:r>
          </a:p>
        </p:txBody>
      </p:sp>
      <p:sp>
        <p:nvSpPr>
          <p:cNvPr id="22" name="Text Placeholder 27">
            <a:extLst>
              <a:ext uri="{FF2B5EF4-FFF2-40B4-BE49-F238E27FC236}">
                <a16:creationId xmlns:a16="http://schemas.microsoft.com/office/drawing/2014/main" id="{B4BA40D8-47C3-D219-F16C-3F68FE38DFC2}"/>
              </a:ext>
            </a:extLst>
          </p:cNvPr>
          <p:cNvSpPr>
            <a:spLocks noGrp="1"/>
          </p:cNvSpPr>
          <p:nvPr>
            <p:ph type="body" sz="quarter" idx="32"/>
          </p:nvPr>
        </p:nvSpPr>
        <p:spPr>
          <a:xfrm>
            <a:off x="9177079" y="3428999"/>
            <a:ext cx="2683155" cy="1256553"/>
          </a:xfrm>
        </p:spPr>
        <p:txBody>
          <a:bodyPr/>
          <a:lstStyle>
            <a:lvl1pPr algn="ctr">
              <a:spcAft>
                <a:spcPts val="400"/>
              </a:spcAft>
              <a:defRPr sz="1800" b="1">
                <a:solidFill>
                  <a:schemeClr val="tx1"/>
                </a:solidFill>
                <a:latin typeface="+mj-lt"/>
              </a:defRPr>
            </a:lvl1pPr>
            <a:lvl2pPr marL="0" indent="0" algn="ctr">
              <a:buNone/>
              <a:defRPr sz="1200">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7" name="Graphic 11">
            <a:extLst>
              <a:ext uri="{FF2B5EF4-FFF2-40B4-BE49-F238E27FC236}">
                <a16:creationId xmlns:a16="http://schemas.microsoft.com/office/drawing/2014/main" id="{B5A44B62-16A3-B669-0825-9F9F167D6BBD}"/>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tx1"/>
              </a:solidFill>
            </a:endParaRPr>
          </a:p>
        </p:txBody>
      </p:sp>
    </p:spTree>
    <p:extLst>
      <p:ext uri="{BB962C8B-B14F-4D97-AF65-F5344CB8AC3E}">
        <p14:creationId xmlns:p14="http://schemas.microsoft.com/office/powerpoint/2010/main" val="27562627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 Column Graphics - Blue BG">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2" y="300859"/>
            <a:ext cx="10543243" cy="751000"/>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bg1"/>
                </a:solidFill>
              </a:defRPr>
            </a:lvl1pPr>
          </a:lstStyle>
          <a:p>
            <a:fld id="{AAF502CD-F636-C049-B05E-4ED95BC0AEE0}" type="slidenum">
              <a:rPr lang="en-US" smtClean="0"/>
              <a:pPr/>
              <a:t>‹#›</a:t>
            </a:fld>
            <a:endParaRPr lang="en-US"/>
          </a:p>
        </p:txBody>
      </p:sp>
      <p:sp>
        <p:nvSpPr>
          <p:cNvPr id="8" name="Picture Placeholder 6">
            <a:extLst>
              <a:ext uri="{FF2B5EF4-FFF2-40B4-BE49-F238E27FC236}">
                <a16:creationId xmlns:a16="http://schemas.microsoft.com/office/drawing/2014/main" id="{94A244D6-0A96-E7C4-4E93-FECB87EBB6C8}"/>
              </a:ext>
            </a:extLst>
          </p:cNvPr>
          <p:cNvSpPr>
            <a:spLocks noGrp="1"/>
          </p:cNvSpPr>
          <p:nvPr>
            <p:ph type="pic" sz="quarter" idx="13"/>
          </p:nvPr>
        </p:nvSpPr>
        <p:spPr>
          <a:xfrm>
            <a:off x="938540" y="1936381"/>
            <a:ext cx="1476000" cy="1476000"/>
          </a:xfrm>
          <a:prstGeom prst="ellipse">
            <a:avLst/>
          </a:prstGeom>
          <a:noFill/>
        </p:spPr>
        <p:txBody>
          <a:bodyPr anchor="ctr" anchorCtr="0"/>
          <a:lstStyle>
            <a:lvl1pPr algn="ctr">
              <a:defRPr sz="1000">
                <a:solidFill>
                  <a:schemeClr val="bg1"/>
                </a:solidFill>
              </a:defRPr>
            </a:lvl1pPr>
          </a:lstStyle>
          <a:p>
            <a:r>
              <a:rPr lang="en-US"/>
              <a:t>Click icon to add picture</a:t>
            </a:r>
          </a:p>
        </p:txBody>
      </p:sp>
      <p:sp>
        <p:nvSpPr>
          <p:cNvPr id="29" name="Text Placeholder 27">
            <a:extLst>
              <a:ext uri="{FF2B5EF4-FFF2-40B4-BE49-F238E27FC236}">
                <a16:creationId xmlns:a16="http://schemas.microsoft.com/office/drawing/2014/main" id="{16D58214-3E9D-5178-FF78-8555B5883CAC}"/>
              </a:ext>
            </a:extLst>
          </p:cNvPr>
          <p:cNvSpPr>
            <a:spLocks noGrp="1"/>
          </p:cNvSpPr>
          <p:nvPr>
            <p:ph type="body" sz="quarter" idx="26"/>
          </p:nvPr>
        </p:nvSpPr>
        <p:spPr>
          <a:xfrm>
            <a:off x="334963" y="3428999"/>
            <a:ext cx="2683155" cy="1256553"/>
          </a:xfrm>
        </p:spPr>
        <p:txBody>
          <a:bodyPr/>
          <a:lstStyle>
            <a:lvl1pPr algn="ctr">
              <a:spcAft>
                <a:spcPts val="400"/>
              </a:spcAft>
              <a:defRPr sz="1800" b="1">
                <a:solidFill>
                  <a:schemeClr val="bg1"/>
                </a:solidFill>
                <a:latin typeface="+mj-lt"/>
              </a:defRPr>
            </a:lvl1pPr>
            <a:lvl2pPr marL="0" indent="0" algn="ctr">
              <a:buNone/>
              <a:defRPr sz="1200">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15" name="Picture Placeholder 6">
            <a:extLst>
              <a:ext uri="{FF2B5EF4-FFF2-40B4-BE49-F238E27FC236}">
                <a16:creationId xmlns:a16="http://schemas.microsoft.com/office/drawing/2014/main" id="{7C22A1B7-34D3-43A0-26BF-6DF1F24C2411}"/>
              </a:ext>
            </a:extLst>
          </p:cNvPr>
          <p:cNvSpPr>
            <a:spLocks noGrp="1"/>
          </p:cNvSpPr>
          <p:nvPr>
            <p:ph type="pic" sz="quarter" idx="27"/>
          </p:nvPr>
        </p:nvSpPr>
        <p:spPr>
          <a:xfrm>
            <a:off x="3885912" y="1936381"/>
            <a:ext cx="1476000" cy="1476000"/>
          </a:xfrm>
          <a:prstGeom prst="ellipse">
            <a:avLst/>
          </a:prstGeom>
          <a:noFill/>
        </p:spPr>
        <p:txBody>
          <a:bodyPr anchor="ctr" anchorCtr="0"/>
          <a:lstStyle>
            <a:lvl1pPr algn="ctr">
              <a:defRPr sz="1000">
                <a:solidFill>
                  <a:schemeClr val="bg1"/>
                </a:solidFill>
              </a:defRPr>
            </a:lvl1pPr>
          </a:lstStyle>
          <a:p>
            <a:r>
              <a:rPr lang="en-US"/>
              <a:t>Click icon to add picture</a:t>
            </a:r>
          </a:p>
        </p:txBody>
      </p:sp>
      <p:sp>
        <p:nvSpPr>
          <p:cNvPr id="16" name="Text Placeholder 27">
            <a:extLst>
              <a:ext uri="{FF2B5EF4-FFF2-40B4-BE49-F238E27FC236}">
                <a16:creationId xmlns:a16="http://schemas.microsoft.com/office/drawing/2014/main" id="{F2BF5017-E2BA-BEAC-5914-FE79BAD7FF65}"/>
              </a:ext>
            </a:extLst>
          </p:cNvPr>
          <p:cNvSpPr>
            <a:spLocks noGrp="1"/>
          </p:cNvSpPr>
          <p:nvPr>
            <p:ph type="body" sz="quarter" idx="28"/>
          </p:nvPr>
        </p:nvSpPr>
        <p:spPr>
          <a:xfrm>
            <a:off x="3282335" y="3428999"/>
            <a:ext cx="2683155" cy="1256553"/>
          </a:xfrm>
        </p:spPr>
        <p:txBody>
          <a:bodyPr/>
          <a:lstStyle>
            <a:lvl1pPr algn="ctr">
              <a:spcAft>
                <a:spcPts val="400"/>
              </a:spcAft>
              <a:defRPr sz="1800" b="1">
                <a:solidFill>
                  <a:schemeClr val="bg1"/>
                </a:solidFill>
                <a:latin typeface="+mj-lt"/>
              </a:defRPr>
            </a:lvl1pPr>
            <a:lvl2pPr marL="0" indent="0" algn="ctr">
              <a:buNone/>
              <a:defRPr sz="1200">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17" name="Picture Placeholder 6">
            <a:extLst>
              <a:ext uri="{FF2B5EF4-FFF2-40B4-BE49-F238E27FC236}">
                <a16:creationId xmlns:a16="http://schemas.microsoft.com/office/drawing/2014/main" id="{2B138C0F-3C4B-BF76-EAB2-B861130951D6}"/>
              </a:ext>
            </a:extLst>
          </p:cNvPr>
          <p:cNvSpPr>
            <a:spLocks noGrp="1"/>
          </p:cNvSpPr>
          <p:nvPr>
            <p:ph type="pic" sz="quarter" idx="29"/>
          </p:nvPr>
        </p:nvSpPr>
        <p:spPr>
          <a:xfrm>
            <a:off x="6833284" y="1936381"/>
            <a:ext cx="1476000" cy="1476000"/>
          </a:xfrm>
          <a:prstGeom prst="ellipse">
            <a:avLst/>
          </a:prstGeom>
          <a:noFill/>
        </p:spPr>
        <p:txBody>
          <a:bodyPr anchor="ctr" anchorCtr="0"/>
          <a:lstStyle>
            <a:lvl1pPr algn="ctr">
              <a:defRPr sz="1000">
                <a:solidFill>
                  <a:schemeClr val="bg1"/>
                </a:solidFill>
              </a:defRPr>
            </a:lvl1pPr>
          </a:lstStyle>
          <a:p>
            <a:r>
              <a:rPr lang="en-US"/>
              <a:t>Click icon to add picture</a:t>
            </a:r>
          </a:p>
        </p:txBody>
      </p:sp>
      <p:sp>
        <p:nvSpPr>
          <p:cNvPr id="19" name="Text Placeholder 27">
            <a:extLst>
              <a:ext uri="{FF2B5EF4-FFF2-40B4-BE49-F238E27FC236}">
                <a16:creationId xmlns:a16="http://schemas.microsoft.com/office/drawing/2014/main" id="{9BF3A1D2-7CAA-8DD8-911A-A2D0BA1427F9}"/>
              </a:ext>
            </a:extLst>
          </p:cNvPr>
          <p:cNvSpPr>
            <a:spLocks noGrp="1"/>
          </p:cNvSpPr>
          <p:nvPr>
            <p:ph type="body" sz="quarter" idx="30"/>
          </p:nvPr>
        </p:nvSpPr>
        <p:spPr>
          <a:xfrm>
            <a:off x="6229707" y="3428999"/>
            <a:ext cx="2683155" cy="1256553"/>
          </a:xfrm>
        </p:spPr>
        <p:txBody>
          <a:bodyPr/>
          <a:lstStyle>
            <a:lvl1pPr algn="ctr">
              <a:spcAft>
                <a:spcPts val="400"/>
              </a:spcAft>
              <a:defRPr sz="1800" b="1">
                <a:solidFill>
                  <a:schemeClr val="bg1"/>
                </a:solidFill>
                <a:latin typeface="+mj-lt"/>
              </a:defRPr>
            </a:lvl1pPr>
            <a:lvl2pPr marL="0" indent="0" algn="ctr">
              <a:buNone/>
              <a:defRPr sz="1200">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21" name="Picture Placeholder 6">
            <a:extLst>
              <a:ext uri="{FF2B5EF4-FFF2-40B4-BE49-F238E27FC236}">
                <a16:creationId xmlns:a16="http://schemas.microsoft.com/office/drawing/2014/main" id="{66DB615F-5454-0D75-7CA0-6C62A207EA4B}"/>
              </a:ext>
            </a:extLst>
          </p:cNvPr>
          <p:cNvSpPr>
            <a:spLocks noGrp="1"/>
          </p:cNvSpPr>
          <p:nvPr>
            <p:ph type="pic" sz="quarter" idx="31"/>
          </p:nvPr>
        </p:nvSpPr>
        <p:spPr>
          <a:xfrm>
            <a:off x="9780656" y="1936381"/>
            <a:ext cx="1476000" cy="1476000"/>
          </a:xfrm>
          <a:prstGeom prst="ellipse">
            <a:avLst/>
          </a:prstGeom>
          <a:noFill/>
        </p:spPr>
        <p:txBody>
          <a:bodyPr anchor="ctr" anchorCtr="0"/>
          <a:lstStyle>
            <a:lvl1pPr algn="ctr">
              <a:defRPr sz="1000">
                <a:solidFill>
                  <a:schemeClr val="bg1"/>
                </a:solidFill>
              </a:defRPr>
            </a:lvl1pPr>
          </a:lstStyle>
          <a:p>
            <a:r>
              <a:rPr lang="en-US"/>
              <a:t>Click icon to add picture</a:t>
            </a:r>
          </a:p>
        </p:txBody>
      </p:sp>
      <p:sp>
        <p:nvSpPr>
          <p:cNvPr id="22" name="Text Placeholder 27">
            <a:extLst>
              <a:ext uri="{FF2B5EF4-FFF2-40B4-BE49-F238E27FC236}">
                <a16:creationId xmlns:a16="http://schemas.microsoft.com/office/drawing/2014/main" id="{B4BA40D8-47C3-D219-F16C-3F68FE38DFC2}"/>
              </a:ext>
            </a:extLst>
          </p:cNvPr>
          <p:cNvSpPr>
            <a:spLocks noGrp="1"/>
          </p:cNvSpPr>
          <p:nvPr>
            <p:ph type="body" sz="quarter" idx="32"/>
          </p:nvPr>
        </p:nvSpPr>
        <p:spPr>
          <a:xfrm>
            <a:off x="9177079" y="3428999"/>
            <a:ext cx="2683155" cy="1256553"/>
          </a:xfrm>
        </p:spPr>
        <p:txBody>
          <a:bodyPr/>
          <a:lstStyle>
            <a:lvl1pPr algn="ctr">
              <a:spcAft>
                <a:spcPts val="400"/>
              </a:spcAft>
              <a:defRPr sz="1800" b="1">
                <a:solidFill>
                  <a:schemeClr val="bg1"/>
                </a:solidFill>
                <a:latin typeface="+mj-lt"/>
              </a:defRPr>
            </a:lvl1pPr>
            <a:lvl2pPr marL="0" indent="0" algn="ctr">
              <a:buNone/>
              <a:defRPr sz="1200">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7" name="Graphic 11">
            <a:extLst>
              <a:ext uri="{FF2B5EF4-FFF2-40B4-BE49-F238E27FC236}">
                <a16:creationId xmlns:a16="http://schemas.microsoft.com/office/drawing/2014/main" id="{8E0F494F-9E32-A5D0-9358-03EA7371642C}"/>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bg1"/>
          </a:solidFill>
          <a:ln w="9076" cap="flat">
            <a:noFill/>
            <a:prstDash val="solid"/>
            <a:miter/>
          </a:ln>
        </p:spPr>
        <p:txBody>
          <a:bodyPr rtlCol="0" anchor="ctr"/>
          <a:lstStyle/>
          <a:p>
            <a:endParaRPr lang="en-US">
              <a:solidFill>
                <a:schemeClr val="bg1"/>
              </a:solidFill>
            </a:endParaRPr>
          </a:p>
        </p:txBody>
      </p:sp>
    </p:spTree>
    <p:extLst>
      <p:ext uri="{BB962C8B-B14F-4D97-AF65-F5344CB8AC3E}">
        <p14:creationId xmlns:p14="http://schemas.microsoft.com/office/powerpoint/2010/main" val="877914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Text Boxes - Blue BG">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2" y="300859"/>
            <a:ext cx="10543243" cy="751000"/>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92A706A-F0D9-BE69-314F-7FB54EB30136}"/>
              </a:ext>
            </a:extLst>
          </p:cNvPr>
          <p:cNvSpPr>
            <a:spLocks noGrp="1"/>
          </p:cNvSpPr>
          <p:nvPr>
            <p:ph idx="1"/>
          </p:nvPr>
        </p:nvSpPr>
        <p:spPr>
          <a:xfrm>
            <a:off x="1309128" y="1195295"/>
            <a:ext cx="4607485" cy="2233705"/>
          </a:xfrm>
          <a:prstGeom prst="roundRect">
            <a:avLst>
              <a:gd name="adj" fmla="val 7074"/>
            </a:avLst>
          </a:prstGeom>
          <a:solidFill>
            <a:schemeClr val="bg1"/>
          </a:solidFill>
        </p:spPr>
        <p:txBody>
          <a:bodyPr lIns="180000" tIns="180000" rIns="180000"/>
          <a:lstStyle>
            <a:lvl1pPr>
              <a:spcAft>
                <a:spcPts val="400"/>
              </a:spcAft>
              <a:defRPr sz="1800" b="1">
                <a:solidFill>
                  <a:schemeClr val="tx1"/>
                </a:solidFill>
                <a:latin typeface="+mj-lt"/>
              </a:defRPr>
            </a:lvl1pPr>
            <a:lvl2pPr marL="0" indent="0">
              <a:buNone/>
              <a:defRPr sz="1400">
                <a:solidFill>
                  <a:schemeClr val="tx1"/>
                </a:solidFill>
              </a:defRPr>
            </a:lvl2pPr>
            <a:lvl3pPr marL="268288" indent="-268288">
              <a:tabLst/>
              <a:defRPr sz="14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bg1"/>
                </a:solidFill>
              </a:defRPr>
            </a:lvl1pPr>
          </a:lstStyle>
          <a:p>
            <a:fld id="{AAF502CD-F636-C049-B05E-4ED95BC0AEE0}" type="slidenum">
              <a:rPr lang="en-US" smtClean="0"/>
              <a:pPr/>
              <a:t>‹#›</a:t>
            </a:fld>
            <a:endParaRPr lang="en-US"/>
          </a:p>
        </p:txBody>
      </p:sp>
      <p:sp>
        <p:nvSpPr>
          <p:cNvPr id="8" name="Content Placeholder 2">
            <a:extLst>
              <a:ext uri="{FF2B5EF4-FFF2-40B4-BE49-F238E27FC236}">
                <a16:creationId xmlns:a16="http://schemas.microsoft.com/office/drawing/2014/main" id="{1A1AAA26-A9D8-0C28-CFFD-A53E2EAF1C00}"/>
              </a:ext>
            </a:extLst>
          </p:cNvPr>
          <p:cNvSpPr>
            <a:spLocks noGrp="1"/>
          </p:cNvSpPr>
          <p:nvPr>
            <p:ph idx="13"/>
          </p:nvPr>
        </p:nvSpPr>
        <p:spPr>
          <a:xfrm>
            <a:off x="6275388" y="1195295"/>
            <a:ext cx="4607485" cy="2233705"/>
          </a:xfrm>
          <a:prstGeom prst="roundRect">
            <a:avLst>
              <a:gd name="adj" fmla="val 7074"/>
            </a:avLst>
          </a:prstGeom>
          <a:solidFill>
            <a:schemeClr val="bg1"/>
          </a:solidFill>
        </p:spPr>
        <p:txBody>
          <a:bodyPr lIns="180000" tIns="180000" rIns="180000"/>
          <a:lstStyle>
            <a:lvl1pPr>
              <a:spcAft>
                <a:spcPts val="400"/>
              </a:spcAft>
              <a:defRPr sz="1800" b="1">
                <a:solidFill>
                  <a:schemeClr val="tx1"/>
                </a:solidFill>
                <a:latin typeface="+mj-lt"/>
              </a:defRPr>
            </a:lvl1pPr>
            <a:lvl2pPr marL="0" indent="0">
              <a:buNone/>
              <a:defRPr sz="1400">
                <a:solidFill>
                  <a:schemeClr val="tx1"/>
                </a:solidFill>
              </a:defRPr>
            </a:lvl2pPr>
            <a:lvl3pPr marL="268288" indent="-268288">
              <a:tabLst/>
              <a:defRPr sz="14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9" name="Content Placeholder 2">
            <a:extLst>
              <a:ext uri="{FF2B5EF4-FFF2-40B4-BE49-F238E27FC236}">
                <a16:creationId xmlns:a16="http://schemas.microsoft.com/office/drawing/2014/main" id="{8478F8AF-FFBD-9EBD-884B-3C80A5720E98}"/>
              </a:ext>
            </a:extLst>
          </p:cNvPr>
          <p:cNvSpPr>
            <a:spLocks noGrp="1"/>
          </p:cNvSpPr>
          <p:nvPr>
            <p:ph idx="14"/>
          </p:nvPr>
        </p:nvSpPr>
        <p:spPr>
          <a:xfrm>
            <a:off x="1309128" y="3747208"/>
            <a:ext cx="4607485" cy="2233705"/>
          </a:xfrm>
          <a:prstGeom prst="roundRect">
            <a:avLst>
              <a:gd name="adj" fmla="val 7074"/>
            </a:avLst>
          </a:prstGeom>
          <a:solidFill>
            <a:schemeClr val="bg1"/>
          </a:solidFill>
        </p:spPr>
        <p:txBody>
          <a:bodyPr lIns="180000" tIns="180000" rIns="180000"/>
          <a:lstStyle>
            <a:lvl1pPr>
              <a:spcAft>
                <a:spcPts val="400"/>
              </a:spcAft>
              <a:defRPr sz="1800" b="1">
                <a:solidFill>
                  <a:schemeClr val="tx1"/>
                </a:solidFill>
                <a:latin typeface="+mj-lt"/>
              </a:defRPr>
            </a:lvl1pPr>
            <a:lvl2pPr marL="0" indent="0">
              <a:buNone/>
              <a:defRPr sz="1400">
                <a:solidFill>
                  <a:schemeClr val="tx1"/>
                </a:solidFill>
              </a:defRPr>
            </a:lvl2pPr>
            <a:lvl3pPr marL="268288" indent="-268288">
              <a:tabLst/>
              <a:defRPr sz="14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2" name="Content Placeholder 2">
            <a:extLst>
              <a:ext uri="{FF2B5EF4-FFF2-40B4-BE49-F238E27FC236}">
                <a16:creationId xmlns:a16="http://schemas.microsoft.com/office/drawing/2014/main" id="{C59FC254-7C1F-092E-5737-755309F44828}"/>
              </a:ext>
            </a:extLst>
          </p:cNvPr>
          <p:cNvSpPr>
            <a:spLocks noGrp="1"/>
          </p:cNvSpPr>
          <p:nvPr>
            <p:ph idx="15"/>
          </p:nvPr>
        </p:nvSpPr>
        <p:spPr>
          <a:xfrm>
            <a:off x="6275388" y="3747208"/>
            <a:ext cx="4607485" cy="2233705"/>
          </a:xfrm>
          <a:prstGeom prst="roundRect">
            <a:avLst>
              <a:gd name="adj" fmla="val 7074"/>
            </a:avLst>
          </a:prstGeom>
          <a:solidFill>
            <a:schemeClr val="bg1"/>
          </a:solidFill>
        </p:spPr>
        <p:txBody>
          <a:bodyPr lIns="180000" tIns="180000" rIns="180000"/>
          <a:lstStyle>
            <a:lvl1pPr>
              <a:spcAft>
                <a:spcPts val="400"/>
              </a:spcAft>
              <a:defRPr sz="1800" b="1">
                <a:solidFill>
                  <a:schemeClr val="tx1"/>
                </a:solidFill>
                <a:latin typeface="+mj-lt"/>
              </a:defRPr>
            </a:lvl1pPr>
            <a:lvl2pPr marL="0" indent="0">
              <a:buNone/>
              <a:defRPr sz="1400">
                <a:solidFill>
                  <a:schemeClr val="tx1"/>
                </a:solidFill>
              </a:defRPr>
            </a:lvl2pPr>
            <a:lvl3pPr marL="268288" indent="-268288">
              <a:tabLst/>
              <a:defRPr sz="14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Graphic 11">
            <a:extLst>
              <a:ext uri="{FF2B5EF4-FFF2-40B4-BE49-F238E27FC236}">
                <a16:creationId xmlns:a16="http://schemas.microsoft.com/office/drawing/2014/main" id="{C9FEE129-F5B6-BE0A-A48F-47626F9825D5}"/>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bg1"/>
          </a:solidFill>
          <a:ln w="9076" cap="flat">
            <a:noFill/>
            <a:prstDash val="solid"/>
            <a:miter/>
          </a:ln>
        </p:spPr>
        <p:txBody>
          <a:bodyPr rtlCol="0" anchor="ctr"/>
          <a:lstStyle/>
          <a:p>
            <a:endParaRPr lang="en-US">
              <a:solidFill>
                <a:schemeClr val="bg1"/>
              </a:solidFill>
            </a:endParaRPr>
          </a:p>
        </p:txBody>
      </p:sp>
    </p:spTree>
    <p:extLst>
      <p:ext uri="{BB962C8B-B14F-4D97-AF65-F5344CB8AC3E}">
        <p14:creationId xmlns:p14="http://schemas.microsoft.com/office/powerpoint/2010/main" val="39405613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 Text Boxes - Grey BG">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2" y="300859"/>
            <a:ext cx="10543243" cy="751000"/>
          </a:xfrm>
        </p:spPr>
        <p:txBody>
          <a:bodyPr/>
          <a:lstStyle>
            <a:lvl1pPr>
              <a:defRPr>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92A706A-F0D9-BE69-314F-7FB54EB30136}"/>
              </a:ext>
            </a:extLst>
          </p:cNvPr>
          <p:cNvSpPr>
            <a:spLocks noGrp="1"/>
          </p:cNvSpPr>
          <p:nvPr>
            <p:ph idx="1"/>
          </p:nvPr>
        </p:nvSpPr>
        <p:spPr>
          <a:xfrm>
            <a:off x="1309128" y="1195295"/>
            <a:ext cx="4607485" cy="2233705"/>
          </a:xfrm>
          <a:prstGeom prst="roundRect">
            <a:avLst>
              <a:gd name="adj" fmla="val 7074"/>
            </a:avLst>
          </a:prstGeom>
          <a:solidFill>
            <a:schemeClr val="bg1"/>
          </a:solidFill>
        </p:spPr>
        <p:txBody>
          <a:bodyPr lIns="180000" tIns="180000" rIns="180000"/>
          <a:lstStyle>
            <a:lvl1pPr>
              <a:spcAft>
                <a:spcPts val="400"/>
              </a:spcAft>
              <a:defRPr sz="1800" b="1">
                <a:solidFill>
                  <a:schemeClr val="tx1"/>
                </a:solidFill>
                <a:latin typeface="+mj-lt"/>
              </a:defRPr>
            </a:lvl1pPr>
            <a:lvl2pPr marL="0" indent="0">
              <a:buNone/>
              <a:defRPr sz="1400">
                <a:solidFill>
                  <a:schemeClr val="tx1"/>
                </a:solidFill>
              </a:defRPr>
            </a:lvl2pPr>
            <a:lvl3pPr marL="268288" indent="-268288">
              <a:tabLst/>
              <a:defRPr sz="14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tx1"/>
                </a:solidFill>
              </a:defRPr>
            </a:lvl1pPr>
          </a:lstStyle>
          <a:p>
            <a:fld id="{AAF502CD-F636-C049-B05E-4ED95BC0AEE0}" type="slidenum">
              <a:rPr lang="en-US" smtClean="0"/>
              <a:pPr/>
              <a:t>‹#›</a:t>
            </a:fld>
            <a:endParaRPr lang="en-US"/>
          </a:p>
        </p:txBody>
      </p:sp>
      <p:sp>
        <p:nvSpPr>
          <p:cNvPr id="8" name="Content Placeholder 2">
            <a:extLst>
              <a:ext uri="{FF2B5EF4-FFF2-40B4-BE49-F238E27FC236}">
                <a16:creationId xmlns:a16="http://schemas.microsoft.com/office/drawing/2014/main" id="{1A1AAA26-A9D8-0C28-CFFD-A53E2EAF1C00}"/>
              </a:ext>
            </a:extLst>
          </p:cNvPr>
          <p:cNvSpPr>
            <a:spLocks noGrp="1"/>
          </p:cNvSpPr>
          <p:nvPr>
            <p:ph idx="13"/>
          </p:nvPr>
        </p:nvSpPr>
        <p:spPr>
          <a:xfrm>
            <a:off x="6275388" y="1195295"/>
            <a:ext cx="4607485" cy="2233705"/>
          </a:xfrm>
          <a:prstGeom prst="roundRect">
            <a:avLst>
              <a:gd name="adj" fmla="val 7074"/>
            </a:avLst>
          </a:prstGeom>
          <a:solidFill>
            <a:schemeClr val="bg1"/>
          </a:solidFill>
        </p:spPr>
        <p:txBody>
          <a:bodyPr lIns="180000" tIns="180000" rIns="180000"/>
          <a:lstStyle>
            <a:lvl1pPr>
              <a:spcAft>
                <a:spcPts val="400"/>
              </a:spcAft>
              <a:defRPr sz="1800" b="1">
                <a:solidFill>
                  <a:schemeClr val="tx1"/>
                </a:solidFill>
                <a:latin typeface="+mj-lt"/>
              </a:defRPr>
            </a:lvl1pPr>
            <a:lvl2pPr marL="0" indent="0">
              <a:buNone/>
              <a:defRPr sz="1400">
                <a:solidFill>
                  <a:schemeClr val="tx1"/>
                </a:solidFill>
              </a:defRPr>
            </a:lvl2pPr>
            <a:lvl3pPr marL="268288" indent="-268288">
              <a:tabLst/>
              <a:defRPr sz="14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9" name="Content Placeholder 2">
            <a:extLst>
              <a:ext uri="{FF2B5EF4-FFF2-40B4-BE49-F238E27FC236}">
                <a16:creationId xmlns:a16="http://schemas.microsoft.com/office/drawing/2014/main" id="{8478F8AF-FFBD-9EBD-884B-3C80A5720E98}"/>
              </a:ext>
            </a:extLst>
          </p:cNvPr>
          <p:cNvSpPr>
            <a:spLocks noGrp="1"/>
          </p:cNvSpPr>
          <p:nvPr>
            <p:ph idx="14"/>
          </p:nvPr>
        </p:nvSpPr>
        <p:spPr>
          <a:xfrm>
            <a:off x="1309128" y="3747208"/>
            <a:ext cx="4607485" cy="2233705"/>
          </a:xfrm>
          <a:prstGeom prst="roundRect">
            <a:avLst>
              <a:gd name="adj" fmla="val 7074"/>
            </a:avLst>
          </a:prstGeom>
          <a:solidFill>
            <a:schemeClr val="bg1"/>
          </a:solidFill>
        </p:spPr>
        <p:txBody>
          <a:bodyPr lIns="180000" tIns="180000" rIns="180000"/>
          <a:lstStyle>
            <a:lvl1pPr>
              <a:spcAft>
                <a:spcPts val="400"/>
              </a:spcAft>
              <a:defRPr sz="1800" b="1">
                <a:solidFill>
                  <a:schemeClr val="tx1"/>
                </a:solidFill>
                <a:latin typeface="+mj-lt"/>
              </a:defRPr>
            </a:lvl1pPr>
            <a:lvl2pPr marL="0" indent="0">
              <a:buNone/>
              <a:defRPr sz="1400">
                <a:solidFill>
                  <a:schemeClr val="tx1"/>
                </a:solidFill>
              </a:defRPr>
            </a:lvl2pPr>
            <a:lvl3pPr marL="268288" indent="-268288">
              <a:tabLst/>
              <a:defRPr sz="14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2" name="Content Placeholder 2">
            <a:extLst>
              <a:ext uri="{FF2B5EF4-FFF2-40B4-BE49-F238E27FC236}">
                <a16:creationId xmlns:a16="http://schemas.microsoft.com/office/drawing/2014/main" id="{C59FC254-7C1F-092E-5737-755309F44828}"/>
              </a:ext>
            </a:extLst>
          </p:cNvPr>
          <p:cNvSpPr>
            <a:spLocks noGrp="1"/>
          </p:cNvSpPr>
          <p:nvPr>
            <p:ph idx="15"/>
          </p:nvPr>
        </p:nvSpPr>
        <p:spPr>
          <a:xfrm>
            <a:off x="6275388" y="3747208"/>
            <a:ext cx="4607485" cy="2233705"/>
          </a:xfrm>
          <a:prstGeom prst="roundRect">
            <a:avLst>
              <a:gd name="adj" fmla="val 7074"/>
            </a:avLst>
          </a:prstGeom>
          <a:solidFill>
            <a:schemeClr val="bg1"/>
          </a:solidFill>
        </p:spPr>
        <p:txBody>
          <a:bodyPr lIns="180000" tIns="180000" rIns="180000"/>
          <a:lstStyle>
            <a:lvl1pPr>
              <a:spcAft>
                <a:spcPts val="400"/>
              </a:spcAft>
              <a:defRPr sz="1800" b="1">
                <a:solidFill>
                  <a:schemeClr val="tx1"/>
                </a:solidFill>
                <a:latin typeface="+mj-lt"/>
              </a:defRPr>
            </a:lvl1pPr>
            <a:lvl2pPr marL="0" indent="0">
              <a:buNone/>
              <a:defRPr sz="1400">
                <a:solidFill>
                  <a:schemeClr val="tx1"/>
                </a:solidFill>
              </a:defRPr>
            </a:lvl2pPr>
            <a:lvl3pPr marL="268288" indent="-268288">
              <a:tabLst/>
              <a:defRPr sz="1400">
                <a:solidFill>
                  <a:schemeClr val="tx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Graphic 11">
            <a:extLst>
              <a:ext uri="{FF2B5EF4-FFF2-40B4-BE49-F238E27FC236}">
                <a16:creationId xmlns:a16="http://schemas.microsoft.com/office/drawing/2014/main" id="{20E859D1-2EA9-BD16-E777-1CED609E194F}"/>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bg1"/>
              </a:solidFill>
            </a:endParaRPr>
          </a:p>
        </p:txBody>
      </p:sp>
    </p:spTree>
    <p:extLst>
      <p:ext uri="{BB962C8B-B14F-4D97-AF65-F5344CB8AC3E}">
        <p14:creationId xmlns:p14="http://schemas.microsoft.com/office/powerpoint/2010/main" val="10289047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olumn with 2 x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357893A-FF0F-AC67-2DA5-94114BA4D445}"/>
              </a:ext>
            </a:extLst>
          </p:cNvPr>
          <p:cNvSpPr>
            <a:spLocks noGrp="1"/>
          </p:cNvSpPr>
          <p:nvPr>
            <p:ph type="pic" sz="quarter" idx="13"/>
          </p:nvPr>
        </p:nvSpPr>
        <p:spPr>
          <a:xfrm>
            <a:off x="6096000" y="1021606"/>
            <a:ext cx="5761038" cy="2407394"/>
          </a:xfrm>
          <a:prstGeom prst="roundRect">
            <a:avLst>
              <a:gd name="adj" fmla="val 6713"/>
            </a:avLst>
          </a:prstGeom>
          <a:solidFill>
            <a:schemeClr val="bg1">
              <a:lumMod val="75000"/>
            </a:schemeClr>
          </a:solidFill>
        </p:spPr>
        <p:txBody>
          <a:bodyPr anchor="ctr" anchorCtr="0"/>
          <a:lstStyle>
            <a:lvl1pPr algn="ctr">
              <a:defRPr sz="1000"/>
            </a:lvl1pPr>
          </a:lstStyle>
          <a:p>
            <a:r>
              <a:rPr lang="en-US"/>
              <a:t>Click icon to add picture</a:t>
            </a:r>
          </a:p>
        </p:txBody>
      </p:sp>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2" y="300859"/>
            <a:ext cx="5613181" cy="94777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92A706A-F0D9-BE69-314F-7FB54EB30136}"/>
              </a:ext>
            </a:extLst>
          </p:cNvPr>
          <p:cNvSpPr>
            <a:spLocks noGrp="1"/>
          </p:cNvSpPr>
          <p:nvPr>
            <p:ph idx="1"/>
          </p:nvPr>
        </p:nvSpPr>
        <p:spPr>
          <a:xfrm>
            <a:off x="321089" y="1213921"/>
            <a:ext cx="4320000" cy="4890487"/>
          </a:xfrm>
        </p:spPr>
        <p:txBody>
          <a:bodyPr/>
          <a:lstStyle>
            <a:lvl1pPr>
              <a:defRPr sz="1600"/>
            </a:lvl1pPr>
            <a:lvl2pPr marL="269875" indent="-269875">
              <a:tabLst/>
              <a:defRPr sz="1600"/>
            </a:lvl2pPr>
            <a:lvl3pPr marL="540000" indent="-270000">
              <a:tabLst/>
              <a:defRPr sz="1600"/>
            </a:lvl3pPr>
            <a:lvl4pPr marL="810000" indent="-270000">
              <a:tabLst/>
              <a:defRPr sz="1600"/>
            </a:lvl4pPr>
            <a:lvl5pPr marL="1080000" indent="-270000">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tx1"/>
                </a:solidFill>
              </a:defRPr>
            </a:lvl1pPr>
          </a:lstStyle>
          <a:p>
            <a:fld id="{AAF502CD-F636-C049-B05E-4ED95BC0AEE0}" type="slidenum">
              <a:rPr lang="en-US" smtClean="0"/>
              <a:pPr/>
              <a:t>‹#›</a:t>
            </a:fld>
            <a:endParaRPr lang="en-US"/>
          </a:p>
        </p:txBody>
      </p:sp>
      <p:sp>
        <p:nvSpPr>
          <p:cNvPr id="12" name="Picture Placeholder 6">
            <a:extLst>
              <a:ext uri="{FF2B5EF4-FFF2-40B4-BE49-F238E27FC236}">
                <a16:creationId xmlns:a16="http://schemas.microsoft.com/office/drawing/2014/main" id="{7FF15618-9241-E6B0-A5B0-24750936C8F3}"/>
              </a:ext>
            </a:extLst>
          </p:cNvPr>
          <p:cNvSpPr>
            <a:spLocks noGrp="1"/>
          </p:cNvSpPr>
          <p:nvPr>
            <p:ph type="pic" sz="quarter" idx="14"/>
          </p:nvPr>
        </p:nvSpPr>
        <p:spPr>
          <a:xfrm>
            <a:off x="6096000" y="3522568"/>
            <a:ext cx="5761038" cy="2407394"/>
          </a:xfrm>
          <a:prstGeom prst="roundRect">
            <a:avLst>
              <a:gd name="adj" fmla="val 6713"/>
            </a:avLst>
          </a:prstGeom>
          <a:solidFill>
            <a:schemeClr val="bg1">
              <a:lumMod val="75000"/>
            </a:schemeClr>
          </a:solidFill>
        </p:spPr>
        <p:txBody>
          <a:bodyPr anchor="ctr" anchorCtr="0"/>
          <a:lstStyle>
            <a:lvl1pPr algn="ctr">
              <a:defRPr sz="1000"/>
            </a:lvl1pPr>
          </a:lstStyle>
          <a:p>
            <a:r>
              <a:rPr lang="en-US"/>
              <a:t>Click icon to add picture</a:t>
            </a:r>
          </a:p>
        </p:txBody>
      </p:sp>
      <p:sp>
        <p:nvSpPr>
          <p:cNvPr id="13" name="Graphic 11">
            <a:extLst>
              <a:ext uri="{FF2B5EF4-FFF2-40B4-BE49-F238E27FC236}">
                <a16:creationId xmlns:a16="http://schemas.microsoft.com/office/drawing/2014/main" id="{3517F1D6-30C0-EAF8-CF0B-50209A26644F}"/>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bg1"/>
              </a:solidFill>
            </a:endParaRPr>
          </a:p>
        </p:txBody>
      </p:sp>
    </p:spTree>
    <p:extLst>
      <p:ext uri="{BB962C8B-B14F-4D97-AF65-F5344CB8AC3E}">
        <p14:creationId xmlns:p14="http://schemas.microsoft.com/office/powerpoint/2010/main" val="4794156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 Grey BG">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1" y="300859"/>
            <a:ext cx="10080000" cy="947770"/>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tx1"/>
                </a:solidFill>
              </a:defRPr>
            </a:lvl1pPr>
          </a:lstStyle>
          <a:p>
            <a:fld id="{AAF502CD-F636-C049-B05E-4ED95BC0AEE0}" type="slidenum">
              <a:rPr lang="en-US" smtClean="0"/>
              <a:pPr/>
              <a:t>‹#›</a:t>
            </a:fld>
            <a:endParaRPr lang="en-US"/>
          </a:p>
        </p:txBody>
      </p:sp>
      <p:sp>
        <p:nvSpPr>
          <p:cNvPr id="8" name="Graphic 11">
            <a:extLst>
              <a:ext uri="{FF2B5EF4-FFF2-40B4-BE49-F238E27FC236}">
                <a16:creationId xmlns:a16="http://schemas.microsoft.com/office/drawing/2014/main" id="{EED7FD21-52E2-C382-52CA-A656AF385714}"/>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bg1"/>
              </a:solidFill>
            </a:endParaRPr>
          </a:p>
        </p:txBody>
      </p:sp>
    </p:spTree>
    <p:extLst>
      <p:ext uri="{BB962C8B-B14F-4D97-AF65-F5344CB8AC3E}">
        <p14:creationId xmlns:p14="http://schemas.microsoft.com/office/powerpoint/2010/main" val="22328676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White BG">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2" y="300859"/>
            <a:ext cx="10080000" cy="947770"/>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tx1"/>
                </a:solidFill>
              </a:defRPr>
            </a:lvl1pPr>
          </a:lstStyle>
          <a:p>
            <a:fld id="{AAF502CD-F636-C049-B05E-4ED95BC0AEE0}" type="slidenum">
              <a:rPr lang="en-US" smtClean="0"/>
              <a:pPr/>
              <a:t>‹#›</a:t>
            </a:fld>
            <a:endParaRPr lang="en-US"/>
          </a:p>
        </p:txBody>
      </p:sp>
      <p:sp>
        <p:nvSpPr>
          <p:cNvPr id="8" name="Graphic 11">
            <a:extLst>
              <a:ext uri="{FF2B5EF4-FFF2-40B4-BE49-F238E27FC236}">
                <a16:creationId xmlns:a16="http://schemas.microsoft.com/office/drawing/2014/main" id="{49AAD191-58EC-4E53-520D-5CB0C53AD494}"/>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bg1"/>
              </a:solidFill>
            </a:endParaRPr>
          </a:p>
        </p:txBody>
      </p:sp>
    </p:spTree>
    <p:extLst>
      <p:ext uri="{BB962C8B-B14F-4D97-AF65-F5344CB8AC3E}">
        <p14:creationId xmlns:p14="http://schemas.microsoft.com/office/powerpoint/2010/main" val="23581364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xt and Bar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2" y="300859"/>
            <a:ext cx="5613181" cy="94777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92A706A-F0D9-BE69-314F-7FB54EB30136}"/>
              </a:ext>
            </a:extLst>
          </p:cNvPr>
          <p:cNvSpPr>
            <a:spLocks noGrp="1"/>
          </p:cNvSpPr>
          <p:nvPr>
            <p:ph idx="1"/>
          </p:nvPr>
        </p:nvSpPr>
        <p:spPr>
          <a:xfrm>
            <a:off x="321089" y="1213921"/>
            <a:ext cx="4320000" cy="4890487"/>
          </a:xfrm>
        </p:spPr>
        <p:txBody>
          <a:bodyPr/>
          <a:lstStyle>
            <a:lvl1pPr>
              <a:defRPr sz="1600"/>
            </a:lvl1pPr>
            <a:lvl2pPr marL="269875" indent="-269875">
              <a:tabLst/>
              <a:defRPr sz="1600"/>
            </a:lvl2pPr>
            <a:lvl3pPr marL="540000" indent="-270000">
              <a:tabLst/>
              <a:defRPr sz="1600"/>
            </a:lvl3pPr>
            <a:lvl4pPr marL="810000" indent="-270000">
              <a:tabLst/>
              <a:defRPr sz="1600"/>
            </a:lvl4pPr>
            <a:lvl5pPr marL="1080000" indent="-270000">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tx1"/>
                </a:solidFill>
              </a:defRPr>
            </a:lvl1pPr>
          </a:lstStyle>
          <a:p>
            <a:fld id="{AAF502CD-F636-C049-B05E-4ED95BC0AEE0}" type="slidenum">
              <a:rPr lang="en-US" smtClean="0"/>
              <a:pPr/>
              <a:t>‹#›</a:t>
            </a:fld>
            <a:endParaRPr lang="en-US"/>
          </a:p>
        </p:txBody>
      </p:sp>
      <p:sp>
        <p:nvSpPr>
          <p:cNvPr id="10" name="Graphic 11">
            <a:extLst>
              <a:ext uri="{FF2B5EF4-FFF2-40B4-BE49-F238E27FC236}">
                <a16:creationId xmlns:a16="http://schemas.microsoft.com/office/drawing/2014/main" id="{5621749B-E095-09BE-174A-D7E00E6FA891}"/>
              </a:ext>
            </a:extLst>
          </p:cNvPr>
          <p:cNvSpPr/>
          <p:nvPr/>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bg1"/>
              </a:solidFill>
            </a:endParaRPr>
          </a:p>
        </p:txBody>
      </p:sp>
      <p:sp>
        <p:nvSpPr>
          <p:cNvPr id="13" name="Chart Placeholder 12">
            <a:extLst>
              <a:ext uri="{FF2B5EF4-FFF2-40B4-BE49-F238E27FC236}">
                <a16:creationId xmlns:a16="http://schemas.microsoft.com/office/drawing/2014/main" id="{DD909F23-B05F-3898-4624-7B4427B6506E}"/>
              </a:ext>
            </a:extLst>
          </p:cNvPr>
          <p:cNvSpPr>
            <a:spLocks noGrp="1"/>
          </p:cNvSpPr>
          <p:nvPr>
            <p:ph type="chart" sz="quarter" idx="13"/>
          </p:nvPr>
        </p:nvSpPr>
        <p:spPr>
          <a:xfrm>
            <a:off x="5240338" y="1236883"/>
            <a:ext cx="6616700" cy="3845921"/>
          </a:xfrm>
        </p:spPr>
        <p:txBody>
          <a:bodyPr anchor="ctr" anchorCtr="0"/>
          <a:lstStyle>
            <a:lvl1pPr algn="ctr">
              <a:defRPr sz="1000"/>
            </a:lvl1pPr>
          </a:lstStyle>
          <a:p>
            <a:r>
              <a:rPr lang="en-US"/>
              <a:t>Click icon to add chart</a:t>
            </a:r>
          </a:p>
        </p:txBody>
      </p:sp>
    </p:spTree>
    <p:extLst>
      <p:ext uri="{BB962C8B-B14F-4D97-AF65-F5344CB8AC3E}">
        <p14:creationId xmlns:p14="http://schemas.microsoft.com/office/powerpoint/2010/main" val="35225787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02 - White BG">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5EEE8-FF85-7216-E1D3-A064CC954F9F}"/>
              </a:ext>
            </a:extLst>
          </p:cNvPr>
          <p:cNvSpPr>
            <a:spLocks noGrp="1"/>
          </p:cNvSpPr>
          <p:nvPr>
            <p:ph type="ctrTitle"/>
          </p:nvPr>
        </p:nvSpPr>
        <p:spPr>
          <a:xfrm>
            <a:off x="303433" y="1671001"/>
            <a:ext cx="5613180" cy="1368591"/>
          </a:xfrm>
        </p:spPr>
        <p:txBody>
          <a:bodyPr anchor="t" anchorCtr="0"/>
          <a:lstStyle>
            <a:lvl1pPr algn="l">
              <a:lnSpc>
                <a:spcPct val="85000"/>
              </a:lnSpc>
              <a:defRPr sz="5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7678E90-F782-C178-A610-A05D0932347C}"/>
              </a:ext>
            </a:extLst>
          </p:cNvPr>
          <p:cNvSpPr>
            <a:spLocks noGrp="1"/>
          </p:cNvSpPr>
          <p:nvPr>
            <p:ph type="subTitle" idx="1"/>
          </p:nvPr>
        </p:nvSpPr>
        <p:spPr>
          <a:xfrm>
            <a:off x="322351" y="3028174"/>
            <a:ext cx="4867658" cy="394520"/>
          </a:xfrm>
        </p:spPr>
        <p:txBody>
          <a:bodyPr anchor="t" anchorCtr="0"/>
          <a:lstStyle>
            <a:lvl1pPr marL="0" indent="0" algn="l">
              <a:buNone/>
              <a:defRPr sz="2100" b="1" i="0">
                <a:solidFill>
                  <a:schemeClr val="tx1"/>
                </a:solidFill>
                <a:latin typeface="Aptos" panose="020B00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Graphic 14">
            <a:extLst>
              <a:ext uri="{FF2B5EF4-FFF2-40B4-BE49-F238E27FC236}">
                <a16:creationId xmlns:a16="http://schemas.microsoft.com/office/drawing/2014/main" id="{A00F7C08-EF3F-50F4-1EB8-4949F64A1475}"/>
              </a:ext>
            </a:extLst>
          </p:cNvPr>
          <p:cNvSpPr/>
          <p:nvPr/>
        </p:nvSpPr>
        <p:spPr>
          <a:xfrm>
            <a:off x="10835954" y="282856"/>
            <a:ext cx="1085374" cy="1075203"/>
          </a:xfrm>
          <a:custGeom>
            <a:avLst/>
            <a:gdLst>
              <a:gd name="connsiteX0" fmla="*/ 2797238 w 5381200"/>
              <a:gd name="connsiteY0" fmla="*/ 2292455 h 5330772"/>
              <a:gd name="connsiteX1" fmla="*/ 2797238 w 5381200"/>
              <a:gd name="connsiteY1" fmla="*/ 2290393 h 5330772"/>
              <a:gd name="connsiteX2" fmla="*/ 2641721 w 5381200"/>
              <a:gd name="connsiteY2" fmla="*/ 2116477 h 5330772"/>
              <a:gd name="connsiteX3" fmla="*/ 2483155 w 5381200"/>
              <a:gd name="connsiteY3" fmla="*/ 2290393 h 5330772"/>
              <a:gd name="connsiteX4" fmla="*/ 2483155 w 5381200"/>
              <a:gd name="connsiteY4" fmla="*/ 2292455 h 5330772"/>
              <a:gd name="connsiteX5" fmla="*/ 2641721 w 5381200"/>
              <a:gd name="connsiteY5" fmla="*/ 2466370 h 5330772"/>
              <a:gd name="connsiteX6" fmla="*/ 2797238 w 5381200"/>
              <a:gd name="connsiteY6" fmla="*/ 2292455 h 5330772"/>
              <a:gd name="connsiteX7" fmla="*/ 3472309 w 5381200"/>
              <a:gd name="connsiteY7" fmla="*/ 1857218 h 5330772"/>
              <a:gd name="connsiteX8" fmla="*/ 3472309 w 5381200"/>
              <a:gd name="connsiteY8" fmla="*/ 1856949 h 5330772"/>
              <a:gd name="connsiteX9" fmla="*/ 3449350 w 5381200"/>
              <a:gd name="connsiteY9" fmla="*/ 1838661 h 5330772"/>
              <a:gd name="connsiteX10" fmla="*/ 3421278 w 5381200"/>
              <a:gd name="connsiteY10" fmla="*/ 1838661 h 5330772"/>
              <a:gd name="connsiteX11" fmla="*/ 3421278 w 5381200"/>
              <a:gd name="connsiteY11" fmla="*/ 1875686 h 5330772"/>
              <a:gd name="connsiteX12" fmla="*/ 3449529 w 5381200"/>
              <a:gd name="connsiteY12" fmla="*/ 1875686 h 5330772"/>
              <a:gd name="connsiteX13" fmla="*/ 3472309 w 5381200"/>
              <a:gd name="connsiteY13" fmla="*/ 1857218 h 5330772"/>
              <a:gd name="connsiteX14" fmla="*/ 3490606 w 5381200"/>
              <a:gd name="connsiteY14" fmla="*/ 1856322 h 5330772"/>
              <a:gd name="connsiteX15" fmla="*/ 3465673 w 5381200"/>
              <a:gd name="connsiteY15" fmla="*/ 1888236 h 5330772"/>
              <a:gd name="connsiteX16" fmla="*/ 3487108 w 5381200"/>
              <a:gd name="connsiteY16" fmla="*/ 1915130 h 5330772"/>
              <a:gd name="connsiteX17" fmla="*/ 3490067 w 5381200"/>
              <a:gd name="connsiteY17" fmla="*/ 1922033 h 5330772"/>
              <a:gd name="connsiteX18" fmla="*/ 3481368 w 5381200"/>
              <a:gd name="connsiteY18" fmla="*/ 1930549 h 5330772"/>
              <a:gd name="connsiteX19" fmla="*/ 3472489 w 5381200"/>
              <a:gd name="connsiteY19" fmla="*/ 1925708 h 5330772"/>
              <a:gd name="connsiteX20" fmla="*/ 3445852 w 5381200"/>
              <a:gd name="connsiteY20" fmla="*/ 1891732 h 5330772"/>
              <a:gd name="connsiteX21" fmla="*/ 3421278 w 5381200"/>
              <a:gd name="connsiteY21" fmla="*/ 1891732 h 5330772"/>
              <a:gd name="connsiteX22" fmla="*/ 3421278 w 5381200"/>
              <a:gd name="connsiteY22" fmla="*/ 1921406 h 5330772"/>
              <a:gd name="connsiteX23" fmla="*/ 3412130 w 5381200"/>
              <a:gd name="connsiteY23" fmla="*/ 1930549 h 5330772"/>
              <a:gd name="connsiteX24" fmla="*/ 3403161 w 5381200"/>
              <a:gd name="connsiteY24" fmla="*/ 1921406 h 5330772"/>
              <a:gd name="connsiteX25" fmla="*/ 3403161 w 5381200"/>
              <a:gd name="connsiteY25" fmla="*/ 1831310 h 5330772"/>
              <a:gd name="connsiteX26" fmla="*/ 3412130 w 5381200"/>
              <a:gd name="connsiteY26" fmla="*/ 1822166 h 5330772"/>
              <a:gd name="connsiteX27" fmla="*/ 3450874 w 5381200"/>
              <a:gd name="connsiteY27" fmla="*/ 1822166 h 5330772"/>
              <a:gd name="connsiteX28" fmla="*/ 3481906 w 5381200"/>
              <a:gd name="connsiteY28" fmla="*/ 1832924 h 5330772"/>
              <a:gd name="connsiteX29" fmla="*/ 3490606 w 5381200"/>
              <a:gd name="connsiteY29" fmla="*/ 1855963 h 5330772"/>
              <a:gd name="connsiteX30" fmla="*/ 3490606 w 5381200"/>
              <a:gd name="connsiteY30" fmla="*/ 1856322 h 5330772"/>
              <a:gd name="connsiteX31" fmla="*/ 3533297 w 5381200"/>
              <a:gd name="connsiteY31" fmla="*/ 1877837 h 5330772"/>
              <a:gd name="connsiteX32" fmla="*/ 3533297 w 5381200"/>
              <a:gd name="connsiteY32" fmla="*/ 1877299 h 5330772"/>
              <a:gd name="connsiteX33" fmla="*/ 3443161 w 5381200"/>
              <a:gd name="connsiteY33" fmla="*/ 1786845 h 5330772"/>
              <a:gd name="connsiteX34" fmla="*/ 3352398 w 5381200"/>
              <a:gd name="connsiteY34" fmla="*/ 1877837 h 5330772"/>
              <a:gd name="connsiteX35" fmla="*/ 3352398 w 5381200"/>
              <a:gd name="connsiteY35" fmla="*/ 1878375 h 5330772"/>
              <a:gd name="connsiteX36" fmla="*/ 3442533 w 5381200"/>
              <a:gd name="connsiteY36" fmla="*/ 1968829 h 5330772"/>
              <a:gd name="connsiteX37" fmla="*/ 3533297 w 5381200"/>
              <a:gd name="connsiteY37" fmla="*/ 1877837 h 5330772"/>
              <a:gd name="connsiteX38" fmla="*/ 3543879 w 5381200"/>
              <a:gd name="connsiteY38" fmla="*/ 1877299 h 5330772"/>
              <a:gd name="connsiteX39" fmla="*/ 3543879 w 5381200"/>
              <a:gd name="connsiteY39" fmla="*/ 1877837 h 5330772"/>
              <a:gd name="connsiteX40" fmla="*/ 3442533 w 5381200"/>
              <a:gd name="connsiteY40" fmla="*/ 1978869 h 5330772"/>
              <a:gd name="connsiteX41" fmla="*/ 3341726 w 5381200"/>
              <a:gd name="connsiteY41" fmla="*/ 1878465 h 5330772"/>
              <a:gd name="connsiteX42" fmla="*/ 3341726 w 5381200"/>
              <a:gd name="connsiteY42" fmla="*/ 1877927 h 5330772"/>
              <a:gd name="connsiteX43" fmla="*/ 3443071 w 5381200"/>
              <a:gd name="connsiteY43" fmla="*/ 1776895 h 5330772"/>
              <a:gd name="connsiteX44" fmla="*/ 3543879 w 5381200"/>
              <a:gd name="connsiteY44" fmla="*/ 1877299 h 5330772"/>
              <a:gd name="connsiteX45" fmla="*/ 3285313 w 5381200"/>
              <a:gd name="connsiteY45" fmla="*/ 2008363 h 5330772"/>
              <a:gd name="connsiteX46" fmla="*/ 3478946 w 5381200"/>
              <a:gd name="connsiteY46" fmla="*/ 2216255 h 5330772"/>
              <a:gd name="connsiteX47" fmla="*/ 3478946 w 5381200"/>
              <a:gd name="connsiteY47" fmla="*/ 2506532 h 5330772"/>
              <a:gd name="connsiteX48" fmla="*/ 3417152 w 5381200"/>
              <a:gd name="connsiteY48" fmla="*/ 2568299 h 5330772"/>
              <a:gd name="connsiteX49" fmla="*/ 3354371 w 5381200"/>
              <a:gd name="connsiteY49" fmla="*/ 2506532 h 5330772"/>
              <a:gd name="connsiteX50" fmla="*/ 3354371 w 5381200"/>
              <a:gd name="connsiteY50" fmla="*/ 2254355 h 5330772"/>
              <a:gd name="connsiteX51" fmla="*/ 3237958 w 5381200"/>
              <a:gd name="connsiteY51" fmla="*/ 2121587 h 5330772"/>
              <a:gd name="connsiteX52" fmla="*/ 3115446 w 5381200"/>
              <a:gd name="connsiteY52" fmla="*/ 2256327 h 5330772"/>
              <a:gd name="connsiteX53" fmla="*/ 3115446 w 5381200"/>
              <a:gd name="connsiteY53" fmla="*/ 2506442 h 5330772"/>
              <a:gd name="connsiteX54" fmla="*/ 3052665 w 5381200"/>
              <a:gd name="connsiteY54" fmla="*/ 2568209 h 5330772"/>
              <a:gd name="connsiteX55" fmla="*/ 2990871 w 5381200"/>
              <a:gd name="connsiteY55" fmla="*/ 2506442 h 5330772"/>
              <a:gd name="connsiteX56" fmla="*/ 2990871 w 5381200"/>
              <a:gd name="connsiteY56" fmla="*/ 2076226 h 5330772"/>
              <a:gd name="connsiteX57" fmla="*/ 3052665 w 5381200"/>
              <a:gd name="connsiteY57" fmla="*/ 2013383 h 5330772"/>
              <a:gd name="connsiteX58" fmla="*/ 3115446 w 5381200"/>
              <a:gd name="connsiteY58" fmla="*/ 2076226 h 5330772"/>
              <a:gd name="connsiteX59" fmla="*/ 3115446 w 5381200"/>
              <a:gd name="connsiteY59" fmla="*/ 2102941 h 5330772"/>
              <a:gd name="connsiteX60" fmla="*/ 3285313 w 5381200"/>
              <a:gd name="connsiteY60" fmla="*/ 2008363 h 5330772"/>
              <a:gd name="connsiteX61" fmla="*/ 2923875 w 5381200"/>
              <a:gd name="connsiteY61" fmla="*/ 2292455 h 5330772"/>
              <a:gd name="connsiteX62" fmla="*/ 2671677 w 5381200"/>
              <a:gd name="connsiteY62" fmla="*/ 2574484 h 5330772"/>
              <a:gd name="connsiteX63" fmla="*/ 2486294 w 5381200"/>
              <a:gd name="connsiteY63" fmla="*/ 2478741 h 5330772"/>
              <a:gd name="connsiteX64" fmla="*/ 2486294 w 5381200"/>
              <a:gd name="connsiteY64" fmla="*/ 2506532 h 5330772"/>
              <a:gd name="connsiteX65" fmla="*/ 2423424 w 5381200"/>
              <a:gd name="connsiteY65" fmla="*/ 2568299 h 5330772"/>
              <a:gd name="connsiteX66" fmla="*/ 2361630 w 5381200"/>
              <a:gd name="connsiteY66" fmla="*/ 2506532 h 5330772"/>
              <a:gd name="connsiteX67" fmla="*/ 2361630 w 5381200"/>
              <a:gd name="connsiteY67" fmla="*/ 1868424 h 5330772"/>
              <a:gd name="connsiteX68" fmla="*/ 2423424 w 5381200"/>
              <a:gd name="connsiteY68" fmla="*/ 1806747 h 5330772"/>
              <a:gd name="connsiteX69" fmla="*/ 2486294 w 5381200"/>
              <a:gd name="connsiteY69" fmla="*/ 1868424 h 5330772"/>
              <a:gd name="connsiteX70" fmla="*/ 2486294 w 5381200"/>
              <a:gd name="connsiteY70" fmla="*/ 2110292 h 5330772"/>
              <a:gd name="connsiteX71" fmla="*/ 2671677 w 5381200"/>
              <a:gd name="connsiteY71" fmla="*/ 2008453 h 5330772"/>
              <a:gd name="connsiteX72" fmla="*/ 2923875 w 5381200"/>
              <a:gd name="connsiteY72" fmla="*/ 2290482 h 5330772"/>
              <a:gd name="connsiteX73" fmla="*/ 2923875 w 5381200"/>
              <a:gd name="connsiteY73" fmla="*/ 2292455 h 5330772"/>
              <a:gd name="connsiteX74" fmla="*/ 2273109 w 5381200"/>
              <a:gd name="connsiteY74" fmla="*/ 2506532 h 5330772"/>
              <a:gd name="connsiteX75" fmla="*/ 2211315 w 5381200"/>
              <a:gd name="connsiteY75" fmla="*/ 2568299 h 5330772"/>
              <a:gd name="connsiteX76" fmla="*/ 2148534 w 5381200"/>
              <a:gd name="connsiteY76" fmla="*/ 2506532 h 5330772"/>
              <a:gd name="connsiteX77" fmla="*/ 2148534 w 5381200"/>
              <a:gd name="connsiteY77" fmla="*/ 2254355 h 5330772"/>
              <a:gd name="connsiteX78" fmla="*/ 2032210 w 5381200"/>
              <a:gd name="connsiteY78" fmla="*/ 2121587 h 5330772"/>
              <a:gd name="connsiteX79" fmla="*/ 1909699 w 5381200"/>
              <a:gd name="connsiteY79" fmla="*/ 2256327 h 5330772"/>
              <a:gd name="connsiteX80" fmla="*/ 1909699 w 5381200"/>
              <a:gd name="connsiteY80" fmla="*/ 2506442 h 5330772"/>
              <a:gd name="connsiteX81" fmla="*/ 1846828 w 5381200"/>
              <a:gd name="connsiteY81" fmla="*/ 2568209 h 5330772"/>
              <a:gd name="connsiteX82" fmla="*/ 1785034 w 5381200"/>
              <a:gd name="connsiteY82" fmla="*/ 2506442 h 5330772"/>
              <a:gd name="connsiteX83" fmla="*/ 1785034 w 5381200"/>
              <a:gd name="connsiteY83" fmla="*/ 2076226 h 5330772"/>
              <a:gd name="connsiteX84" fmla="*/ 1846828 w 5381200"/>
              <a:gd name="connsiteY84" fmla="*/ 2013383 h 5330772"/>
              <a:gd name="connsiteX85" fmla="*/ 1909699 w 5381200"/>
              <a:gd name="connsiteY85" fmla="*/ 2076226 h 5330772"/>
              <a:gd name="connsiteX86" fmla="*/ 1909699 w 5381200"/>
              <a:gd name="connsiteY86" fmla="*/ 2102941 h 5330772"/>
              <a:gd name="connsiteX87" fmla="*/ 2079565 w 5381200"/>
              <a:gd name="connsiteY87" fmla="*/ 2008274 h 5330772"/>
              <a:gd name="connsiteX88" fmla="*/ 2273199 w 5381200"/>
              <a:gd name="connsiteY88" fmla="*/ 2216165 h 5330772"/>
              <a:gd name="connsiteX89" fmla="*/ 2273199 w 5381200"/>
              <a:gd name="connsiteY89" fmla="*/ 2506532 h 5330772"/>
              <a:gd name="connsiteX90" fmla="*/ 3700652 w 5381200"/>
              <a:gd name="connsiteY90" fmla="*/ 2281966 h 5330772"/>
              <a:gd name="connsiteX91" fmla="*/ 2626116 w 5381200"/>
              <a:gd name="connsiteY91" fmla="*/ 1207994 h 5330772"/>
              <a:gd name="connsiteX92" fmla="*/ 1551669 w 5381200"/>
              <a:gd name="connsiteY92" fmla="*/ 2281966 h 5330772"/>
              <a:gd name="connsiteX93" fmla="*/ 2626116 w 5381200"/>
              <a:gd name="connsiteY93" fmla="*/ 3356027 h 5330772"/>
              <a:gd name="connsiteX94" fmla="*/ 3700652 w 5381200"/>
              <a:gd name="connsiteY94" fmla="*/ 2281966 h 5330772"/>
              <a:gd name="connsiteX95" fmla="*/ 4064869 w 5381200"/>
              <a:gd name="connsiteY95" fmla="*/ 2408010 h 5330772"/>
              <a:gd name="connsiteX96" fmla="*/ 4139399 w 5381200"/>
              <a:gd name="connsiteY96" fmla="*/ 2282414 h 5330772"/>
              <a:gd name="connsiteX97" fmla="*/ 4064869 w 5381200"/>
              <a:gd name="connsiteY97" fmla="*/ 2156460 h 5330772"/>
              <a:gd name="connsiteX98" fmla="*/ 4116439 w 5381200"/>
              <a:gd name="connsiteY98" fmla="*/ 2019659 h 5330772"/>
              <a:gd name="connsiteX99" fmla="*/ 4021102 w 5381200"/>
              <a:gd name="connsiteY99" fmla="*/ 1908586 h 5330772"/>
              <a:gd name="connsiteX100" fmla="*/ 4048188 w 5381200"/>
              <a:gd name="connsiteY100" fmla="*/ 1764971 h 5330772"/>
              <a:gd name="connsiteX101" fmla="*/ 3935003 w 5381200"/>
              <a:gd name="connsiteY101" fmla="*/ 1672097 h 5330772"/>
              <a:gd name="connsiteX102" fmla="*/ 3936618 w 5381200"/>
              <a:gd name="connsiteY102" fmla="*/ 1525883 h 5330772"/>
              <a:gd name="connsiteX103" fmla="*/ 3809173 w 5381200"/>
              <a:gd name="connsiteY103" fmla="*/ 1454165 h 5330772"/>
              <a:gd name="connsiteX104" fmla="*/ 3785406 w 5381200"/>
              <a:gd name="connsiteY104" fmla="*/ 1310013 h 5330772"/>
              <a:gd name="connsiteX105" fmla="*/ 3647288 w 5381200"/>
              <a:gd name="connsiteY105" fmla="*/ 1261424 h 5330772"/>
              <a:gd name="connsiteX106" fmla="*/ 3598947 w 5381200"/>
              <a:gd name="connsiteY106" fmla="*/ 1123547 h 5330772"/>
              <a:gd name="connsiteX107" fmla="*/ 3454462 w 5381200"/>
              <a:gd name="connsiteY107" fmla="*/ 1099701 h 5330772"/>
              <a:gd name="connsiteX108" fmla="*/ 3382713 w 5381200"/>
              <a:gd name="connsiteY108" fmla="*/ 972312 h 5330772"/>
              <a:gd name="connsiteX109" fmla="*/ 3236254 w 5381200"/>
              <a:gd name="connsiteY109" fmla="*/ 973746 h 5330772"/>
              <a:gd name="connsiteX110" fmla="*/ 3143608 w 5381200"/>
              <a:gd name="connsiteY110" fmla="*/ 860881 h 5330772"/>
              <a:gd name="connsiteX111" fmla="*/ 2999750 w 5381200"/>
              <a:gd name="connsiteY111" fmla="*/ 887775 h 5330772"/>
              <a:gd name="connsiteX112" fmla="*/ 2888898 w 5381200"/>
              <a:gd name="connsiteY112" fmla="*/ 792659 h 5330772"/>
              <a:gd name="connsiteX113" fmla="*/ 2751767 w 5381200"/>
              <a:gd name="connsiteY113" fmla="*/ 844206 h 5330772"/>
              <a:gd name="connsiteX114" fmla="*/ 2625936 w 5381200"/>
              <a:gd name="connsiteY114" fmla="*/ 769799 h 5330772"/>
              <a:gd name="connsiteX115" fmla="*/ 2500016 w 5381200"/>
              <a:gd name="connsiteY115" fmla="*/ 844386 h 5330772"/>
              <a:gd name="connsiteX116" fmla="*/ 2363154 w 5381200"/>
              <a:gd name="connsiteY116" fmla="*/ 792659 h 5330772"/>
              <a:gd name="connsiteX117" fmla="*/ 2252212 w 5381200"/>
              <a:gd name="connsiteY117" fmla="*/ 887954 h 5330772"/>
              <a:gd name="connsiteX118" fmla="*/ 2108355 w 5381200"/>
              <a:gd name="connsiteY118" fmla="*/ 860881 h 5330772"/>
              <a:gd name="connsiteX119" fmla="*/ 2015619 w 5381200"/>
              <a:gd name="connsiteY119" fmla="*/ 974015 h 5330772"/>
              <a:gd name="connsiteX120" fmla="*/ 1869340 w 5381200"/>
              <a:gd name="connsiteY120" fmla="*/ 972312 h 5330772"/>
              <a:gd name="connsiteX121" fmla="*/ 1797680 w 5381200"/>
              <a:gd name="connsiteY121" fmla="*/ 1099790 h 5330772"/>
              <a:gd name="connsiteX122" fmla="*/ 1653284 w 5381200"/>
              <a:gd name="connsiteY122" fmla="*/ 1123547 h 5330772"/>
              <a:gd name="connsiteX123" fmla="*/ 1604853 w 5381200"/>
              <a:gd name="connsiteY123" fmla="*/ 1261603 h 5330772"/>
              <a:gd name="connsiteX124" fmla="*/ 1466826 w 5381200"/>
              <a:gd name="connsiteY124" fmla="*/ 1309923 h 5330772"/>
              <a:gd name="connsiteX125" fmla="*/ 1443148 w 5381200"/>
              <a:gd name="connsiteY125" fmla="*/ 1454255 h 5330772"/>
              <a:gd name="connsiteX126" fmla="*/ 1315524 w 5381200"/>
              <a:gd name="connsiteY126" fmla="*/ 1525883 h 5330772"/>
              <a:gd name="connsiteX127" fmla="*/ 1317318 w 5381200"/>
              <a:gd name="connsiteY127" fmla="*/ 1672187 h 5330772"/>
              <a:gd name="connsiteX128" fmla="*/ 1204133 w 5381200"/>
              <a:gd name="connsiteY128" fmla="*/ 1764971 h 5330772"/>
              <a:gd name="connsiteX129" fmla="*/ 1231129 w 5381200"/>
              <a:gd name="connsiteY129" fmla="*/ 1908586 h 5330772"/>
              <a:gd name="connsiteX130" fmla="*/ 1135702 w 5381200"/>
              <a:gd name="connsiteY130" fmla="*/ 2019659 h 5330772"/>
              <a:gd name="connsiteX131" fmla="*/ 1187452 w 5381200"/>
              <a:gd name="connsiteY131" fmla="*/ 2156460 h 5330772"/>
              <a:gd name="connsiteX132" fmla="*/ 1112832 w 5381200"/>
              <a:gd name="connsiteY132" fmla="*/ 2282324 h 5330772"/>
              <a:gd name="connsiteX133" fmla="*/ 1187452 w 5381200"/>
              <a:gd name="connsiteY133" fmla="*/ 2408010 h 5330772"/>
              <a:gd name="connsiteX134" fmla="*/ 1135702 w 5381200"/>
              <a:gd name="connsiteY134" fmla="*/ 2544811 h 5330772"/>
              <a:gd name="connsiteX135" fmla="*/ 1231129 w 5381200"/>
              <a:gd name="connsiteY135" fmla="*/ 2655525 h 5330772"/>
              <a:gd name="connsiteX136" fmla="*/ 1204133 w 5381200"/>
              <a:gd name="connsiteY136" fmla="*/ 2799050 h 5330772"/>
              <a:gd name="connsiteX137" fmla="*/ 1317228 w 5381200"/>
              <a:gd name="connsiteY137" fmla="*/ 2891656 h 5330772"/>
              <a:gd name="connsiteX138" fmla="*/ 1315524 w 5381200"/>
              <a:gd name="connsiteY138" fmla="*/ 3037960 h 5330772"/>
              <a:gd name="connsiteX139" fmla="*/ 1443148 w 5381200"/>
              <a:gd name="connsiteY139" fmla="*/ 3109588 h 5330772"/>
              <a:gd name="connsiteX140" fmla="*/ 1466915 w 5381200"/>
              <a:gd name="connsiteY140" fmla="*/ 3253919 h 5330772"/>
              <a:gd name="connsiteX141" fmla="*/ 1604943 w 5381200"/>
              <a:gd name="connsiteY141" fmla="*/ 3302329 h 5330772"/>
              <a:gd name="connsiteX142" fmla="*/ 1653374 w 5381200"/>
              <a:gd name="connsiteY142" fmla="*/ 3440385 h 5330772"/>
              <a:gd name="connsiteX143" fmla="*/ 1797770 w 5381200"/>
              <a:gd name="connsiteY143" fmla="*/ 3464052 h 5330772"/>
              <a:gd name="connsiteX144" fmla="*/ 1869429 w 5381200"/>
              <a:gd name="connsiteY144" fmla="*/ 3591530 h 5330772"/>
              <a:gd name="connsiteX145" fmla="*/ 2015619 w 5381200"/>
              <a:gd name="connsiteY145" fmla="*/ 3590006 h 5330772"/>
              <a:gd name="connsiteX146" fmla="*/ 2108444 w 5381200"/>
              <a:gd name="connsiteY146" fmla="*/ 3703051 h 5330772"/>
              <a:gd name="connsiteX147" fmla="*/ 2252212 w 5381200"/>
              <a:gd name="connsiteY147" fmla="*/ 3675978 h 5330772"/>
              <a:gd name="connsiteX148" fmla="*/ 2363334 w 5381200"/>
              <a:gd name="connsiteY148" fmla="*/ 3771273 h 5330772"/>
              <a:gd name="connsiteX149" fmla="*/ 2500106 w 5381200"/>
              <a:gd name="connsiteY149" fmla="*/ 3719815 h 5330772"/>
              <a:gd name="connsiteX150" fmla="*/ 2626026 w 5381200"/>
              <a:gd name="connsiteY150" fmla="*/ 3794491 h 5330772"/>
              <a:gd name="connsiteX151" fmla="*/ 2751856 w 5381200"/>
              <a:gd name="connsiteY151" fmla="*/ 3719815 h 5330772"/>
              <a:gd name="connsiteX152" fmla="*/ 2888898 w 5381200"/>
              <a:gd name="connsiteY152" fmla="*/ 3771542 h 5330772"/>
              <a:gd name="connsiteX153" fmla="*/ 2999930 w 5381200"/>
              <a:gd name="connsiteY153" fmla="*/ 3676157 h 5330772"/>
              <a:gd name="connsiteX154" fmla="*/ 3143608 w 5381200"/>
              <a:gd name="connsiteY154" fmla="*/ 3703230 h 5330772"/>
              <a:gd name="connsiteX155" fmla="*/ 3236434 w 5381200"/>
              <a:gd name="connsiteY155" fmla="*/ 3590096 h 5330772"/>
              <a:gd name="connsiteX156" fmla="*/ 3382713 w 5381200"/>
              <a:gd name="connsiteY156" fmla="*/ 3591709 h 5330772"/>
              <a:gd name="connsiteX157" fmla="*/ 3454552 w 5381200"/>
              <a:gd name="connsiteY157" fmla="*/ 3464232 h 5330772"/>
              <a:gd name="connsiteX158" fmla="*/ 3598857 w 5381200"/>
              <a:gd name="connsiteY158" fmla="*/ 3440475 h 5330772"/>
              <a:gd name="connsiteX159" fmla="*/ 3647288 w 5381200"/>
              <a:gd name="connsiteY159" fmla="*/ 3302418 h 5330772"/>
              <a:gd name="connsiteX160" fmla="*/ 3785406 w 5381200"/>
              <a:gd name="connsiteY160" fmla="*/ 3254009 h 5330772"/>
              <a:gd name="connsiteX161" fmla="*/ 3809173 w 5381200"/>
              <a:gd name="connsiteY161" fmla="*/ 3109677 h 5330772"/>
              <a:gd name="connsiteX162" fmla="*/ 3936618 w 5381200"/>
              <a:gd name="connsiteY162" fmla="*/ 3038049 h 5330772"/>
              <a:gd name="connsiteX163" fmla="*/ 3935092 w 5381200"/>
              <a:gd name="connsiteY163" fmla="*/ 2891745 h 5330772"/>
              <a:gd name="connsiteX164" fmla="*/ 4048188 w 5381200"/>
              <a:gd name="connsiteY164" fmla="*/ 2799140 h 5330772"/>
              <a:gd name="connsiteX165" fmla="*/ 4021102 w 5381200"/>
              <a:gd name="connsiteY165" fmla="*/ 2655525 h 5330772"/>
              <a:gd name="connsiteX166" fmla="*/ 4116439 w 5381200"/>
              <a:gd name="connsiteY166" fmla="*/ 2544811 h 5330772"/>
              <a:gd name="connsiteX167" fmla="*/ 4064869 w 5381200"/>
              <a:gd name="connsiteY167" fmla="*/ 2408010 h 5330772"/>
              <a:gd name="connsiteX168" fmla="*/ 3814913 w 5381200"/>
              <a:gd name="connsiteY168" fmla="*/ 2491740 h 5330772"/>
              <a:gd name="connsiteX169" fmla="*/ 3847021 w 5381200"/>
              <a:gd name="connsiteY169" fmla="*/ 2609178 h 5330772"/>
              <a:gd name="connsiteX170" fmla="*/ 3760563 w 5381200"/>
              <a:gd name="connsiteY170" fmla="*/ 2694612 h 5330772"/>
              <a:gd name="connsiteX171" fmla="*/ 3771773 w 5381200"/>
              <a:gd name="connsiteY171" fmla="*/ 2815814 h 5330772"/>
              <a:gd name="connsiteX172" fmla="*/ 3671593 w 5381200"/>
              <a:gd name="connsiteY172" fmla="*/ 2885112 h 5330772"/>
              <a:gd name="connsiteX173" fmla="*/ 3661548 w 5381200"/>
              <a:gd name="connsiteY173" fmla="*/ 3006493 h 5330772"/>
              <a:gd name="connsiteX174" fmla="*/ 3550875 w 5381200"/>
              <a:gd name="connsiteY174" fmla="*/ 3057413 h 5330772"/>
              <a:gd name="connsiteX175" fmla="*/ 3519933 w 5381200"/>
              <a:gd name="connsiteY175" fmla="*/ 3175120 h 5330772"/>
              <a:gd name="connsiteX176" fmla="*/ 3402085 w 5381200"/>
              <a:gd name="connsiteY176" fmla="*/ 3206138 h 5330772"/>
              <a:gd name="connsiteX177" fmla="*/ 3351143 w 5381200"/>
              <a:gd name="connsiteY177" fmla="*/ 3316762 h 5330772"/>
              <a:gd name="connsiteX178" fmla="*/ 3229617 w 5381200"/>
              <a:gd name="connsiteY178" fmla="*/ 3326892 h 5330772"/>
              <a:gd name="connsiteX179" fmla="*/ 3160200 w 5381200"/>
              <a:gd name="connsiteY179" fmla="*/ 3426849 h 5330772"/>
              <a:gd name="connsiteX180" fmla="*/ 3038764 w 5381200"/>
              <a:gd name="connsiteY180" fmla="*/ 3415822 h 5330772"/>
              <a:gd name="connsiteX181" fmla="*/ 2953024 w 5381200"/>
              <a:gd name="connsiteY181" fmla="*/ 3502242 h 5330772"/>
              <a:gd name="connsiteX182" fmla="*/ 2835444 w 5381200"/>
              <a:gd name="connsiteY182" fmla="*/ 3470238 h 5330772"/>
              <a:gd name="connsiteX183" fmla="*/ 2735982 w 5381200"/>
              <a:gd name="connsiteY183" fmla="*/ 3540521 h 5330772"/>
              <a:gd name="connsiteX184" fmla="*/ 2625757 w 5381200"/>
              <a:gd name="connsiteY184" fmla="*/ 3488526 h 5330772"/>
              <a:gd name="connsiteX185" fmla="*/ 2515711 w 5381200"/>
              <a:gd name="connsiteY185" fmla="*/ 3540342 h 5330772"/>
              <a:gd name="connsiteX186" fmla="*/ 2416159 w 5381200"/>
              <a:gd name="connsiteY186" fmla="*/ 3470148 h 5330772"/>
              <a:gd name="connsiteX187" fmla="*/ 2298580 w 5381200"/>
              <a:gd name="connsiteY187" fmla="*/ 3502062 h 5330772"/>
              <a:gd name="connsiteX188" fmla="*/ 2212839 w 5381200"/>
              <a:gd name="connsiteY188" fmla="*/ 3415732 h 5330772"/>
              <a:gd name="connsiteX189" fmla="*/ 2091583 w 5381200"/>
              <a:gd name="connsiteY189" fmla="*/ 3426669 h 5330772"/>
              <a:gd name="connsiteX190" fmla="*/ 2022076 w 5381200"/>
              <a:gd name="connsiteY190" fmla="*/ 3326802 h 5330772"/>
              <a:gd name="connsiteX191" fmla="*/ 1900819 w 5381200"/>
              <a:gd name="connsiteY191" fmla="*/ 3316583 h 5330772"/>
              <a:gd name="connsiteX192" fmla="*/ 1849788 w 5381200"/>
              <a:gd name="connsiteY192" fmla="*/ 3206048 h 5330772"/>
              <a:gd name="connsiteX193" fmla="*/ 1731940 w 5381200"/>
              <a:gd name="connsiteY193" fmla="*/ 3175030 h 5330772"/>
              <a:gd name="connsiteX194" fmla="*/ 1700908 w 5381200"/>
              <a:gd name="connsiteY194" fmla="*/ 3057323 h 5330772"/>
              <a:gd name="connsiteX195" fmla="*/ 1590414 w 5381200"/>
              <a:gd name="connsiteY195" fmla="*/ 3006404 h 5330772"/>
              <a:gd name="connsiteX196" fmla="*/ 1580279 w 5381200"/>
              <a:gd name="connsiteY196" fmla="*/ 2885022 h 5330772"/>
              <a:gd name="connsiteX197" fmla="*/ 1480279 w 5381200"/>
              <a:gd name="connsiteY197" fmla="*/ 2815635 h 5330772"/>
              <a:gd name="connsiteX198" fmla="*/ 1491220 w 5381200"/>
              <a:gd name="connsiteY198" fmla="*/ 2694612 h 5330772"/>
              <a:gd name="connsiteX199" fmla="*/ 1404852 w 5381200"/>
              <a:gd name="connsiteY199" fmla="*/ 2609088 h 5330772"/>
              <a:gd name="connsiteX200" fmla="*/ 1436781 w 5381200"/>
              <a:gd name="connsiteY200" fmla="*/ 2491740 h 5330772"/>
              <a:gd name="connsiteX201" fmla="*/ 1366646 w 5381200"/>
              <a:gd name="connsiteY201" fmla="*/ 2392322 h 5330772"/>
              <a:gd name="connsiteX202" fmla="*/ 1418484 w 5381200"/>
              <a:gd name="connsiteY202" fmla="*/ 2282235 h 5330772"/>
              <a:gd name="connsiteX203" fmla="*/ 1366646 w 5381200"/>
              <a:gd name="connsiteY203" fmla="*/ 2172059 h 5330772"/>
              <a:gd name="connsiteX204" fmla="*/ 1436960 w 5381200"/>
              <a:gd name="connsiteY204" fmla="*/ 2072640 h 5330772"/>
              <a:gd name="connsiteX205" fmla="*/ 1404942 w 5381200"/>
              <a:gd name="connsiteY205" fmla="*/ 1955202 h 5330772"/>
              <a:gd name="connsiteX206" fmla="*/ 1491579 w 5381200"/>
              <a:gd name="connsiteY206" fmla="*/ 1869500 h 5330772"/>
              <a:gd name="connsiteX207" fmla="*/ 1480368 w 5381200"/>
              <a:gd name="connsiteY207" fmla="*/ 1748207 h 5330772"/>
              <a:gd name="connsiteX208" fmla="*/ 1580369 w 5381200"/>
              <a:gd name="connsiteY208" fmla="*/ 1678821 h 5330772"/>
              <a:gd name="connsiteX209" fmla="*/ 1590503 w 5381200"/>
              <a:gd name="connsiteY209" fmla="*/ 1557528 h 5330772"/>
              <a:gd name="connsiteX210" fmla="*/ 1701087 w 5381200"/>
              <a:gd name="connsiteY210" fmla="*/ 1506519 h 5330772"/>
              <a:gd name="connsiteX211" fmla="*/ 1732029 w 5381200"/>
              <a:gd name="connsiteY211" fmla="*/ 1388812 h 5330772"/>
              <a:gd name="connsiteX212" fmla="*/ 1849877 w 5381200"/>
              <a:gd name="connsiteY212" fmla="*/ 1357794 h 5330772"/>
              <a:gd name="connsiteX213" fmla="*/ 1900819 w 5381200"/>
              <a:gd name="connsiteY213" fmla="*/ 1247260 h 5330772"/>
              <a:gd name="connsiteX214" fmla="*/ 2022165 w 5381200"/>
              <a:gd name="connsiteY214" fmla="*/ 1237130 h 5330772"/>
              <a:gd name="connsiteX215" fmla="*/ 2091673 w 5381200"/>
              <a:gd name="connsiteY215" fmla="*/ 1137173 h 5330772"/>
              <a:gd name="connsiteX216" fmla="*/ 2212929 w 5381200"/>
              <a:gd name="connsiteY216" fmla="*/ 1148289 h 5330772"/>
              <a:gd name="connsiteX217" fmla="*/ 2298490 w 5381200"/>
              <a:gd name="connsiteY217" fmla="*/ 1061959 h 5330772"/>
              <a:gd name="connsiteX218" fmla="*/ 2416070 w 5381200"/>
              <a:gd name="connsiteY218" fmla="*/ 1093873 h 5330772"/>
              <a:gd name="connsiteX219" fmla="*/ 2515532 w 5381200"/>
              <a:gd name="connsiteY219" fmla="*/ 1023590 h 5330772"/>
              <a:gd name="connsiteX220" fmla="*/ 2625667 w 5381200"/>
              <a:gd name="connsiteY220" fmla="*/ 1075496 h 5330772"/>
              <a:gd name="connsiteX221" fmla="*/ 2735892 w 5381200"/>
              <a:gd name="connsiteY221" fmla="*/ 1023590 h 5330772"/>
              <a:gd name="connsiteX222" fmla="*/ 2835355 w 5381200"/>
              <a:gd name="connsiteY222" fmla="*/ 1093784 h 5330772"/>
              <a:gd name="connsiteX223" fmla="*/ 2952934 w 5381200"/>
              <a:gd name="connsiteY223" fmla="*/ 1061690 h 5330772"/>
              <a:gd name="connsiteX224" fmla="*/ 3038674 w 5381200"/>
              <a:gd name="connsiteY224" fmla="*/ 1148200 h 5330772"/>
              <a:gd name="connsiteX225" fmla="*/ 3160110 w 5381200"/>
              <a:gd name="connsiteY225" fmla="*/ 1136994 h 5330772"/>
              <a:gd name="connsiteX226" fmla="*/ 3229528 w 5381200"/>
              <a:gd name="connsiteY226" fmla="*/ 1237040 h 5330772"/>
              <a:gd name="connsiteX227" fmla="*/ 3351053 w 5381200"/>
              <a:gd name="connsiteY227" fmla="*/ 1247170 h 5330772"/>
              <a:gd name="connsiteX228" fmla="*/ 3401995 w 5381200"/>
              <a:gd name="connsiteY228" fmla="*/ 1357794 h 5330772"/>
              <a:gd name="connsiteX229" fmla="*/ 3519844 w 5381200"/>
              <a:gd name="connsiteY229" fmla="*/ 1388812 h 5330772"/>
              <a:gd name="connsiteX230" fmla="*/ 3550785 w 5381200"/>
              <a:gd name="connsiteY230" fmla="*/ 1506519 h 5330772"/>
              <a:gd name="connsiteX231" fmla="*/ 3661548 w 5381200"/>
              <a:gd name="connsiteY231" fmla="*/ 1557438 h 5330772"/>
              <a:gd name="connsiteX232" fmla="*/ 3671503 w 5381200"/>
              <a:gd name="connsiteY232" fmla="*/ 1678821 h 5330772"/>
              <a:gd name="connsiteX233" fmla="*/ 3771684 w 5381200"/>
              <a:gd name="connsiteY233" fmla="*/ 1748207 h 5330772"/>
              <a:gd name="connsiteX234" fmla="*/ 3760473 w 5381200"/>
              <a:gd name="connsiteY234" fmla="*/ 1869410 h 5330772"/>
              <a:gd name="connsiteX235" fmla="*/ 3846931 w 5381200"/>
              <a:gd name="connsiteY235" fmla="*/ 1955202 h 5330772"/>
              <a:gd name="connsiteX236" fmla="*/ 3814823 w 5381200"/>
              <a:gd name="connsiteY236" fmla="*/ 2072550 h 5330772"/>
              <a:gd name="connsiteX237" fmla="*/ 3885227 w 5381200"/>
              <a:gd name="connsiteY237" fmla="*/ 2171969 h 5330772"/>
              <a:gd name="connsiteX238" fmla="*/ 3833209 w 5381200"/>
              <a:gd name="connsiteY238" fmla="*/ 2282056 h 5330772"/>
              <a:gd name="connsiteX239" fmla="*/ 3885227 w 5381200"/>
              <a:gd name="connsiteY239" fmla="*/ 2392232 h 5330772"/>
              <a:gd name="connsiteX240" fmla="*/ 3814913 w 5381200"/>
              <a:gd name="connsiteY240" fmla="*/ 2491740 h 5330772"/>
              <a:gd name="connsiteX241" fmla="*/ 1648441 w 5381200"/>
              <a:gd name="connsiteY241" fmla="*/ 3620755 h 5330772"/>
              <a:gd name="connsiteX242" fmla="*/ 1501624 w 5381200"/>
              <a:gd name="connsiteY242" fmla="*/ 3767597 h 5330772"/>
              <a:gd name="connsiteX243" fmla="*/ 1354717 w 5381200"/>
              <a:gd name="connsiteY243" fmla="*/ 3620755 h 5330772"/>
              <a:gd name="connsiteX244" fmla="*/ 1501624 w 5381200"/>
              <a:gd name="connsiteY244" fmla="*/ 3473913 h 5330772"/>
              <a:gd name="connsiteX245" fmla="*/ 1648441 w 5381200"/>
              <a:gd name="connsiteY245" fmla="*/ 3620755 h 5330772"/>
              <a:gd name="connsiteX246" fmla="*/ 1433373 w 5381200"/>
              <a:gd name="connsiteY246" fmla="*/ 3405871 h 5330772"/>
              <a:gd name="connsiteX247" fmla="*/ 1286555 w 5381200"/>
              <a:gd name="connsiteY247" fmla="*/ 3552713 h 5330772"/>
              <a:gd name="connsiteX248" fmla="*/ 1139738 w 5381200"/>
              <a:gd name="connsiteY248" fmla="*/ 3405871 h 5330772"/>
              <a:gd name="connsiteX249" fmla="*/ 1286555 w 5381200"/>
              <a:gd name="connsiteY249" fmla="*/ 3259119 h 5330772"/>
              <a:gd name="connsiteX250" fmla="*/ 1433373 w 5381200"/>
              <a:gd name="connsiteY250" fmla="*/ 3405871 h 5330772"/>
              <a:gd name="connsiteX251" fmla="*/ 1258304 w 5381200"/>
              <a:gd name="connsiteY251" fmla="*/ 3155666 h 5330772"/>
              <a:gd name="connsiteX252" fmla="*/ 1111487 w 5381200"/>
              <a:gd name="connsiteY252" fmla="*/ 3302418 h 5330772"/>
              <a:gd name="connsiteX253" fmla="*/ 964670 w 5381200"/>
              <a:gd name="connsiteY253" fmla="*/ 3155666 h 5330772"/>
              <a:gd name="connsiteX254" fmla="*/ 1111487 w 5381200"/>
              <a:gd name="connsiteY254" fmla="*/ 3008824 h 5330772"/>
              <a:gd name="connsiteX255" fmla="*/ 1258304 w 5381200"/>
              <a:gd name="connsiteY255" fmla="*/ 3155666 h 5330772"/>
              <a:gd name="connsiteX256" fmla="*/ 1129514 w 5381200"/>
              <a:gd name="connsiteY256" fmla="*/ 2879553 h 5330772"/>
              <a:gd name="connsiteX257" fmla="*/ 982697 w 5381200"/>
              <a:gd name="connsiteY257" fmla="*/ 3026395 h 5330772"/>
              <a:gd name="connsiteX258" fmla="*/ 835880 w 5381200"/>
              <a:gd name="connsiteY258" fmla="*/ 2879553 h 5330772"/>
              <a:gd name="connsiteX259" fmla="*/ 982697 w 5381200"/>
              <a:gd name="connsiteY259" fmla="*/ 2732891 h 5330772"/>
              <a:gd name="connsiteX260" fmla="*/ 1129514 w 5381200"/>
              <a:gd name="connsiteY260" fmla="*/ 2879553 h 5330772"/>
              <a:gd name="connsiteX261" fmla="*/ 1050590 w 5381200"/>
              <a:gd name="connsiteY261" fmla="*/ 2585511 h 5330772"/>
              <a:gd name="connsiteX262" fmla="*/ 903862 w 5381200"/>
              <a:gd name="connsiteY262" fmla="*/ 2732353 h 5330772"/>
              <a:gd name="connsiteX263" fmla="*/ 756956 w 5381200"/>
              <a:gd name="connsiteY263" fmla="*/ 2585511 h 5330772"/>
              <a:gd name="connsiteX264" fmla="*/ 903862 w 5381200"/>
              <a:gd name="connsiteY264" fmla="*/ 2438759 h 5330772"/>
              <a:gd name="connsiteX265" fmla="*/ 1050590 w 5381200"/>
              <a:gd name="connsiteY265" fmla="*/ 2585511 h 5330772"/>
              <a:gd name="connsiteX266" fmla="*/ 1024042 w 5381200"/>
              <a:gd name="connsiteY266" fmla="*/ 2282145 h 5330772"/>
              <a:gd name="connsiteX267" fmla="*/ 877315 w 5381200"/>
              <a:gd name="connsiteY267" fmla="*/ 2428987 h 5330772"/>
              <a:gd name="connsiteX268" fmla="*/ 730408 w 5381200"/>
              <a:gd name="connsiteY268" fmla="*/ 2282145 h 5330772"/>
              <a:gd name="connsiteX269" fmla="*/ 877315 w 5381200"/>
              <a:gd name="connsiteY269" fmla="*/ 2135393 h 5330772"/>
              <a:gd name="connsiteX270" fmla="*/ 1024042 w 5381200"/>
              <a:gd name="connsiteY270" fmla="*/ 2282145 h 5330772"/>
              <a:gd name="connsiteX271" fmla="*/ 1050590 w 5381200"/>
              <a:gd name="connsiteY271" fmla="*/ 1978511 h 5330772"/>
              <a:gd name="connsiteX272" fmla="*/ 903862 w 5381200"/>
              <a:gd name="connsiteY272" fmla="*/ 2125353 h 5330772"/>
              <a:gd name="connsiteX273" fmla="*/ 756956 w 5381200"/>
              <a:gd name="connsiteY273" fmla="*/ 1978511 h 5330772"/>
              <a:gd name="connsiteX274" fmla="*/ 903862 w 5381200"/>
              <a:gd name="connsiteY274" fmla="*/ 1831759 h 5330772"/>
              <a:gd name="connsiteX275" fmla="*/ 1050590 w 5381200"/>
              <a:gd name="connsiteY275" fmla="*/ 1978511 h 5330772"/>
              <a:gd name="connsiteX276" fmla="*/ 1129514 w 5381200"/>
              <a:gd name="connsiteY276" fmla="*/ 1684199 h 5330772"/>
              <a:gd name="connsiteX277" fmla="*/ 982697 w 5381200"/>
              <a:gd name="connsiteY277" fmla="*/ 1831041 h 5330772"/>
              <a:gd name="connsiteX278" fmla="*/ 835880 w 5381200"/>
              <a:gd name="connsiteY278" fmla="*/ 1684199 h 5330772"/>
              <a:gd name="connsiteX279" fmla="*/ 982697 w 5381200"/>
              <a:gd name="connsiteY279" fmla="*/ 1537447 h 5330772"/>
              <a:gd name="connsiteX280" fmla="*/ 1129514 w 5381200"/>
              <a:gd name="connsiteY280" fmla="*/ 1684199 h 5330772"/>
              <a:gd name="connsiteX281" fmla="*/ 1258304 w 5381200"/>
              <a:gd name="connsiteY281" fmla="*/ 1408086 h 5330772"/>
              <a:gd name="connsiteX282" fmla="*/ 1111487 w 5381200"/>
              <a:gd name="connsiteY282" fmla="*/ 1554928 h 5330772"/>
              <a:gd name="connsiteX283" fmla="*/ 964670 w 5381200"/>
              <a:gd name="connsiteY283" fmla="*/ 1408086 h 5330772"/>
              <a:gd name="connsiteX284" fmla="*/ 1111487 w 5381200"/>
              <a:gd name="connsiteY284" fmla="*/ 1261334 h 5330772"/>
              <a:gd name="connsiteX285" fmla="*/ 1258304 w 5381200"/>
              <a:gd name="connsiteY285" fmla="*/ 1408086 h 5330772"/>
              <a:gd name="connsiteX286" fmla="*/ 1433373 w 5381200"/>
              <a:gd name="connsiteY286" fmla="*/ 1158509 h 5330772"/>
              <a:gd name="connsiteX287" fmla="*/ 1286555 w 5381200"/>
              <a:gd name="connsiteY287" fmla="*/ 1305261 h 5330772"/>
              <a:gd name="connsiteX288" fmla="*/ 1139738 w 5381200"/>
              <a:gd name="connsiteY288" fmla="*/ 1158509 h 5330772"/>
              <a:gd name="connsiteX289" fmla="*/ 1286555 w 5381200"/>
              <a:gd name="connsiteY289" fmla="*/ 1011757 h 5330772"/>
              <a:gd name="connsiteX290" fmla="*/ 1433373 w 5381200"/>
              <a:gd name="connsiteY290" fmla="*/ 1158509 h 5330772"/>
              <a:gd name="connsiteX291" fmla="*/ 2772933 w 5381200"/>
              <a:gd name="connsiteY291" fmla="*/ 534117 h 5330772"/>
              <a:gd name="connsiteX292" fmla="*/ 2626116 w 5381200"/>
              <a:gd name="connsiteY292" fmla="*/ 680869 h 5330772"/>
              <a:gd name="connsiteX293" fmla="*/ 2479299 w 5381200"/>
              <a:gd name="connsiteY293" fmla="*/ 534117 h 5330772"/>
              <a:gd name="connsiteX294" fmla="*/ 2626116 w 5381200"/>
              <a:gd name="connsiteY294" fmla="*/ 387275 h 5330772"/>
              <a:gd name="connsiteX295" fmla="*/ 2772933 w 5381200"/>
              <a:gd name="connsiteY295" fmla="*/ 534117 h 5330772"/>
              <a:gd name="connsiteX296" fmla="*/ 3076612 w 5381200"/>
              <a:gd name="connsiteY296" fmla="*/ 560384 h 5330772"/>
              <a:gd name="connsiteX297" fmla="*/ 2929705 w 5381200"/>
              <a:gd name="connsiteY297" fmla="*/ 707136 h 5330772"/>
              <a:gd name="connsiteX298" fmla="*/ 2782798 w 5381200"/>
              <a:gd name="connsiteY298" fmla="*/ 560384 h 5330772"/>
              <a:gd name="connsiteX299" fmla="*/ 2929705 w 5381200"/>
              <a:gd name="connsiteY299" fmla="*/ 413542 h 5330772"/>
              <a:gd name="connsiteX300" fmla="*/ 3076612 w 5381200"/>
              <a:gd name="connsiteY300" fmla="*/ 560384 h 5330772"/>
              <a:gd name="connsiteX301" fmla="*/ 3897514 w 5381200"/>
              <a:gd name="connsiteY301" fmla="*/ 942908 h 5330772"/>
              <a:gd name="connsiteX302" fmla="*/ 3750607 w 5381200"/>
              <a:gd name="connsiteY302" fmla="*/ 1089750 h 5330772"/>
              <a:gd name="connsiteX303" fmla="*/ 3603790 w 5381200"/>
              <a:gd name="connsiteY303" fmla="*/ 942908 h 5330772"/>
              <a:gd name="connsiteX304" fmla="*/ 3750607 w 5381200"/>
              <a:gd name="connsiteY304" fmla="*/ 796066 h 5330772"/>
              <a:gd name="connsiteX305" fmla="*/ 3897514 w 5381200"/>
              <a:gd name="connsiteY305" fmla="*/ 942908 h 5330772"/>
              <a:gd name="connsiteX306" fmla="*/ 4112672 w 5381200"/>
              <a:gd name="connsiteY306" fmla="*/ 1158509 h 5330772"/>
              <a:gd name="connsiteX307" fmla="*/ 3965855 w 5381200"/>
              <a:gd name="connsiteY307" fmla="*/ 1305261 h 5330772"/>
              <a:gd name="connsiteX308" fmla="*/ 3819128 w 5381200"/>
              <a:gd name="connsiteY308" fmla="*/ 1158509 h 5330772"/>
              <a:gd name="connsiteX309" fmla="*/ 3965855 w 5381200"/>
              <a:gd name="connsiteY309" fmla="*/ 1011757 h 5330772"/>
              <a:gd name="connsiteX310" fmla="*/ 4112672 w 5381200"/>
              <a:gd name="connsiteY310" fmla="*/ 1158509 h 5330772"/>
              <a:gd name="connsiteX311" fmla="*/ 4286216 w 5381200"/>
              <a:gd name="connsiteY311" fmla="*/ 1408086 h 5330772"/>
              <a:gd name="connsiteX312" fmla="*/ 4139399 w 5381200"/>
              <a:gd name="connsiteY312" fmla="*/ 1554928 h 5330772"/>
              <a:gd name="connsiteX313" fmla="*/ 3992492 w 5381200"/>
              <a:gd name="connsiteY313" fmla="*/ 1408086 h 5330772"/>
              <a:gd name="connsiteX314" fmla="*/ 4139399 w 5381200"/>
              <a:gd name="connsiteY314" fmla="*/ 1261334 h 5330772"/>
              <a:gd name="connsiteX315" fmla="*/ 4286216 w 5381200"/>
              <a:gd name="connsiteY315" fmla="*/ 1408086 h 5330772"/>
              <a:gd name="connsiteX316" fmla="*/ 4416441 w 5381200"/>
              <a:gd name="connsiteY316" fmla="*/ 1684199 h 5330772"/>
              <a:gd name="connsiteX317" fmla="*/ 4269624 w 5381200"/>
              <a:gd name="connsiteY317" fmla="*/ 1831041 h 5330772"/>
              <a:gd name="connsiteX318" fmla="*/ 4122896 w 5381200"/>
              <a:gd name="connsiteY318" fmla="*/ 1684199 h 5330772"/>
              <a:gd name="connsiteX319" fmla="*/ 4269624 w 5381200"/>
              <a:gd name="connsiteY319" fmla="*/ 1537447 h 5330772"/>
              <a:gd name="connsiteX320" fmla="*/ 4416441 w 5381200"/>
              <a:gd name="connsiteY320" fmla="*/ 1684199 h 5330772"/>
              <a:gd name="connsiteX321" fmla="*/ 4495276 w 5381200"/>
              <a:gd name="connsiteY321" fmla="*/ 1978511 h 5330772"/>
              <a:gd name="connsiteX322" fmla="*/ 4348459 w 5381200"/>
              <a:gd name="connsiteY322" fmla="*/ 2125353 h 5330772"/>
              <a:gd name="connsiteX323" fmla="*/ 4201642 w 5381200"/>
              <a:gd name="connsiteY323" fmla="*/ 1978511 h 5330772"/>
              <a:gd name="connsiteX324" fmla="*/ 4348459 w 5381200"/>
              <a:gd name="connsiteY324" fmla="*/ 1831759 h 5330772"/>
              <a:gd name="connsiteX325" fmla="*/ 4495276 w 5381200"/>
              <a:gd name="connsiteY325" fmla="*/ 1978511 h 5330772"/>
              <a:gd name="connsiteX326" fmla="*/ 4521913 w 5381200"/>
              <a:gd name="connsiteY326" fmla="*/ 2282145 h 5330772"/>
              <a:gd name="connsiteX327" fmla="*/ 4375006 w 5381200"/>
              <a:gd name="connsiteY327" fmla="*/ 2428987 h 5330772"/>
              <a:gd name="connsiteX328" fmla="*/ 4228099 w 5381200"/>
              <a:gd name="connsiteY328" fmla="*/ 2282145 h 5330772"/>
              <a:gd name="connsiteX329" fmla="*/ 4375006 w 5381200"/>
              <a:gd name="connsiteY329" fmla="*/ 2135393 h 5330772"/>
              <a:gd name="connsiteX330" fmla="*/ 4521913 w 5381200"/>
              <a:gd name="connsiteY330" fmla="*/ 2282145 h 5330772"/>
              <a:gd name="connsiteX331" fmla="*/ 4495276 w 5381200"/>
              <a:gd name="connsiteY331" fmla="*/ 2585511 h 5330772"/>
              <a:gd name="connsiteX332" fmla="*/ 4348459 w 5381200"/>
              <a:gd name="connsiteY332" fmla="*/ 2732353 h 5330772"/>
              <a:gd name="connsiteX333" fmla="*/ 4201642 w 5381200"/>
              <a:gd name="connsiteY333" fmla="*/ 2585511 h 5330772"/>
              <a:gd name="connsiteX334" fmla="*/ 4348459 w 5381200"/>
              <a:gd name="connsiteY334" fmla="*/ 2438759 h 5330772"/>
              <a:gd name="connsiteX335" fmla="*/ 4495276 w 5381200"/>
              <a:gd name="connsiteY335" fmla="*/ 2585511 h 5330772"/>
              <a:gd name="connsiteX336" fmla="*/ 4416352 w 5381200"/>
              <a:gd name="connsiteY336" fmla="*/ 2879553 h 5330772"/>
              <a:gd name="connsiteX337" fmla="*/ 4269624 w 5381200"/>
              <a:gd name="connsiteY337" fmla="*/ 3026395 h 5330772"/>
              <a:gd name="connsiteX338" fmla="*/ 4122628 w 5381200"/>
              <a:gd name="connsiteY338" fmla="*/ 2879553 h 5330772"/>
              <a:gd name="connsiteX339" fmla="*/ 4269624 w 5381200"/>
              <a:gd name="connsiteY339" fmla="*/ 2732891 h 5330772"/>
              <a:gd name="connsiteX340" fmla="*/ 4416352 w 5381200"/>
              <a:gd name="connsiteY340" fmla="*/ 2879553 h 5330772"/>
              <a:gd name="connsiteX341" fmla="*/ 4287562 w 5381200"/>
              <a:gd name="connsiteY341" fmla="*/ 3155666 h 5330772"/>
              <a:gd name="connsiteX342" fmla="*/ 4140744 w 5381200"/>
              <a:gd name="connsiteY342" fmla="*/ 3302418 h 5330772"/>
              <a:gd name="connsiteX343" fmla="*/ 3993927 w 5381200"/>
              <a:gd name="connsiteY343" fmla="*/ 3155666 h 5330772"/>
              <a:gd name="connsiteX344" fmla="*/ 4140744 w 5381200"/>
              <a:gd name="connsiteY344" fmla="*/ 3008824 h 5330772"/>
              <a:gd name="connsiteX345" fmla="*/ 4287562 w 5381200"/>
              <a:gd name="connsiteY345" fmla="*/ 3155666 h 5330772"/>
              <a:gd name="connsiteX346" fmla="*/ 4112672 w 5381200"/>
              <a:gd name="connsiteY346" fmla="*/ 3405244 h 5330772"/>
              <a:gd name="connsiteX347" fmla="*/ 3965855 w 5381200"/>
              <a:gd name="connsiteY347" fmla="*/ 3551996 h 5330772"/>
              <a:gd name="connsiteX348" fmla="*/ 3819038 w 5381200"/>
              <a:gd name="connsiteY348" fmla="*/ 3405244 h 5330772"/>
              <a:gd name="connsiteX349" fmla="*/ 3965855 w 5381200"/>
              <a:gd name="connsiteY349" fmla="*/ 3258491 h 5330772"/>
              <a:gd name="connsiteX350" fmla="*/ 4112672 w 5381200"/>
              <a:gd name="connsiteY350" fmla="*/ 3405244 h 5330772"/>
              <a:gd name="connsiteX351" fmla="*/ 3897155 w 5381200"/>
              <a:gd name="connsiteY351" fmla="*/ 3620845 h 5330772"/>
              <a:gd name="connsiteX352" fmla="*/ 3750338 w 5381200"/>
              <a:gd name="connsiteY352" fmla="*/ 3767687 h 5330772"/>
              <a:gd name="connsiteX353" fmla="*/ 3603521 w 5381200"/>
              <a:gd name="connsiteY353" fmla="*/ 3620845 h 5330772"/>
              <a:gd name="connsiteX354" fmla="*/ 3750338 w 5381200"/>
              <a:gd name="connsiteY354" fmla="*/ 3474003 h 5330772"/>
              <a:gd name="connsiteX355" fmla="*/ 3897155 w 5381200"/>
              <a:gd name="connsiteY355" fmla="*/ 3620845 h 5330772"/>
              <a:gd name="connsiteX356" fmla="*/ 3647378 w 5381200"/>
              <a:gd name="connsiteY356" fmla="*/ 3795656 h 5330772"/>
              <a:gd name="connsiteX357" fmla="*/ 3500650 w 5381200"/>
              <a:gd name="connsiteY357" fmla="*/ 3942409 h 5330772"/>
              <a:gd name="connsiteX358" fmla="*/ 3353744 w 5381200"/>
              <a:gd name="connsiteY358" fmla="*/ 3795656 h 5330772"/>
              <a:gd name="connsiteX359" fmla="*/ 3500650 w 5381200"/>
              <a:gd name="connsiteY359" fmla="*/ 3648904 h 5330772"/>
              <a:gd name="connsiteX360" fmla="*/ 3647378 w 5381200"/>
              <a:gd name="connsiteY360" fmla="*/ 3795656 h 5330772"/>
              <a:gd name="connsiteX361" fmla="*/ 3371143 w 5381200"/>
              <a:gd name="connsiteY361" fmla="*/ 3924390 h 5330772"/>
              <a:gd name="connsiteX362" fmla="*/ 3224236 w 5381200"/>
              <a:gd name="connsiteY362" fmla="*/ 4071231 h 5330772"/>
              <a:gd name="connsiteX363" fmla="*/ 3077419 w 5381200"/>
              <a:gd name="connsiteY363" fmla="*/ 3924390 h 5330772"/>
              <a:gd name="connsiteX364" fmla="*/ 3224236 w 5381200"/>
              <a:gd name="connsiteY364" fmla="*/ 3777638 h 5330772"/>
              <a:gd name="connsiteX365" fmla="*/ 3371143 w 5381200"/>
              <a:gd name="connsiteY365" fmla="*/ 3924390 h 5330772"/>
              <a:gd name="connsiteX366" fmla="*/ 2469164 w 5381200"/>
              <a:gd name="connsiteY366" fmla="*/ 560653 h 5330772"/>
              <a:gd name="connsiteX367" fmla="*/ 2322347 w 5381200"/>
              <a:gd name="connsiteY367" fmla="*/ 707495 h 5330772"/>
              <a:gd name="connsiteX368" fmla="*/ 2175530 w 5381200"/>
              <a:gd name="connsiteY368" fmla="*/ 560653 h 5330772"/>
              <a:gd name="connsiteX369" fmla="*/ 2322347 w 5381200"/>
              <a:gd name="connsiteY369" fmla="*/ 413901 h 5330772"/>
              <a:gd name="connsiteX370" fmla="*/ 2469164 w 5381200"/>
              <a:gd name="connsiteY370" fmla="*/ 560653 h 5330772"/>
              <a:gd name="connsiteX371" fmla="*/ 1115433 w 5381200"/>
              <a:gd name="connsiteY371" fmla="*/ 3655000 h 5330772"/>
              <a:gd name="connsiteX372" fmla="*/ 988616 w 5381200"/>
              <a:gd name="connsiteY372" fmla="*/ 3781761 h 5330772"/>
              <a:gd name="connsiteX373" fmla="*/ 861799 w 5381200"/>
              <a:gd name="connsiteY373" fmla="*/ 3655000 h 5330772"/>
              <a:gd name="connsiteX374" fmla="*/ 988616 w 5381200"/>
              <a:gd name="connsiteY374" fmla="*/ 3528239 h 5330772"/>
              <a:gd name="connsiteX375" fmla="*/ 1115433 w 5381200"/>
              <a:gd name="connsiteY375" fmla="*/ 3655000 h 5330772"/>
              <a:gd name="connsiteX376" fmla="*/ 3821729 w 5381200"/>
              <a:gd name="connsiteY376" fmla="*/ 4132102 h 5330772"/>
              <a:gd name="connsiteX377" fmla="*/ 3694912 w 5381200"/>
              <a:gd name="connsiteY377" fmla="*/ 4258863 h 5330772"/>
              <a:gd name="connsiteX378" fmla="*/ 3568095 w 5381200"/>
              <a:gd name="connsiteY378" fmla="*/ 4132102 h 5330772"/>
              <a:gd name="connsiteX379" fmla="*/ 3694912 w 5381200"/>
              <a:gd name="connsiteY379" fmla="*/ 4005341 h 5330772"/>
              <a:gd name="connsiteX380" fmla="*/ 3821729 w 5381200"/>
              <a:gd name="connsiteY380" fmla="*/ 4132102 h 5330772"/>
              <a:gd name="connsiteX381" fmla="*/ 4126932 w 5381200"/>
              <a:gd name="connsiteY381" fmla="*/ 3918473 h 5330772"/>
              <a:gd name="connsiteX382" fmla="*/ 4000115 w 5381200"/>
              <a:gd name="connsiteY382" fmla="*/ 4045234 h 5330772"/>
              <a:gd name="connsiteX383" fmla="*/ 3873299 w 5381200"/>
              <a:gd name="connsiteY383" fmla="*/ 3918473 h 5330772"/>
              <a:gd name="connsiteX384" fmla="*/ 4000115 w 5381200"/>
              <a:gd name="connsiteY384" fmla="*/ 3791712 h 5330772"/>
              <a:gd name="connsiteX385" fmla="*/ 4126932 w 5381200"/>
              <a:gd name="connsiteY385" fmla="*/ 3918473 h 5330772"/>
              <a:gd name="connsiteX386" fmla="*/ 4390432 w 5381200"/>
              <a:gd name="connsiteY386" fmla="*/ 3655090 h 5330772"/>
              <a:gd name="connsiteX387" fmla="*/ 4263526 w 5381200"/>
              <a:gd name="connsiteY387" fmla="*/ 3781851 h 5330772"/>
              <a:gd name="connsiteX388" fmla="*/ 4136708 w 5381200"/>
              <a:gd name="connsiteY388" fmla="*/ 3655090 h 5330772"/>
              <a:gd name="connsiteX389" fmla="*/ 4263526 w 5381200"/>
              <a:gd name="connsiteY389" fmla="*/ 3528329 h 5330772"/>
              <a:gd name="connsiteX390" fmla="*/ 4390432 w 5381200"/>
              <a:gd name="connsiteY390" fmla="*/ 3655090 h 5330772"/>
              <a:gd name="connsiteX391" fmla="*/ 4604155 w 5381200"/>
              <a:gd name="connsiteY391" fmla="*/ 3350021 h 5330772"/>
              <a:gd name="connsiteX392" fmla="*/ 4477338 w 5381200"/>
              <a:gd name="connsiteY392" fmla="*/ 3476782 h 5330772"/>
              <a:gd name="connsiteX393" fmla="*/ 4350521 w 5381200"/>
              <a:gd name="connsiteY393" fmla="*/ 3350021 h 5330772"/>
              <a:gd name="connsiteX394" fmla="*/ 4477338 w 5381200"/>
              <a:gd name="connsiteY394" fmla="*/ 3223350 h 5330772"/>
              <a:gd name="connsiteX395" fmla="*/ 4604155 w 5381200"/>
              <a:gd name="connsiteY395" fmla="*/ 3350021 h 5330772"/>
              <a:gd name="connsiteX396" fmla="*/ 4761555 w 5381200"/>
              <a:gd name="connsiteY396" fmla="*/ 3012500 h 5330772"/>
              <a:gd name="connsiteX397" fmla="*/ 4634828 w 5381200"/>
              <a:gd name="connsiteY397" fmla="*/ 3139261 h 5330772"/>
              <a:gd name="connsiteX398" fmla="*/ 4508011 w 5381200"/>
              <a:gd name="connsiteY398" fmla="*/ 3012500 h 5330772"/>
              <a:gd name="connsiteX399" fmla="*/ 4634828 w 5381200"/>
              <a:gd name="connsiteY399" fmla="*/ 2885739 h 5330772"/>
              <a:gd name="connsiteX400" fmla="*/ 4761555 w 5381200"/>
              <a:gd name="connsiteY400" fmla="*/ 3012500 h 5330772"/>
              <a:gd name="connsiteX401" fmla="*/ 4857969 w 5381200"/>
              <a:gd name="connsiteY401" fmla="*/ 2652926 h 5330772"/>
              <a:gd name="connsiteX402" fmla="*/ 4731241 w 5381200"/>
              <a:gd name="connsiteY402" fmla="*/ 2779686 h 5330772"/>
              <a:gd name="connsiteX403" fmla="*/ 4604335 w 5381200"/>
              <a:gd name="connsiteY403" fmla="*/ 2652926 h 5330772"/>
              <a:gd name="connsiteX404" fmla="*/ 4731241 w 5381200"/>
              <a:gd name="connsiteY404" fmla="*/ 2526165 h 5330772"/>
              <a:gd name="connsiteX405" fmla="*/ 4857969 w 5381200"/>
              <a:gd name="connsiteY405" fmla="*/ 2652926 h 5330772"/>
              <a:gd name="connsiteX406" fmla="*/ 4890525 w 5381200"/>
              <a:gd name="connsiteY406" fmla="*/ 2282145 h 5330772"/>
              <a:gd name="connsiteX407" fmla="*/ 4763708 w 5381200"/>
              <a:gd name="connsiteY407" fmla="*/ 2408906 h 5330772"/>
              <a:gd name="connsiteX408" fmla="*/ 4636802 w 5381200"/>
              <a:gd name="connsiteY408" fmla="*/ 2282145 h 5330772"/>
              <a:gd name="connsiteX409" fmla="*/ 4763708 w 5381200"/>
              <a:gd name="connsiteY409" fmla="*/ 2155384 h 5330772"/>
              <a:gd name="connsiteX410" fmla="*/ 4890525 w 5381200"/>
              <a:gd name="connsiteY410" fmla="*/ 2282145 h 5330772"/>
              <a:gd name="connsiteX411" fmla="*/ 4857969 w 5381200"/>
              <a:gd name="connsiteY411" fmla="*/ 1911006 h 5330772"/>
              <a:gd name="connsiteX412" fmla="*/ 4731241 w 5381200"/>
              <a:gd name="connsiteY412" fmla="*/ 2037767 h 5330772"/>
              <a:gd name="connsiteX413" fmla="*/ 4604335 w 5381200"/>
              <a:gd name="connsiteY413" fmla="*/ 1911006 h 5330772"/>
              <a:gd name="connsiteX414" fmla="*/ 4731241 w 5381200"/>
              <a:gd name="connsiteY414" fmla="*/ 1784245 h 5330772"/>
              <a:gd name="connsiteX415" fmla="*/ 4857969 w 5381200"/>
              <a:gd name="connsiteY415" fmla="*/ 1911006 h 5330772"/>
              <a:gd name="connsiteX416" fmla="*/ 4761645 w 5381200"/>
              <a:gd name="connsiteY416" fmla="*/ 1551253 h 5330772"/>
              <a:gd name="connsiteX417" fmla="*/ 4634828 w 5381200"/>
              <a:gd name="connsiteY417" fmla="*/ 1678014 h 5330772"/>
              <a:gd name="connsiteX418" fmla="*/ 4508011 w 5381200"/>
              <a:gd name="connsiteY418" fmla="*/ 1551253 h 5330772"/>
              <a:gd name="connsiteX419" fmla="*/ 4634828 w 5381200"/>
              <a:gd name="connsiteY419" fmla="*/ 1424492 h 5330772"/>
              <a:gd name="connsiteX420" fmla="*/ 4761645 w 5381200"/>
              <a:gd name="connsiteY420" fmla="*/ 1551253 h 5330772"/>
              <a:gd name="connsiteX421" fmla="*/ 4604155 w 5381200"/>
              <a:gd name="connsiteY421" fmla="*/ 1213732 h 5330772"/>
              <a:gd name="connsiteX422" fmla="*/ 4477338 w 5381200"/>
              <a:gd name="connsiteY422" fmla="*/ 1340493 h 5330772"/>
              <a:gd name="connsiteX423" fmla="*/ 4350432 w 5381200"/>
              <a:gd name="connsiteY423" fmla="*/ 1213732 h 5330772"/>
              <a:gd name="connsiteX424" fmla="*/ 4477338 w 5381200"/>
              <a:gd name="connsiteY424" fmla="*/ 1086971 h 5330772"/>
              <a:gd name="connsiteX425" fmla="*/ 4604155 w 5381200"/>
              <a:gd name="connsiteY425" fmla="*/ 1213732 h 5330772"/>
              <a:gd name="connsiteX426" fmla="*/ 4390432 w 5381200"/>
              <a:gd name="connsiteY426" fmla="*/ 908663 h 5330772"/>
              <a:gd name="connsiteX427" fmla="*/ 4263615 w 5381200"/>
              <a:gd name="connsiteY427" fmla="*/ 1035424 h 5330772"/>
              <a:gd name="connsiteX428" fmla="*/ 4136798 w 5381200"/>
              <a:gd name="connsiteY428" fmla="*/ 908663 h 5330772"/>
              <a:gd name="connsiteX429" fmla="*/ 4263615 w 5381200"/>
              <a:gd name="connsiteY429" fmla="*/ 781902 h 5330772"/>
              <a:gd name="connsiteX430" fmla="*/ 4390432 w 5381200"/>
              <a:gd name="connsiteY430" fmla="*/ 908663 h 5330772"/>
              <a:gd name="connsiteX431" fmla="*/ 4127022 w 5381200"/>
              <a:gd name="connsiteY431" fmla="*/ 645369 h 5330772"/>
              <a:gd name="connsiteX432" fmla="*/ 4000205 w 5381200"/>
              <a:gd name="connsiteY432" fmla="*/ 772130 h 5330772"/>
              <a:gd name="connsiteX433" fmla="*/ 3873299 w 5381200"/>
              <a:gd name="connsiteY433" fmla="*/ 645369 h 5330772"/>
              <a:gd name="connsiteX434" fmla="*/ 4000205 w 5381200"/>
              <a:gd name="connsiteY434" fmla="*/ 518608 h 5330772"/>
              <a:gd name="connsiteX435" fmla="*/ 4127022 w 5381200"/>
              <a:gd name="connsiteY435" fmla="*/ 645369 h 5330772"/>
              <a:gd name="connsiteX436" fmla="*/ 3821729 w 5381200"/>
              <a:gd name="connsiteY436" fmla="*/ 431740 h 5330772"/>
              <a:gd name="connsiteX437" fmla="*/ 3694912 w 5381200"/>
              <a:gd name="connsiteY437" fmla="*/ 558501 h 5330772"/>
              <a:gd name="connsiteX438" fmla="*/ 3568095 w 5381200"/>
              <a:gd name="connsiteY438" fmla="*/ 431740 h 5330772"/>
              <a:gd name="connsiteX439" fmla="*/ 3694912 w 5381200"/>
              <a:gd name="connsiteY439" fmla="*/ 304979 h 5330772"/>
              <a:gd name="connsiteX440" fmla="*/ 3821729 w 5381200"/>
              <a:gd name="connsiteY440" fmla="*/ 431740 h 5330772"/>
              <a:gd name="connsiteX441" fmla="*/ 901710 w 5381200"/>
              <a:gd name="connsiteY441" fmla="*/ 3349932 h 5330772"/>
              <a:gd name="connsiteX442" fmla="*/ 774983 w 5381200"/>
              <a:gd name="connsiteY442" fmla="*/ 3476692 h 5330772"/>
              <a:gd name="connsiteX443" fmla="*/ 648076 w 5381200"/>
              <a:gd name="connsiteY443" fmla="*/ 3349932 h 5330772"/>
              <a:gd name="connsiteX444" fmla="*/ 774983 w 5381200"/>
              <a:gd name="connsiteY444" fmla="*/ 3223170 h 5330772"/>
              <a:gd name="connsiteX445" fmla="*/ 901710 w 5381200"/>
              <a:gd name="connsiteY445" fmla="*/ 3349932 h 5330772"/>
              <a:gd name="connsiteX446" fmla="*/ 744310 w 5381200"/>
              <a:gd name="connsiteY446" fmla="*/ 3012321 h 5330772"/>
              <a:gd name="connsiteX447" fmla="*/ 617493 w 5381200"/>
              <a:gd name="connsiteY447" fmla="*/ 3139171 h 5330772"/>
              <a:gd name="connsiteX448" fmla="*/ 490676 w 5381200"/>
              <a:gd name="connsiteY448" fmla="*/ 3012321 h 5330772"/>
              <a:gd name="connsiteX449" fmla="*/ 617493 w 5381200"/>
              <a:gd name="connsiteY449" fmla="*/ 2885560 h 5330772"/>
              <a:gd name="connsiteX450" fmla="*/ 744310 w 5381200"/>
              <a:gd name="connsiteY450" fmla="*/ 3012321 h 5330772"/>
              <a:gd name="connsiteX451" fmla="*/ 647807 w 5381200"/>
              <a:gd name="connsiteY451" fmla="*/ 2652836 h 5330772"/>
              <a:gd name="connsiteX452" fmla="*/ 520990 w 5381200"/>
              <a:gd name="connsiteY452" fmla="*/ 2779686 h 5330772"/>
              <a:gd name="connsiteX453" fmla="*/ 394083 w 5381200"/>
              <a:gd name="connsiteY453" fmla="*/ 2652836 h 5330772"/>
              <a:gd name="connsiteX454" fmla="*/ 520990 w 5381200"/>
              <a:gd name="connsiteY454" fmla="*/ 2526075 h 5330772"/>
              <a:gd name="connsiteX455" fmla="*/ 647807 w 5381200"/>
              <a:gd name="connsiteY455" fmla="*/ 2652836 h 5330772"/>
              <a:gd name="connsiteX456" fmla="*/ 615340 w 5381200"/>
              <a:gd name="connsiteY456" fmla="*/ 2282145 h 5330772"/>
              <a:gd name="connsiteX457" fmla="*/ 488613 w 5381200"/>
              <a:gd name="connsiteY457" fmla="*/ 2408906 h 5330772"/>
              <a:gd name="connsiteX458" fmla="*/ 361796 w 5381200"/>
              <a:gd name="connsiteY458" fmla="*/ 2282145 h 5330772"/>
              <a:gd name="connsiteX459" fmla="*/ 488613 w 5381200"/>
              <a:gd name="connsiteY459" fmla="*/ 2155384 h 5330772"/>
              <a:gd name="connsiteX460" fmla="*/ 615340 w 5381200"/>
              <a:gd name="connsiteY460" fmla="*/ 2282145 h 5330772"/>
              <a:gd name="connsiteX461" fmla="*/ 647807 w 5381200"/>
              <a:gd name="connsiteY461" fmla="*/ 1911096 h 5330772"/>
              <a:gd name="connsiteX462" fmla="*/ 520990 w 5381200"/>
              <a:gd name="connsiteY462" fmla="*/ 2037857 h 5330772"/>
              <a:gd name="connsiteX463" fmla="*/ 394083 w 5381200"/>
              <a:gd name="connsiteY463" fmla="*/ 1911096 h 5330772"/>
              <a:gd name="connsiteX464" fmla="*/ 520990 w 5381200"/>
              <a:gd name="connsiteY464" fmla="*/ 1784335 h 5330772"/>
              <a:gd name="connsiteX465" fmla="*/ 647807 w 5381200"/>
              <a:gd name="connsiteY465" fmla="*/ 1911096 h 5330772"/>
              <a:gd name="connsiteX466" fmla="*/ 744310 w 5381200"/>
              <a:gd name="connsiteY466" fmla="*/ 1551343 h 5330772"/>
              <a:gd name="connsiteX467" fmla="*/ 617493 w 5381200"/>
              <a:gd name="connsiteY467" fmla="*/ 1678103 h 5330772"/>
              <a:gd name="connsiteX468" fmla="*/ 490676 w 5381200"/>
              <a:gd name="connsiteY468" fmla="*/ 1551343 h 5330772"/>
              <a:gd name="connsiteX469" fmla="*/ 617493 w 5381200"/>
              <a:gd name="connsiteY469" fmla="*/ 1424581 h 5330772"/>
              <a:gd name="connsiteX470" fmla="*/ 744310 w 5381200"/>
              <a:gd name="connsiteY470" fmla="*/ 1551343 h 5330772"/>
              <a:gd name="connsiteX471" fmla="*/ 4471060 w 5381200"/>
              <a:gd name="connsiteY471" fmla="*/ 5013422 h 5330772"/>
              <a:gd name="connsiteX472" fmla="*/ 4397158 w 5381200"/>
              <a:gd name="connsiteY472" fmla="*/ 5087292 h 5330772"/>
              <a:gd name="connsiteX473" fmla="*/ 4323257 w 5381200"/>
              <a:gd name="connsiteY473" fmla="*/ 5013422 h 5330772"/>
              <a:gd name="connsiteX474" fmla="*/ 4397158 w 5381200"/>
              <a:gd name="connsiteY474" fmla="*/ 4939553 h 5330772"/>
              <a:gd name="connsiteX475" fmla="*/ 4471060 w 5381200"/>
              <a:gd name="connsiteY475" fmla="*/ 5013422 h 5330772"/>
              <a:gd name="connsiteX476" fmla="*/ 4176170 w 5381200"/>
              <a:gd name="connsiteY476" fmla="*/ 5013422 h 5330772"/>
              <a:gd name="connsiteX477" fmla="*/ 4102269 w 5381200"/>
              <a:gd name="connsiteY477" fmla="*/ 5087292 h 5330772"/>
              <a:gd name="connsiteX478" fmla="*/ 4028277 w 5381200"/>
              <a:gd name="connsiteY478" fmla="*/ 5013422 h 5330772"/>
              <a:gd name="connsiteX479" fmla="*/ 4102269 w 5381200"/>
              <a:gd name="connsiteY479" fmla="*/ 4939553 h 5330772"/>
              <a:gd name="connsiteX480" fmla="*/ 4176170 w 5381200"/>
              <a:gd name="connsiteY480" fmla="*/ 5013422 h 5330772"/>
              <a:gd name="connsiteX481" fmla="*/ 4359759 w 5381200"/>
              <a:gd name="connsiteY481" fmla="*/ 5256904 h 5330772"/>
              <a:gd name="connsiteX482" fmla="*/ 4285858 w 5381200"/>
              <a:gd name="connsiteY482" fmla="*/ 5330773 h 5330772"/>
              <a:gd name="connsiteX483" fmla="*/ 4211866 w 5381200"/>
              <a:gd name="connsiteY483" fmla="*/ 5256904 h 5330772"/>
              <a:gd name="connsiteX484" fmla="*/ 4285858 w 5381200"/>
              <a:gd name="connsiteY484" fmla="*/ 5183035 h 5330772"/>
              <a:gd name="connsiteX485" fmla="*/ 4359759 w 5381200"/>
              <a:gd name="connsiteY485" fmla="*/ 5256904 h 5330772"/>
              <a:gd name="connsiteX486" fmla="*/ 4535007 w 5381200"/>
              <a:gd name="connsiteY486" fmla="*/ 4475092 h 5330772"/>
              <a:gd name="connsiteX487" fmla="*/ 4461105 w 5381200"/>
              <a:gd name="connsiteY487" fmla="*/ 4548961 h 5330772"/>
              <a:gd name="connsiteX488" fmla="*/ 4387203 w 5381200"/>
              <a:gd name="connsiteY488" fmla="*/ 4475092 h 5330772"/>
              <a:gd name="connsiteX489" fmla="*/ 4461105 w 5381200"/>
              <a:gd name="connsiteY489" fmla="*/ 4401222 h 5330772"/>
              <a:gd name="connsiteX490" fmla="*/ 4535007 w 5381200"/>
              <a:gd name="connsiteY490" fmla="*/ 4475092 h 5330772"/>
              <a:gd name="connsiteX491" fmla="*/ 4894381 w 5381200"/>
              <a:gd name="connsiteY491" fmla="*/ 4115966 h 5330772"/>
              <a:gd name="connsiteX492" fmla="*/ 4820480 w 5381200"/>
              <a:gd name="connsiteY492" fmla="*/ 4189925 h 5330772"/>
              <a:gd name="connsiteX493" fmla="*/ 4746488 w 5381200"/>
              <a:gd name="connsiteY493" fmla="*/ 4115966 h 5330772"/>
              <a:gd name="connsiteX494" fmla="*/ 4820480 w 5381200"/>
              <a:gd name="connsiteY494" fmla="*/ 4042096 h 5330772"/>
              <a:gd name="connsiteX495" fmla="*/ 4894381 w 5381200"/>
              <a:gd name="connsiteY495" fmla="*/ 4115966 h 5330772"/>
              <a:gd name="connsiteX496" fmla="*/ 5185773 w 5381200"/>
              <a:gd name="connsiteY496" fmla="*/ 3699913 h 5330772"/>
              <a:gd name="connsiteX497" fmla="*/ 5111872 w 5381200"/>
              <a:gd name="connsiteY497" fmla="*/ 3773783 h 5330772"/>
              <a:gd name="connsiteX498" fmla="*/ 5037970 w 5381200"/>
              <a:gd name="connsiteY498" fmla="*/ 3699913 h 5330772"/>
              <a:gd name="connsiteX499" fmla="*/ 5111872 w 5381200"/>
              <a:gd name="connsiteY499" fmla="*/ 3626044 h 5330772"/>
              <a:gd name="connsiteX500" fmla="*/ 5185773 w 5381200"/>
              <a:gd name="connsiteY500" fmla="*/ 3699913 h 5330772"/>
              <a:gd name="connsiteX501" fmla="*/ 5381201 w 5381200"/>
              <a:gd name="connsiteY501" fmla="*/ 3258940 h 5330772"/>
              <a:gd name="connsiteX502" fmla="*/ 5307299 w 5381200"/>
              <a:gd name="connsiteY502" fmla="*/ 3332809 h 5330772"/>
              <a:gd name="connsiteX503" fmla="*/ 5233397 w 5381200"/>
              <a:gd name="connsiteY503" fmla="*/ 3258940 h 5330772"/>
              <a:gd name="connsiteX504" fmla="*/ 5307299 w 5381200"/>
              <a:gd name="connsiteY504" fmla="*/ 3185070 h 5330772"/>
              <a:gd name="connsiteX505" fmla="*/ 5381201 w 5381200"/>
              <a:gd name="connsiteY505" fmla="*/ 3258940 h 5330772"/>
              <a:gd name="connsiteX506" fmla="*/ 790767 w 5381200"/>
              <a:gd name="connsiteY506" fmla="*/ 3904668 h 5330772"/>
              <a:gd name="connsiteX507" fmla="*/ 690857 w 5381200"/>
              <a:gd name="connsiteY507" fmla="*/ 4004534 h 5330772"/>
              <a:gd name="connsiteX508" fmla="*/ 590946 w 5381200"/>
              <a:gd name="connsiteY508" fmla="*/ 3904668 h 5330772"/>
              <a:gd name="connsiteX509" fmla="*/ 690857 w 5381200"/>
              <a:gd name="connsiteY509" fmla="*/ 3804890 h 5330772"/>
              <a:gd name="connsiteX510" fmla="*/ 790767 w 5381200"/>
              <a:gd name="connsiteY510" fmla="*/ 3904668 h 5330772"/>
              <a:gd name="connsiteX511" fmla="*/ 538210 w 5381200"/>
              <a:gd name="connsiteY511" fmla="*/ 3544197 h 5330772"/>
              <a:gd name="connsiteX512" fmla="*/ 438299 w 5381200"/>
              <a:gd name="connsiteY512" fmla="*/ 3644064 h 5330772"/>
              <a:gd name="connsiteX513" fmla="*/ 338478 w 5381200"/>
              <a:gd name="connsiteY513" fmla="*/ 3544197 h 5330772"/>
              <a:gd name="connsiteX514" fmla="*/ 438299 w 5381200"/>
              <a:gd name="connsiteY514" fmla="*/ 3444419 h 5330772"/>
              <a:gd name="connsiteX515" fmla="*/ 538210 w 5381200"/>
              <a:gd name="connsiteY515" fmla="*/ 3544197 h 5330772"/>
              <a:gd name="connsiteX516" fmla="*/ 352110 w 5381200"/>
              <a:gd name="connsiteY516" fmla="*/ 3145267 h 5330772"/>
              <a:gd name="connsiteX517" fmla="*/ 252199 w 5381200"/>
              <a:gd name="connsiteY517" fmla="*/ 3245134 h 5330772"/>
              <a:gd name="connsiteX518" fmla="*/ 152288 w 5381200"/>
              <a:gd name="connsiteY518" fmla="*/ 3145267 h 5330772"/>
              <a:gd name="connsiteX519" fmla="*/ 252199 w 5381200"/>
              <a:gd name="connsiteY519" fmla="*/ 3045490 h 5330772"/>
              <a:gd name="connsiteX520" fmla="*/ 352110 w 5381200"/>
              <a:gd name="connsiteY520" fmla="*/ 3145267 h 5330772"/>
              <a:gd name="connsiteX521" fmla="*/ 238118 w 5381200"/>
              <a:gd name="connsiteY521" fmla="*/ 2720430 h 5330772"/>
              <a:gd name="connsiteX522" fmla="*/ 138297 w 5381200"/>
              <a:gd name="connsiteY522" fmla="*/ 2820207 h 5330772"/>
              <a:gd name="connsiteX523" fmla="*/ 38386 w 5381200"/>
              <a:gd name="connsiteY523" fmla="*/ 2720430 h 5330772"/>
              <a:gd name="connsiteX524" fmla="*/ 138297 w 5381200"/>
              <a:gd name="connsiteY524" fmla="*/ 2620563 h 5330772"/>
              <a:gd name="connsiteX525" fmla="*/ 238118 w 5381200"/>
              <a:gd name="connsiteY525" fmla="*/ 2720430 h 5330772"/>
              <a:gd name="connsiteX526" fmla="*/ 199732 w 5381200"/>
              <a:gd name="connsiteY526" fmla="*/ 2282145 h 5330772"/>
              <a:gd name="connsiteX527" fmla="*/ 99911 w 5381200"/>
              <a:gd name="connsiteY527" fmla="*/ 2382012 h 5330772"/>
              <a:gd name="connsiteX528" fmla="*/ 0 w 5381200"/>
              <a:gd name="connsiteY528" fmla="*/ 2282145 h 5330772"/>
              <a:gd name="connsiteX529" fmla="*/ 99911 w 5381200"/>
              <a:gd name="connsiteY529" fmla="*/ 2182368 h 5330772"/>
              <a:gd name="connsiteX530" fmla="*/ 199732 w 5381200"/>
              <a:gd name="connsiteY530" fmla="*/ 2282145 h 5330772"/>
              <a:gd name="connsiteX531" fmla="*/ 238118 w 5381200"/>
              <a:gd name="connsiteY531" fmla="*/ 1843592 h 5330772"/>
              <a:gd name="connsiteX532" fmla="*/ 138297 w 5381200"/>
              <a:gd name="connsiteY532" fmla="*/ 1943369 h 5330772"/>
              <a:gd name="connsiteX533" fmla="*/ 38386 w 5381200"/>
              <a:gd name="connsiteY533" fmla="*/ 1843592 h 5330772"/>
              <a:gd name="connsiteX534" fmla="*/ 138297 w 5381200"/>
              <a:gd name="connsiteY534" fmla="*/ 1743725 h 5330772"/>
              <a:gd name="connsiteX535" fmla="*/ 238118 w 5381200"/>
              <a:gd name="connsiteY535" fmla="*/ 1843592 h 5330772"/>
              <a:gd name="connsiteX536" fmla="*/ 4349535 w 5381200"/>
              <a:gd name="connsiteY536" fmla="*/ 351506 h 5330772"/>
              <a:gd name="connsiteX537" fmla="*/ 4249714 w 5381200"/>
              <a:gd name="connsiteY537" fmla="*/ 451373 h 5330772"/>
              <a:gd name="connsiteX538" fmla="*/ 4149802 w 5381200"/>
              <a:gd name="connsiteY538" fmla="*/ 351506 h 5330772"/>
              <a:gd name="connsiteX539" fmla="*/ 4249714 w 5381200"/>
              <a:gd name="connsiteY539" fmla="*/ 251729 h 5330772"/>
              <a:gd name="connsiteX540" fmla="*/ 4349535 w 5381200"/>
              <a:gd name="connsiteY540" fmla="*/ 351506 h 5330772"/>
              <a:gd name="connsiteX541" fmla="*/ 5250348 w 5381200"/>
              <a:gd name="connsiteY541" fmla="*/ 2281966 h 5330772"/>
              <a:gd name="connsiteX542" fmla="*/ 5150527 w 5381200"/>
              <a:gd name="connsiteY542" fmla="*/ 2381833 h 5330772"/>
              <a:gd name="connsiteX543" fmla="*/ 5050615 w 5381200"/>
              <a:gd name="connsiteY543" fmla="*/ 2281966 h 5330772"/>
              <a:gd name="connsiteX544" fmla="*/ 5150527 w 5381200"/>
              <a:gd name="connsiteY544" fmla="*/ 2182189 h 5330772"/>
              <a:gd name="connsiteX545" fmla="*/ 5250348 w 5381200"/>
              <a:gd name="connsiteY545" fmla="*/ 2281966 h 5330772"/>
              <a:gd name="connsiteX546" fmla="*/ 5213935 w 5381200"/>
              <a:gd name="connsiteY546" fmla="*/ 2720430 h 5330772"/>
              <a:gd name="connsiteX547" fmla="*/ 5114114 w 5381200"/>
              <a:gd name="connsiteY547" fmla="*/ 2820297 h 5330772"/>
              <a:gd name="connsiteX548" fmla="*/ 5014203 w 5381200"/>
              <a:gd name="connsiteY548" fmla="*/ 2720430 h 5330772"/>
              <a:gd name="connsiteX549" fmla="*/ 5114114 w 5381200"/>
              <a:gd name="connsiteY549" fmla="*/ 2620563 h 5330772"/>
              <a:gd name="connsiteX550" fmla="*/ 5213935 w 5381200"/>
              <a:gd name="connsiteY550" fmla="*/ 2720430 h 5330772"/>
              <a:gd name="connsiteX551" fmla="*/ 5099854 w 5381200"/>
              <a:gd name="connsiteY551" fmla="*/ 3145357 h 5330772"/>
              <a:gd name="connsiteX552" fmla="*/ 5000033 w 5381200"/>
              <a:gd name="connsiteY552" fmla="*/ 3245224 h 5330772"/>
              <a:gd name="connsiteX553" fmla="*/ 4900122 w 5381200"/>
              <a:gd name="connsiteY553" fmla="*/ 3145357 h 5330772"/>
              <a:gd name="connsiteX554" fmla="*/ 5000033 w 5381200"/>
              <a:gd name="connsiteY554" fmla="*/ 3045580 h 5330772"/>
              <a:gd name="connsiteX555" fmla="*/ 5099854 w 5381200"/>
              <a:gd name="connsiteY555" fmla="*/ 3145357 h 5330772"/>
              <a:gd name="connsiteX556" fmla="*/ 4913843 w 5381200"/>
              <a:gd name="connsiteY556" fmla="*/ 3544286 h 5330772"/>
              <a:gd name="connsiteX557" fmla="*/ 4813933 w 5381200"/>
              <a:gd name="connsiteY557" fmla="*/ 3644153 h 5330772"/>
              <a:gd name="connsiteX558" fmla="*/ 4714022 w 5381200"/>
              <a:gd name="connsiteY558" fmla="*/ 3544286 h 5330772"/>
              <a:gd name="connsiteX559" fmla="*/ 4813933 w 5381200"/>
              <a:gd name="connsiteY559" fmla="*/ 3444509 h 5330772"/>
              <a:gd name="connsiteX560" fmla="*/ 4913843 w 5381200"/>
              <a:gd name="connsiteY560" fmla="*/ 3544286 h 5330772"/>
              <a:gd name="connsiteX561" fmla="*/ 4661196 w 5381200"/>
              <a:gd name="connsiteY561" fmla="*/ 3904757 h 5330772"/>
              <a:gd name="connsiteX562" fmla="*/ 4561285 w 5381200"/>
              <a:gd name="connsiteY562" fmla="*/ 4004624 h 5330772"/>
              <a:gd name="connsiteX563" fmla="*/ 4461374 w 5381200"/>
              <a:gd name="connsiteY563" fmla="*/ 3904757 h 5330772"/>
              <a:gd name="connsiteX564" fmla="*/ 4561285 w 5381200"/>
              <a:gd name="connsiteY564" fmla="*/ 3804980 h 5330772"/>
              <a:gd name="connsiteX565" fmla="*/ 4661196 w 5381200"/>
              <a:gd name="connsiteY565" fmla="*/ 3904757 h 5330772"/>
              <a:gd name="connsiteX566" fmla="*/ 4349804 w 5381200"/>
              <a:gd name="connsiteY566" fmla="*/ 4216102 h 5330772"/>
              <a:gd name="connsiteX567" fmla="*/ 4249893 w 5381200"/>
              <a:gd name="connsiteY567" fmla="*/ 4315968 h 5330772"/>
              <a:gd name="connsiteX568" fmla="*/ 4149982 w 5381200"/>
              <a:gd name="connsiteY568" fmla="*/ 4216102 h 5330772"/>
              <a:gd name="connsiteX569" fmla="*/ 4249893 w 5381200"/>
              <a:gd name="connsiteY569" fmla="*/ 4116234 h 5330772"/>
              <a:gd name="connsiteX570" fmla="*/ 4349804 w 5381200"/>
              <a:gd name="connsiteY570" fmla="*/ 4216102 h 5330772"/>
              <a:gd name="connsiteX571" fmla="*/ 3989084 w 5381200"/>
              <a:gd name="connsiteY571" fmla="*/ 4468547 h 5330772"/>
              <a:gd name="connsiteX572" fmla="*/ 3889263 w 5381200"/>
              <a:gd name="connsiteY572" fmla="*/ 4568414 h 5330772"/>
              <a:gd name="connsiteX573" fmla="*/ 3789442 w 5381200"/>
              <a:gd name="connsiteY573" fmla="*/ 4468547 h 5330772"/>
              <a:gd name="connsiteX574" fmla="*/ 3889263 w 5381200"/>
              <a:gd name="connsiteY574" fmla="*/ 4368770 h 5330772"/>
              <a:gd name="connsiteX575" fmla="*/ 3989084 w 5381200"/>
              <a:gd name="connsiteY575" fmla="*/ 4468547 h 5330772"/>
              <a:gd name="connsiteX576" fmla="*/ 3991595 w 5381200"/>
              <a:gd name="connsiteY576" fmla="*/ 99777 h 5330772"/>
              <a:gd name="connsiteX577" fmla="*/ 3891684 w 5381200"/>
              <a:gd name="connsiteY577" fmla="*/ 199644 h 5330772"/>
              <a:gd name="connsiteX578" fmla="*/ 3791773 w 5381200"/>
              <a:gd name="connsiteY578" fmla="*/ 99777 h 5330772"/>
              <a:gd name="connsiteX579" fmla="*/ 3891684 w 5381200"/>
              <a:gd name="connsiteY579" fmla="*/ 0 h 5330772"/>
              <a:gd name="connsiteX580" fmla="*/ 3991595 w 5381200"/>
              <a:gd name="connsiteY580" fmla="*/ 99777 h 533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Lst>
            <a:rect l="l" t="t" r="r" b="b"/>
            <a:pathLst>
              <a:path w="5381200" h="5330772">
                <a:moveTo>
                  <a:pt x="2797238" y="2292455"/>
                </a:moveTo>
                <a:lnTo>
                  <a:pt x="2797238" y="2290393"/>
                </a:lnTo>
                <a:cubicBezTo>
                  <a:pt x="2797238" y="2185416"/>
                  <a:pt x="2726116" y="2116477"/>
                  <a:pt x="2641721" y="2116477"/>
                </a:cubicBezTo>
                <a:cubicBezTo>
                  <a:pt x="2557236" y="2116477"/>
                  <a:pt x="2483155" y="2186492"/>
                  <a:pt x="2483155" y="2290393"/>
                </a:cubicBezTo>
                <a:lnTo>
                  <a:pt x="2483155" y="2292455"/>
                </a:lnTo>
                <a:cubicBezTo>
                  <a:pt x="2483155" y="2396445"/>
                  <a:pt x="2557236" y="2466370"/>
                  <a:pt x="2641721" y="2466370"/>
                </a:cubicBezTo>
                <a:cubicBezTo>
                  <a:pt x="2727193" y="2466370"/>
                  <a:pt x="2797238" y="2399493"/>
                  <a:pt x="2797238" y="2292455"/>
                </a:cubicBezTo>
                <a:moveTo>
                  <a:pt x="3472309" y="1857218"/>
                </a:moveTo>
                <a:lnTo>
                  <a:pt x="3472309" y="1856949"/>
                </a:lnTo>
                <a:cubicBezTo>
                  <a:pt x="3472309" y="1845295"/>
                  <a:pt x="3463700" y="1838661"/>
                  <a:pt x="3449350" y="1838661"/>
                </a:cubicBezTo>
                <a:lnTo>
                  <a:pt x="3421278" y="1838661"/>
                </a:lnTo>
                <a:lnTo>
                  <a:pt x="3421278" y="1875686"/>
                </a:lnTo>
                <a:lnTo>
                  <a:pt x="3449529" y="1875686"/>
                </a:lnTo>
                <a:cubicBezTo>
                  <a:pt x="3463251" y="1875686"/>
                  <a:pt x="3472309" y="1868424"/>
                  <a:pt x="3472309" y="1857218"/>
                </a:cubicBezTo>
                <a:moveTo>
                  <a:pt x="3490606" y="1856322"/>
                </a:moveTo>
                <a:cubicBezTo>
                  <a:pt x="3490606" y="1873624"/>
                  <a:pt x="3480561" y="1883933"/>
                  <a:pt x="3465673" y="1888236"/>
                </a:cubicBezTo>
                <a:lnTo>
                  <a:pt x="3487108" y="1915130"/>
                </a:lnTo>
                <a:cubicBezTo>
                  <a:pt x="3488902" y="1917371"/>
                  <a:pt x="3490067" y="1919254"/>
                  <a:pt x="3490067" y="1922033"/>
                </a:cubicBezTo>
                <a:cubicBezTo>
                  <a:pt x="3490067" y="1927053"/>
                  <a:pt x="3485762" y="1930549"/>
                  <a:pt x="3481368" y="1930549"/>
                </a:cubicBezTo>
                <a:cubicBezTo>
                  <a:pt x="3477242" y="1930549"/>
                  <a:pt x="3474552" y="1928487"/>
                  <a:pt x="3472489" y="1925708"/>
                </a:cubicBezTo>
                <a:lnTo>
                  <a:pt x="3445852" y="1891732"/>
                </a:lnTo>
                <a:lnTo>
                  <a:pt x="3421278" y="1891732"/>
                </a:lnTo>
                <a:lnTo>
                  <a:pt x="3421278" y="1921406"/>
                </a:lnTo>
                <a:cubicBezTo>
                  <a:pt x="3421278" y="1926426"/>
                  <a:pt x="3417152" y="1930549"/>
                  <a:pt x="3412130" y="1930549"/>
                </a:cubicBezTo>
                <a:cubicBezTo>
                  <a:pt x="3407107" y="1930549"/>
                  <a:pt x="3403161" y="1926426"/>
                  <a:pt x="3403161" y="1921406"/>
                </a:cubicBezTo>
                <a:lnTo>
                  <a:pt x="3403161" y="1831310"/>
                </a:lnTo>
                <a:cubicBezTo>
                  <a:pt x="3403161" y="1826200"/>
                  <a:pt x="3407107" y="1822166"/>
                  <a:pt x="3412130" y="1822166"/>
                </a:cubicBezTo>
                <a:lnTo>
                  <a:pt x="3450874" y="1822166"/>
                </a:lnTo>
                <a:cubicBezTo>
                  <a:pt x="3464327" y="1822166"/>
                  <a:pt x="3475000" y="1826111"/>
                  <a:pt x="3481906" y="1832924"/>
                </a:cubicBezTo>
                <a:cubicBezTo>
                  <a:pt x="3487466" y="1838571"/>
                  <a:pt x="3490606" y="1846640"/>
                  <a:pt x="3490606" y="1855963"/>
                </a:cubicBezTo>
                <a:lnTo>
                  <a:pt x="3490606" y="1856322"/>
                </a:lnTo>
                <a:close/>
                <a:moveTo>
                  <a:pt x="3533297" y="1877837"/>
                </a:moveTo>
                <a:lnTo>
                  <a:pt x="3533297" y="1877299"/>
                </a:lnTo>
                <a:cubicBezTo>
                  <a:pt x="3533297" y="1827366"/>
                  <a:pt x="3494552" y="1786845"/>
                  <a:pt x="3443161" y="1786845"/>
                </a:cubicBezTo>
                <a:cubicBezTo>
                  <a:pt x="3391502" y="1786845"/>
                  <a:pt x="3352398" y="1827903"/>
                  <a:pt x="3352398" y="1877837"/>
                </a:cubicBezTo>
                <a:lnTo>
                  <a:pt x="3352398" y="1878375"/>
                </a:lnTo>
                <a:cubicBezTo>
                  <a:pt x="3352398" y="1928308"/>
                  <a:pt x="3391233" y="1968829"/>
                  <a:pt x="3442533" y="1968829"/>
                </a:cubicBezTo>
                <a:cubicBezTo>
                  <a:pt x="3494193" y="1968829"/>
                  <a:pt x="3533297" y="1927770"/>
                  <a:pt x="3533297" y="1877837"/>
                </a:cubicBezTo>
                <a:moveTo>
                  <a:pt x="3543879" y="1877299"/>
                </a:moveTo>
                <a:lnTo>
                  <a:pt x="3543879" y="1877837"/>
                </a:lnTo>
                <a:cubicBezTo>
                  <a:pt x="3543879" y="1932791"/>
                  <a:pt x="3499215" y="1978869"/>
                  <a:pt x="3442533" y="1978869"/>
                </a:cubicBezTo>
                <a:cubicBezTo>
                  <a:pt x="3385852" y="1978869"/>
                  <a:pt x="3341726" y="1933418"/>
                  <a:pt x="3341726" y="1878465"/>
                </a:cubicBezTo>
                <a:lnTo>
                  <a:pt x="3341726" y="1877927"/>
                </a:lnTo>
                <a:cubicBezTo>
                  <a:pt x="3341726" y="1822973"/>
                  <a:pt x="3386390" y="1776895"/>
                  <a:pt x="3443071" y="1776895"/>
                </a:cubicBezTo>
                <a:cubicBezTo>
                  <a:pt x="3499843" y="1776805"/>
                  <a:pt x="3543879" y="1822345"/>
                  <a:pt x="3543879" y="1877299"/>
                </a:cubicBezTo>
                <a:moveTo>
                  <a:pt x="3285313" y="2008363"/>
                </a:moveTo>
                <a:cubicBezTo>
                  <a:pt x="3407825" y="2008363"/>
                  <a:pt x="3478946" y="2090659"/>
                  <a:pt x="3478946" y="2216255"/>
                </a:cubicBezTo>
                <a:lnTo>
                  <a:pt x="3478946" y="2506532"/>
                </a:lnTo>
                <a:cubicBezTo>
                  <a:pt x="3478946" y="2541494"/>
                  <a:pt x="3452130" y="2568299"/>
                  <a:pt x="3417152" y="2568299"/>
                </a:cubicBezTo>
                <a:cubicBezTo>
                  <a:pt x="3382085" y="2568299"/>
                  <a:pt x="3354371" y="2541494"/>
                  <a:pt x="3354371" y="2506532"/>
                </a:cubicBezTo>
                <a:lnTo>
                  <a:pt x="3354371" y="2254355"/>
                </a:lnTo>
                <a:cubicBezTo>
                  <a:pt x="3354371" y="2169997"/>
                  <a:pt x="3312129" y="2121587"/>
                  <a:pt x="3237958" y="2121587"/>
                </a:cubicBezTo>
                <a:cubicBezTo>
                  <a:pt x="3165850" y="2121587"/>
                  <a:pt x="3115446" y="2171969"/>
                  <a:pt x="3115446" y="2256327"/>
                </a:cubicBezTo>
                <a:lnTo>
                  <a:pt x="3115446" y="2506442"/>
                </a:lnTo>
                <a:cubicBezTo>
                  <a:pt x="3115446" y="2541405"/>
                  <a:pt x="3087643" y="2568209"/>
                  <a:pt x="3052665" y="2568209"/>
                </a:cubicBezTo>
                <a:cubicBezTo>
                  <a:pt x="3018674" y="2568209"/>
                  <a:pt x="2990871" y="2541405"/>
                  <a:pt x="2990871" y="2506442"/>
                </a:cubicBezTo>
                <a:lnTo>
                  <a:pt x="2990871" y="2076226"/>
                </a:lnTo>
                <a:cubicBezTo>
                  <a:pt x="2990871" y="2041174"/>
                  <a:pt x="3017688" y="2013383"/>
                  <a:pt x="3052665" y="2013383"/>
                </a:cubicBezTo>
                <a:cubicBezTo>
                  <a:pt x="3087643" y="2013383"/>
                  <a:pt x="3115446" y="2041174"/>
                  <a:pt x="3115446" y="2076226"/>
                </a:cubicBezTo>
                <a:lnTo>
                  <a:pt x="3115446" y="2102941"/>
                </a:lnTo>
                <a:cubicBezTo>
                  <a:pt x="3150424" y="2052649"/>
                  <a:pt x="3200917" y="2008363"/>
                  <a:pt x="3285313" y="2008363"/>
                </a:cubicBezTo>
                <a:moveTo>
                  <a:pt x="2923875" y="2292455"/>
                </a:moveTo>
                <a:cubicBezTo>
                  <a:pt x="2923875" y="2472556"/>
                  <a:pt x="2800287" y="2574484"/>
                  <a:pt x="2671677" y="2574484"/>
                </a:cubicBezTo>
                <a:cubicBezTo>
                  <a:pt x="2581093" y="2574484"/>
                  <a:pt x="2524411" y="2529213"/>
                  <a:pt x="2486294" y="2478741"/>
                </a:cubicBezTo>
                <a:lnTo>
                  <a:pt x="2486294" y="2506532"/>
                </a:lnTo>
                <a:cubicBezTo>
                  <a:pt x="2486294" y="2540508"/>
                  <a:pt x="2458491" y="2568299"/>
                  <a:pt x="2423424" y="2568299"/>
                </a:cubicBezTo>
                <a:cubicBezTo>
                  <a:pt x="2389433" y="2568299"/>
                  <a:pt x="2361630" y="2540508"/>
                  <a:pt x="2361630" y="2506532"/>
                </a:cubicBezTo>
                <a:lnTo>
                  <a:pt x="2361630" y="1868424"/>
                </a:lnTo>
                <a:cubicBezTo>
                  <a:pt x="2361630" y="1833462"/>
                  <a:pt x="2388446" y="1806747"/>
                  <a:pt x="2423424" y="1806747"/>
                </a:cubicBezTo>
                <a:cubicBezTo>
                  <a:pt x="2458402" y="1806747"/>
                  <a:pt x="2486294" y="1833462"/>
                  <a:pt x="2486294" y="1868424"/>
                </a:cubicBezTo>
                <a:lnTo>
                  <a:pt x="2486294" y="2110292"/>
                </a:lnTo>
                <a:cubicBezTo>
                  <a:pt x="2526474" y="2053724"/>
                  <a:pt x="2583066" y="2008453"/>
                  <a:pt x="2671677" y="2008453"/>
                </a:cubicBezTo>
                <a:cubicBezTo>
                  <a:pt x="2799390" y="2008453"/>
                  <a:pt x="2923875" y="2109306"/>
                  <a:pt x="2923875" y="2290482"/>
                </a:cubicBezTo>
                <a:lnTo>
                  <a:pt x="2923875" y="2292455"/>
                </a:lnTo>
                <a:close/>
                <a:moveTo>
                  <a:pt x="2273109" y="2506532"/>
                </a:moveTo>
                <a:cubicBezTo>
                  <a:pt x="2273109" y="2541494"/>
                  <a:pt x="2246293" y="2568299"/>
                  <a:pt x="2211315" y="2568299"/>
                </a:cubicBezTo>
                <a:cubicBezTo>
                  <a:pt x="2176247" y="2568299"/>
                  <a:pt x="2148534" y="2541494"/>
                  <a:pt x="2148534" y="2506532"/>
                </a:cubicBezTo>
                <a:lnTo>
                  <a:pt x="2148534" y="2254355"/>
                </a:lnTo>
                <a:cubicBezTo>
                  <a:pt x="2148534" y="2169997"/>
                  <a:pt x="2106292" y="2121587"/>
                  <a:pt x="2032210" y="2121587"/>
                </a:cubicBezTo>
                <a:cubicBezTo>
                  <a:pt x="1960192" y="2121587"/>
                  <a:pt x="1909699" y="2171969"/>
                  <a:pt x="1909699" y="2256327"/>
                </a:cubicBezTo>
                <a:lnTo>
                  <a:pt x="1909699" y="2506442"/>
                </a:lnTo>
                <a:cubicBezTo>
                  <a:pt x="1909699" y="2541405"/>
                  <a:pt x="1881896" y="2568209"/>
                  <a:pt x="1846828" y="2568209"/>
                </a:cubicBezTo>
                <a:cubicBezTo>
                  <a:pt x="1812837" y="2568209"/>
                  <a:pt x="1785034" y="2541405"/>
                  <a:pt x="1785034" y="2506442"/>
                </a:cubicBezTo>
                <a:lnTo>
                  <a:pt x="1785034" y="2076226"/>
                </a:lnTo>
                <a:cubicBezTo>
                  <a:pt x="1785034" y="2041174"/>
                  <a:pt x="1811850" y="2013383"/>
                  <a:pt x="1846828" y="2013383"/>
                </a:cubicBezTo>
                <a:cubicBezTo>
                  <a:pt x="1881896" y="2013383"/>
                  <a:pt x="1909699" y="2041174"/>
                  <a:pt x="1909699" y="2076226"/>
                </a:cubicBezTo>
                <a:lnTo>
                  <a:pt x="1909699" y="2102941"/>
                </a:lnTo>
                <a:cubicBezTo>
                  <a:pt x="1944676" y="2052559"/>
                  <a:pt x="1995170" y="2008274"/>
                  <a:pt x="2079565" y="2008274"/>
                </a:cubicBezTo>
                <a:cubicBezTo>
                  <a:pt x="2202077" y="2008274"/>
                  <a:pt x="2273199" y="2090570"/>
                  <a:pt x="2273199" y="2216165"/>
                </a:cubicBezTo>
                <a:lnTo>
                  <a:pt x="2273199" y="2506532"/>
                </a:lnTo>
                <a:close/>
                <a:moveTo>
                  <a:pt x="3700652" y="2281966"/>
                </a:moveTo>
                <a:cubicBezTo>
                  <a:pt x="3700652" y="1688861"/>
                  <a:pt x="3219572" y="1207994"/>
                  <a:pt x="2626116" y="1207994"/>
                </a:cubicBezTo>
                <a:cubicBezTo>
                  <a:pt x="2032659" y="1207994"/>
                  <a:pt x="1551669" y="1688861"/>
                  <a:pt x="1551669" y="2281966"/>
                </a:cubicBezTo>
                <a:cubicBezTo>
                  <a:pt x="1551669" y="2875161"/>
                  <a:pt x="2032748" y="3356027"/>
                  <a:pt x="2626116" y="3356027"/>
                </a:cubicBezTo>
                <a:cubicBezTo>
                  <a:pt x="3219483" y="3356027"/>
                  <a:pt x="3700652" y="2875161"/>
                  <a:pt x="3700652" y="2281966"/>
                </a:cubicBezTo>
                <a:moveTo>
                  <a:pt x="4064869" y="2408010"/>
                </a:moveTo>
                <a:cubicBezTo>
                  <a:pt x="4109085" y="2383357"/>
                  <a:pt x="4139489" y="2336651"/>
                  <a:pt x="4139399" y="2282414"/>
                </a:cubicBezTo>
                <a:cubicBezTo>
                  <a:pt x="4139578" y="2227909"/>
                  <a:pt x="4109085" y="2181203"/>
                  <a:pt x="4064869" y="2156460"/>
                </a:cubicBezTo>
                <a:cubicBezTo>
                  <a:pt x="4104242" y="2124456"/>
                  <a:pt x="4125946" y="2073088"/>
                  <a:pt x="4116439" y="2019659"/>
                </a:cubicBezTo>
                <a:cubicBezTo>
                  <a:pt x="4106932" y="1966139"/>
                  <a:pt x="4069084" y="1925260"/>
                  <a:pt x="4021102" y="1908586"/>
                </a:cubicBezTo>
                <a:cubicBezTo>
                  <a:pt x="4054376" y="1870217"/>
                  <a:pt x="4066753" y="1815981"/>
                  <a:pt x="4048188" y="1764971"/>
                </a:cubicBezTo>
                <a:cubicBezTo>
                  <a:pt x="4029623" y="1713873"/>
                  <a:pt x="3985138" y="1680165"/>
                  <a:pt x="3935003" y="1672097"/>
                </a:cubicBezTo>
                <a:cubicBezTo>
                  <a:pt x="3961012" y="1628618"/>
                  <a:pt x="3963882" y="1572947"/>
                  <a:pt x="3936618" y="1525883"/>
                </a:cubicBezTo>
                <a:cubicBezTo>
                  <a:pt x="3909532" y="1478908"/>
                  <a:pt x="3859936" y="1453538"/>
                  <a:pt x="3809173" y="1454165"/>
                </a:cubicBezTo>
                <a:cubicBezTo>
                  <a:pt x="3827110" y="1406831"/>
                  <a:pt x="3820383" y="1351519"/>
                  <a:pt x="3785406" y="1310013"/>
                </a:cubicBezTo>
                <a:cubicBezTo>
                  <a:pt x="3750518" y="1268327"/>
                  <a:pt x="3697154" y="1251921"/>
                  <a:pt x="3647288" y="1261424"/>
                </a:cubicBezTo>
                <a:cubicBezTo>
                  <a:pt x="3656885" y="1211670"/>
                  <a:pt x="3640562" y="1158419"/>
                  <a:pt x="3598947" y="1123547"/>
                </a:cubicBezTo>
                <a:cubicBezTo>
                  <a:pt x="3557153" y="1088584"/>
                  <a:pt x="3501906" y="1081681"/>
                  <a:pt x="3454462" y="1099701"/>
                </a:cubicBezTo>
                <a:cubicBezTo>
                  <a:pt x="3455179" y="1048960"/>
                  <a:pt x="3429888" y="999385"/>
                  <a:pt x="3382713" y="972312"/>
                </a:cubicBezTo>
                <a:cubicBezTo>
                  <a:pt x="3335717" y="945059"/>
                  <a:pt x="3279932" y="947838"/>
                  <a:pt x="3236254" y="973746"/>
                </a:cubicBezTo>
                <a:cubicBezTo>
                  <a:pt x="3228272" y="923723"/>
                  <a:pt x="3194819" y="879348"/>
                  <a:pt x="3143608" y="860881"/>
                </a:cubicBezTo>
                <a:cubicBezTo>
                  <a:pt x="3092576" y="842144"/>
                  <a:pt x="3038136" y="854605"/>
                  <a:pt x="2999750" y="887775"/>
                </a:cubicBezTo>
                <a:cubicBezTo>
                  <a:pt x="2983158" y="839903"/>
                  <a:pt x="2942441" y="801983"/>
                  <a:pt x="2888898" y="792659"/>
                </a:cubicBezTo>
                <a:cubicBezTo>
                  <a:pt x="2835265" y="783157"/>
                  <a:pt x="2783785" y="804851"/>
                  <a:pt x="2751767" y="844206"/>
                </a:cubicBezTo>
                <a:cubicBezTo>
                  <a:pt x="2727013" y="800010"/>
                  <a:pt x="2680376" y="769799"/>
                  <a:pt x="2625936" y="769799"/>
                </a:cubicBezTo>
                <a:cubicBezTo>
                  <a:pt x="2571586" y="769799"/>
                  <a:pt x="2524860" y="800010"/>
                  <a:pt x="2500016" y="844386"/>
                </a:cubicBezTo>
                <a:cubicBezTo>
                  <a:pt x="2467998" y="805031"/>
                  <a:pt x="2416608" y="783336"/>
                  <a:pt x="2363154" y="792659"/>
                </a:cubicBezTo>
                <a:cubicBezTo>
                  <a:pt x="2309611" y="802162"/>
                  <a:pt x="2268804" y="840083"/>
                  <a:pt x="2252212" y="887954"/>
                </a:cubicBezTo>
                <a:cubicBezTo>
                  <a:pt x="2213736" y="854785"/>
                  <a:pt x="2159386" y="842324"/>
                  <a:pt x="2108355" y="860881"/>
                </a:cubicBezTo>
                <a:cubicBezTo>
                  <a:pt x="2057233" y="879438"/>
                  <a:pt x="2023690" y="923903"/>
                  <a:pt x="2015619" y="974015"/>
                </a:cubicBezTo>
                <a:cubicBezTo>
                  <a:pt x="1972120" y="948107"/>
                  <a:pt x="1916335" y="945149"/>
                  <a:pt x="1869340" y="972312"/>
                </a:cubicBezTo>
                <a:cubicBezTo>
                  <a:pt x="1822344" y="999385"/>
                  <a:pt x="1796962" y="1049050"/>
                  <a:pt x="1797680" y="1099790"/>
                </a:cubicBezTo>
                <a:cubicBezTo>
                  <a:pt x="1750235" y="1081771"/>
                  <a:pt x="1694989" y="1088674"/>
                  <a:pt x="1653284" y="1123547"/>
                </a:cubicBezTo>
                <a:cubicBezTo>
                  <a:pt x="1611670" y="1158419"/>
                  <a:pt x="1595436" y="1211670"/>
                  <a:pt x="1604853" y="1261603"/>
                </a:cubicBezTo>
                <a:cubicBezTo>
                  <a:pt x="1555077" y="1252011"/>
                  <a:pt x="1501803" y="1268327"/>
                  <a:pt x="1466826" y="1309923"/>
                </a:cubicBezTo>
                <a:cubicBezTo>
                  <a:pt x="1431937" y="1351519"/>
                  <a:pt x="1425032" y="1406831"/>
                  <a:pt x="1443148" y="1454255"/>
                </a:cubicBezTo>
                <a:cubicBezTo>
                  <a:pt x="1392386" y="1453538"/>
                  <a:pt x="1342789" y="1478908"/>
                  <a:pt x="1315524" y="1525883"/>
                </a:cubicBezTo>
                <a:cubicBezTo>
                  <a:pt x="1288439" y="1573037"/>
                  <a:pt x="1291219" y="1628618"/>
                  <a:pt x="1317318" y="1672187"/>
                </a:cubicBezTo>
                <a:cubicBezTo>
                  <a:pt x="1267183" y="1680255"/>
                  <a:pt x="1222698" y="1713873"/>
                  <a:pt x="1204133" y="1764971"/>
                </a:cubicBezTo>
                <a:cubicBezTo>
                  <a:pt x="1185568" y="1815891"/>
                  <a:pt x="1198124" y="1870217"/>
                  <a:pt x="1231129" y="1908586"/>
                </a:cubicBezTo>
                <a:cubicBezTo>
                  <a:pt x="1183236" y="1925260"/>
                  <a:pt x="1145209" y="1966050"/>
                  <a:pt x="1135702" y="2019659"/>
                </a:cubicBezTo>
                <a:cubicBezTo>
                  <a:pt x="1126375" y="2073088"/>
                  <a:pt x="1148169" y="2124456"/>
                  <a:pt x="1187452" y="2156460"/>
                </a:cubicBezTo>
                <a:cubicBezTo>
                  <a:pt x="1143146" y="2181113"/>
                  <a:pt x="1112832" y="2227909"/>
                  <a:pt x="1112832" y="2282324"/>
                </a:cubicBezTo>
                <a:cubicBezTo>
                  <a:pt x="1112832" y="2336561"/>
                  <a:pt x="1143146" y="2383267"/>
                  <a:pt x="1187452" y="2408010"/>
                </a:cubicBezTo>
                <a:cubicBezTo>
                  <a:pt x="1148079" y="2440014"/>
                  <a:pt x="1126285" y="2491382"/>
                  <a:pt x="1135702" y="2544811"/>
                </a:cubicBezTo>
                <a:cubicBezTo>
                  <a:pt x="1145209" y="2598241"/>
                  <a:pt x="1183236" y="2638851"/>
                  <a:pt x="1231129" y="2655525"/>
                </a:cubicBezTo>
                <a:cubicBezTo>
                  <a:pt x="1197945" y="2693894"/>
                  <a:pt x="1185479" y="2748041"/>
                  <a:pt x="1204133" y="2799050"/>
                </a:cubicBezTo>
                <a:cubicBezTo>
                  <a:pt x="1222698" y="2850059"/>
                  <a:pt x="1267183" y="2883587"/>
                  <a:pt x="1317228" y="2891656"/>
                </a:cubicBezTo>
                <a:cubicBezTo>
                  <a:pt x="1291219" y="2935224"/>
                  <a:pt x="1288260" y="2990895"/>
                  <a:pt x="1315524" y="3037960"/>
                </a:cubicBezTo>
                <a:cubicBezTo>
                  <a:pt x="1342699" y="3084935"/>
                  <a:pt x="1392386" y="3110305"/>
                  <a:pt x="1443148" y="3109588"/>
                </a:cubicBezTo>
                <a:cubicBezTo>
                  <a:pt x="1425032" y="3157011"/>
                  <a:pt x="1431937" y="3212323"/>
                  <a:pt x="1466915" y="3253919"/>
                </a:cubicBezTo>
                <a:cubicBezTo>
                  <a:pt x="1501803" y="3295516"/>
                  <a:pt x="1555077" y="3311921"/>
                  <a:pt x="1604943" y="3302329"/>
                </a:cubicBezTo>
                <a:cubicBezTo>
                  <a:pt x="1595347" y="3352262"/>
                  <a:pt x="1611759" y="3405423"/>
                  <a:pt x="1653374" y="3440385"/>
                </a:cubicBezTo>
                <a:cubicBezTo>
                  <a:pt x="1695078" y="3475348"/>
                  <a:pt x="1750325" y="3482250"/>
                  <a:pt x="1797770" y="3464052"/>
                </a:cubicBezTo>
                <a:cubicBezTo>
                  <a:pt x="1796962" y="3514792"/>
                  <a:pt x="1822344" y="3564457"/>
                  <a:pt x="1869429" y="3591530"/>
                </a:cubicBezTo>
                <a:cubicBezTo>
                  <a:pt x="1916515" y="3618783"/>
                  <a:pt x="1972210" y="3615914"/>
                  <a:pt x="2015619" y="3590006"/>
                </a:cubicBezTo>
                <a:cubicBezTo>
                  <a:pt x="2023780" y="3640119"/>
                  <a:pt x="2057502" y="3684494"/>
                  <a:pt x="2108444" y="3703051"/>
                </a:cubicBezTo>
                <a:cubicBezTo>
                  <a:pt x="2159476" y="3721608"/>
                  <a:pt x="2213826" y="3709058"/>
                  <a:pt x="2252212" y="3675978"/>
                </a:cubicBezTo>
                <a:cubicBezTo>
                  <a:pt x="2268894" y="3723939"/>
                  <a:pt x="2309701" y="3761860"/>
                  <a:pt x="2363334" y="3771273"/>
                </a:cubicBezTo>
                <a:cubicBezTo>
                  <a:pt x="2416697" y="3780775"/>
                  <a:pt x="2468088" y="3759081"/>
                  <a:pt x="2500106" y="3719815"/>
                </a:cubicBezTo>
                <a:cubicBezTo>
                  <a:pt x="2524770" y="3764101"/>
                  <a:pt x="2571676" y="3794491"/>
                  <a:pt x="2626026" y="3794491"/>
                </a:cubicBezTo>
                <a:cubicBezTo>
                  <a:pt x="2680466" y="3794491"/>
                  <a:pt x="2727282" y="3764191"/>
                  <a:pt x="2751856" y="3719815"/>
                </a:cubicBezTo>
                <a:cubicBezTo>
                  <a:pt x="2783964" y="3759170"/>
                  <a:pt x="2835355" y="3780954"/>
                  <a:pt x="2888898" y="3771542"/>
                </a:cubicBezTo>
                <a:cubicBezTo>
                  <a:pt x="2942351" y="3762039"/>
                  <a:pt x="2983248" y="3724029"/>
                  <a:pt x="2999930" y="3676157"/>
                </a:cubicBezTo>
                <a:cubicBezTo>
                  <a:pt x="3038316" y="3709327"/>
                  <a:pt x="3092576" y="3721787"/>
                  <a:pt x="3143608" y="3703230"/>
                </a:cubicBezTo>
                <a:cubicBezTo>
                  <a:pt x="3194729" y="3684584"/>
                  <a:pt x="3228451" y="3640029"/>
                  <a:pt x="3236434" y="3590096"/>
                </a:cubicBezTo>
                <a:cubicBezTo>
                  <a:pt x="3280021" y="3616004"/>
                  <a:pt x="3335717" y="3618962"/>
                  <a:pt x="3382713" y="3591709"/>
                </a:cubicBezTo>
                <a:cubicBezTo>
                  <a:pt x="3429888" y="3564457"/>
                  <a:pt x="3455179" y="3514972"/>
                  <a:pt x="3454552" y="3464232"/>
                </a:cubicBezTo>
                <a:cubicBezTo>
                  <a:pt x="3501996" y="3482250"/>
                  <a:pt x="3557243" y="3475348"/>
                  <a:pt x="3598857" y="3440475"/>
                </a:cubicBezTo>
                <a:cubicBezTo>
                  <a:pt x="3640472" y="3405602"/>
                  <a:pt x="3656974" y="3352352"/>
                  <a:pt x="3647288" y="3302418"/>
                </a:cubicBezTo>
                <a:cubicBezTo>
                  <a:pt x="3697154" y="3312011"/>
                  <a:pt x="3750428" y="3295695"/>
                  <a:pt x="3785406" y="3254009"/>
                </a:cubicBezTo>
                <a:cubicBezTo>
                  <a:pt x="3820294" y="3212323"/>
                  <a:pt x="3827110" y="3157011"/>
                  <a:pt x="3809173" y="3109677"/>
                </a:cubicBezTo>
                <a:cubicBezTo>
                  <a:pt x="3859936" y="3110484"/>
                  <a:pt x="3909532" y="3085114"/>
                  <a:pt x="3936618" y="3038049"/>
                </a:cubicBezTo>
                <a:cubicBezTo>
                  <a:pt x="3963882" y="2991074"/>
                  <a:pt x="3961102" y="2935314"/>
                  <a:pt x="3935092" y="2891745"/>
                </a:cubicBezTo>
                <a:cubicBezTo>
                  <a:pt x="3985228" y="2883677"/>
                  <a:pt x="4029623" y="2850149"/>
                  <a:pt x="4048188" y="2799140"/>
                </a:cubicBezTo>
                <a:cubicBezTo>
                  <a:pt x="4066753" y="2748131"/>
                  <a:pt x="4054286" y="2693894"/>
                  <a:pt x="4021102" y="2655525"/>
                </a:cubicBezTo>
                <a:cubicBezTo>
                  <a:pt x="4068995" y="2638940"/>
                  <a:pt x="4106843" y="2598241"/>
                  <a:pt x="4116439" y="2544811"/>
                </a:cubicBezTo>
                <a:cubicBezTo>
                  <a:pt x="4125766" y="2491471"/>
                  <a:pt x="4104152" y="2440014"/>
                  <a:pt x="4064869" y="2408010"/>
                </a:cubicBezTo>
                <a:moveTo>
                  <a:pt x="3814913" y="2491740"/>
                </a:moveTo>
                <a:cubicBezTo>
                  <a:pt x="3807379" y="2535488"/>
                  <a:pt x="3820652" y="2577622"/>
                  <a:pt x="3847021" y="2609178"/>
                </a:cubicBezTo>
                <a:cubicBezTo>
                  <a:pt x="3808455" y="2623252"/>
                  <a:pt x="3775720" y="2653105"/>
                  <a:pt x="3760563" y="2694612"/>
                </a:cubicBezTo>
                <a:cubicBezTo>
                  <a:pt x="3745405" y="2736297"/>
                  <a:pt x="3751145" y="2780135"/>
                  <a:pt x="3771773" y="2815814"/>
                </a:cubicBezTo>
                <a:cubicBezTo>
                  <a:pt x="3731235" y="2822986"/>
                  <a:pt x="3693746" y="2846743"/>
                  <a:pt x="3671593" y="2885112"/>
                </a:cubicBezTo>
                <a:cubicBezTo>
                  <a:pt x="3649530" y="2923570"/>
                  <a:pt x="3647467" y="2967766"/>
                  <a:pt x="3661548" y="3006493"/>
                </a:cubicBezTo>
                <a:cubicBezTo>
                  <a:pt x="3620292" y="3006583"/>
                  <a:pt x="3579485" y="3023437"/>
                  <a:pt x="3550875" y="3057413"/>
                </a:cubicBezTo>
                <a:cubicBezTo>
                  <a:pt x="3522444" y="3091479"/>
                  <a:pt x="3512848" y="3134689"/>
                  <a:pt x="3519933" y="3175120"/>
                </a:cubicBezTo>
                <a:cubicBezTo>
                  <a:pt x="3479395" y="3168038"/>
                  <a:pt x="3436166" y="3177630"/>
                  <a:pt x="3402085" y="3206138"/>
                </a:cubicBezTo>
                <a:cubicBezTo>
                  <a:pt x="3368094" y="3234824"/>
                  <a:pt x="3351143" y="3275614"/>
                  <a:pt x="3351143" y="3316762"/>
                </a:cubicBezTo>
                <a:cubicBezTo>
                  <a:pt x="3312398" y="3302777"/>
                  <a:pt x="3268182" y="3304660"/>
                  <a:pt x="3229617" y="3326892"/>
                </a:cubicBezTo>
                <a:cubicBezTo>
                  <a:pt x="3191231" y="3348945"/>
                  <a:pt x="3167464" y="3386418"/>
                  <a:pt x="3160200" y="3426849"/>
                </a:cubicBezTo>
                <a:cubicBezTo>
                  <a:pt x="3124415" y="3406409"/>
                  <a:pt x="3080648" y="3400582"/>
                  <a:pt x="3038764" y="3415822"/>
                </a:cubicBezTo>
                <a:cubicBezTo>
                  <a:pt x="2997150" y="3430972"/>
                  <a:pt x="2967284" y="3463604"/>
                  <a:pt x="2953024" y="3502242"/>
                </a:cubicBezTo>
                <a:cubicBezTo>
                  <a:pt x="2921364" y="3475886"/>
                  <a:pt x="2879301" y="3462528"/>
                  <a:pt x="2835444" y="3470238"/>
                </a:cubicBezTo>
                <a:cubicBezTo>
                  <a:pt x="2791857" y="3477948"/>
                  <a:pt x="2756699" y="3504842"/>
                  <a:pt x="2735982" y="3540521"/>
                </a:cubicBezTo>
                <a:cubicBezTo>
                  <a:pt x="2709435" y="3509055"/>
                  <a:pt x="2670242" y="3488526"/>
                  <a:pt x="2625757" y="3488526"/>
                </a:cubicBezTo>
                <a:cubicBezTo>
                  <a:pt x="2581452" y="3488526"/>
                  <a:pt x="2542169" y="3508965"/>
                  <a:pt x="2515711" y="3540342"/>
                </a:cubicBezTo>
                <a:cubicBezTo>
                  <a:pt x="2494994" y="3504662"/>
                  <a:pt x="2459926" y="3477768"/>
                  <a:pt x="2416159" y="3470148"/>
                </a:cubicBezTo>
                <a:cubicBezTo>
                  <a:pt x="2372482" y="3462349"/>
                  <a:pt x="2330239" y="3475706"/>
                  <a:pt x="2298580" y="3502062"/>
                </a:cubicBezTo>
                <a:cubicBezTo>
                  <a:pt x="2284499" y="3463424"/>
                  <a:pt x="2254544" y="3430793"/>
                  <a:pt x="2212839" y="3415732"/>
                </a:cubicBezTo>
                <a:cubicBezTo>
                  <a:pt x="2171225" y="3400492"/>
                  <a:pt x="2127368" y="3406230"/>
                  <a:pt x="2091583" y="3426669"/>
                </a:cubicBezTo>
                <a:cubicBezTo>
                  <a:pt x="2084408" y="3386149"/>
                  <a:pt x="2060551" y="3348945"/>
                  <a:pt x="2022076" y="3326802"/>
                </a:cubicBezTo>
                <a:cubicBezTo>
                  <a:pt x="1983690" y="3304570"/>
                  <a:pt x="1939474" y="3302687"/>
                  <a:pt x="1900819" y="3316583"/>
                </a:cubicBezTo>
                <a:cubicBezTo>
                  <a:pt x="1900730" y="3275524"/>
                  <a:pt x="1883869" y="3234556"/>
                  <a:pt x="1849788" y="3206048"/>
                </a:cubicBezTo>
                <a:cubicBezTo>
                  <a:pt x="1815797" y="3177630"/>
                  <a:pt x="1772568" y="3167948"/>
                  <a:pt x="1731940" y="3175030"/>
                </a:cubicBezTo>
                <a:cubicBezTo>
                  <a:pt x="1739114" y="3134420"/>
                  <a:pt x="1729518" y="3091300"/>
                  <a:pt x="1700908" y="3057323"/>
                </a:cubicBezTo>
                <a:cubicBezTo>
                  <a:pt x="1672387" y="3023347"/>
                  <a:pt x="1631580" y="3006493"/>
                  <a:pt x="1590414" y="3006404"/>
                </a:cubicBezTo>
                <a:cubicBezTo>
                  <a:pt x="1604405" y="2967587"/>
                  <a:pt x="1602432" y="2923480"/>
                  <a:pt x="1580279" y="2885022"/>
                </a:cubicBezTo>
                <a:cubicBezTo>
                  <a:pt x="1558127" y="2846563"/>
                  <a:pt x="1520817" y="2822807"/>
                  <a:pt x="1480279" y="2815635"/>
                </a:cubicBezTo>
                <a:cubicBezTo>
                  <a:pt x="1500817" y="2780045"/>
                  <a:pt x="1506467" y="2736297"/>
                  <a:pt x="1491220" y="2694612"/>
                </a:cubicBezTo>
                <a:cubicBezTo>
                  <a:pt x="1476153" y="2653015"/>
                  <a:pt x="1443507" y="2623163"/>
                  <a:pt x="1404852" y="2609088"/>
                </a:cubicBezTo>
                <a:cubicBezTo>
                  <a:pt x="1431310" y="2577532"/>
                  <a:pt x="1444583" y="2535398"/>
                  <a:pt x="1436781" y="2491740"/>
                </a:cubicBezTo>
                <a:cubicBezTo>
                  <a:pt x="1429157" y="2448082"/>
                  <a:pt x="1402162" y="2413030"/>
                  <a:pt x="1366646" y="2392322"/>
                </a:cubicBezTo>
                <a:cubicBezTo>
                  <a:pt x="1398126" y="2365786"/>
                  <a:pt x="1418574" y="2326610"/>
                  <a:pt x="1418484" y="2282235"/>
                </a:cubicBezTo>
                <a:cubicBezTo>
                  <a:pt x="1418484" y="2237860"/>
                  <a:pt x="1398126" y="2198684"/>
                  <a:pt x="1366646" y="2172059"/>
                </a:cubicBezTo>
                <a:cubicBezTo>
                  <a:pt x="1402341" y="2151440"/>
                  <a:pt x="1429247" y="2116388"/>
                  <a:pt x="1436960" y="2072640"/>
                </a:cubicBezTo>
                <a:cubicBezTo>
                  <a:pt x="1444673" y="2028892"/>
                  <a:pt x="1431399" y="1986758"/>
                  <a:pt x="1404942" y="1955202"/>
                </a:cubicBezTo>
                <a:cubicBezTo>
                  <a:pt x="1443686" y="1941038"/>
                  <a:pt x="1476243" y="1911096"/>
                  <a:pt x="1491579" y="1869500"/>
                </a:cubicBezTo>
                <a:cubicBezTo>
                  <a:pt x="1506736" y="1827814"/>
                  <a:pt x="1500907" y="1783887"/>
                  <a:pt x="1480368" y="1748207"/>
                </a:cubicBezTo>
                <a:cubicBezTo>
                  <a:pt x="1520907" y="1741036"/>
                  <a:pt x="1558216" y="1717190"/>
                  <a:pt x="1580369" y="1678821"/>
                </a:cubicBezTo>
                <a:cubicBezTo>
                  <a:pt x="1602522" y="1640362"/>
                  <a:pt x="1604405" y="1596166"/>
                  <a:pt x="1590503" y="1557528"/>
                </a:cubicBezTo>
                <a:cubicBezTo>
                  <a:pt x="1631670" y="1557438"/>
                  <a:pt x="1672567" y="1540495"/>
                  <a:pt x="1701087" y="1506519"/>
                </a:cubicBezTo>
                <a:cubicBezTo>
                  <a:pt x="1729608" y="1472453"/>
                  <a:pt x="1739204" y="1429333"/>
                  <a:pt x="1732029" y="1388812"/>
                </a:cubicBezTo>
                <a:cubicBezTo>
                  <a:pt x="1772568" y="1395894"/>
                  <a:pt x="1815797" y="1386302"/>
                  <a:pt x="1849877" y="1357794"/>
                </a:cubicBezTo>
                <a:cubicBezTo>
                  <a:pt x="1883869" y="1329287"/>
                  <a:pt x="1900730" y="1288408"/>
                  <a:pt x="1900819" y="1247260"/>
                </a:cubicBezTo>
                <a:cubicBezTo>
                  <a:pt x="1939564" y="1261244"/>
                  <a:pt x="1983690" y="1259362"/>
                  <a:pt x="2022165" y="1237130"/>
                </a:cubicBezTo>
                <a:cubicBezTo>
                  <a:pt x="2060641" y="1214987"/>
                  <a:pt x="2084318" y="1177693"/>
                  <a:pt x="2091673" y="1137173"/>
                </a:cubicBezTo>
                <a:cubicBezTo>
                  <a:pt x="2127368" y="1157702"/>
                  <a:pt x="2171225" y="1163440"/>
                  <a:pt x="2212929" y="1148289"/>
                </a:cubicBezTo>
                <a:cubicBezTo>
                  <a:pt x="2254544" y="1133139"/>
                  <a:pt x="2284499" y="1100507"/>
                  <a:pt x="2298490" y="1061959"/>
                </a:cubicBezTo>
                <a:cubicBezTo>
                  <a:pt x="2330150" y="1088315"/>
                  <a:pt x="2372392" y="1101583"/>
                  <a:pt x="2416070" y="1093873"/>
                </a:cubicBezTo>
                <a:cubicBezTo>
                  <a:pt x="2459747" y="1086164"/>
                  <a:pt x="2494904" y="1059270"/>
                  <a:pt x="2515532" y="1023590"/>
                </a:cubicBezTo>
                <a:cubicBezTo>
                  <a:pt x="2542079" y="1055146"/>
                  <a:pt x="2581272" y="1075496"/>
                  <a:pt x="2625667" y="1075496"/>
                </a:cubicBezTo>
                <a:cubicBezTo>
                  <a:pt x="2670062" y="1075496"/>
                  <a:pt x="2709345" y="1055056"/>
                  <a:pt x="2735892" y="1023590"/>
                </a:cubicBezTo>
                <a:cubicBezTo>
                  <a:pt x="2756699" y="1059090"/>
                  <a:pt x="2791767" y="1085895"/>
                  <a:pt x="2835355" y="1093784"/>
                </a:cubicBezTo>
                <a:cubicBezTo>
                  <a:pt x="2879122" y="1101314"/>
                  <a:pt x="2921274" y="1088046"/>
                  <a:pt x="2952934" y="1061690"/>
                </a:cubicBezTo>
                <a:cubicBezTo>
                  <a:pt x="2967104" y="1100328"/>
                  <a:pt x="2996970" y="1132960"/>
                  <a:pt x="3038674" y="1148200"/>
                </a:cubicBezTo>
                <a:cubicBezTo>
                  <a:pt x="3080558" y="1163260"/>
                  <a:pt x="3124325" y="1157523"/>
                  <a:pt x="3160110" y="1136994"/>
                </a:cubicBezTo>
                <a:cubicBezTo>
                  <a:pt x="3167285" y="1177514"/>
                  <a:pt x="3191142" y="1214807"/>
                  <a:pt x="3229528" y="1237040"/>
                </a:cubicBezTo>
                <a:cubicBezTo>
                  <a:pt x="3268093" y="1259093"/>
                  <a:pt x="3312219" y="1261065"/>
                  <a:pt x="3351053" y="1247170"/>
                </a:cubicBezTo>
                <a:cubicBezTo>
                  <a:pt x="3351053" y="1288228"/>
                  <a:pt x="3368004" y="1329107"/>
                  <a:pt x="3401995" y="1357794"/>
                </a:cubicBezTo>
                <a:cubicBezTo>
                  <a:pt x="3435986" y="1386213"/>
                  <a:pt x="3479215" y="1395805"/>
                  <a:pt x="3519844" y="1388812"/>
                </a:cubicBezTo>
                <a:cubicBezTo>
                  <a:pt x="3512758" y="1429243"/>
                  <a:pt x="3522355" y="1472453"/>
                  <a:pt x="3550785" y="1506519"/>
                </a:cubicBezTo>
                <a:cubicBezTo>
                  <a:pt x="3579395" y="1540495"/>
                  <a:pt x="3620382" y="1557349"/>
                  <a:pt x="3661548" y="1557438"/>
                </a:cubicBezTo>
                <a:cubicBezTo>
                  <a:pt x="3647378" y="1596076"/>
                  <a:pt x="3649441" y="1640272"/>
                  <a:pt x="3671503" y="1678821"/>
                </a:cubicBezTo>
                <a:cubicBezTo>
                  <a:pt x="3693746" y="1717190"/>
                  <a:pt x="3731145" y="1740946"/>
                  <a:pt x="3771684" y="1748207"/>
                </a:cubicBezTo>
                <a:cubicBezTo>
                  <a:pt x="3751056" y="1783887"/>
                  <a:pt x="3745316" y="1827635"/>
                  <a:pt x="3760473" y="1869410"/>
                </a:cubicBezTo>
                <a:cubicBezTo>
                  <a:pt x="3775630" y="1911096"/>
                  <a:pt x="3808365" y="1940949"/>
                  <a:pt x="3846931" y="1955202"/>
                </a:cubicBezTo>
                <a:cubicBezTo>
                  <a:pt x="3820563" y="1986758"/>
                  <a:pt x="3807289" y="2028803"/>
                  <a:pt x="3814823" y="2072550"/>
                </a:cubicBezTo>
                <a:cubicBezTo>
                  <a:pt x="3822626" y="2116298"/>
                  <a:pt x="3849621" y="2151350"/>
                  <a:pt x="3885227" y="2171969"/>
                </a:cubicBezTo>
                <a:cubicBezTo>
                  <a:pt x="3853836" y="2198505"/>
                  <a:pt x="3833298" y="2237680"/>
                  <a:pt x="3833209" y="2282056"/>
                </a:cubicBezTo>
                <a:cubicBezTo>
                  <a:pt x="3833298" y="2326431"/>
                  <a:pt x="3853836" y="2365696"/>
                  <a:pt x="3885227" y="2392232"/>
                </a:cubicBezTo>
                <a:cubicBezTo>
                  <a:pt x="3849890" y="2413030"/>
                  <a:pt x="3822895" y="2447992"/>
                  <a:pt x="3814913" y="2491740"/>
                </a:cubicBezTo>
                <a:moveTo>
                  <a:pt x="1648441" y="3620755"/>
                </a:moveTo>
                <a:cubicBezTo>
                  <a:pt x="1648441" y="3701796"/>
                  <a:pt x="1582701" y="3767597"/>
                  <a:pt x="1501624" y="3767597"/>
                </a:cubicBezTo>
                <a:cubicBezTo>
                  <a:pt x="1420547" y="3767597"/>
                  <a:pt x="1354717" y="3701886"/>
                  <a:pt x="1354717" y="3620755"/>
                </a:cubicBezTo>
                <a:cubicBezTo>
                  <a:pt x="1354717" y="3539714"/>
                  <a:pt x="1420547" y="3473913"/>
                  <a:pt x="1501624" y="3473913"/>
                </a:cubicBezTo>
                <a:cubicBezTo>
                  <a:pt x="1582701" y="3473913"/>
                  <a:pt x="1648441" y="3539714"/>
                  <a:pt x="1648441" y="3620755"/>
                </a:cubicBezTo>
                <a:moveTo>
                  <a:pt x="1433373" y="3405871"/>
                </a:moveTo>
                <a:cubicBezTo>
                  <a:pt x="1433373" y="3487002"/>
                  <a:pt x="1367632" y="3552713"/>
                  <a:pt x="1286555" y="3552713"/>
                </a:cubicBezTo>
                <a:cubicBezTo>
                  <a:pt x="1205479" y="3552713"/>
                  <a:pt x="1139738" y="3487002"/>
                  <a:pt x="1139738" y="3405871"/>
                </a:cubicBezTo>
                <a:cubicBezTo>
                  <a:pt x="1139738" y="3324830"/>
                  <a:pt x="1205479" y="3259119"/>
                  <a:pt x="1286555" y="3259119"/>
                </a:cubicBezTo>
                <a:cubicBezTo>
                  <a:pt x="1367632" y="3259119"/>
                  <a:pt x="1433373" y="3324830"/>
                  <a:pt x="1433373" y="3405871"/>
                </a:cubicBezTo>
                <a:moveTo>
                  <a:pt x="1258304" y="3155666"/>
                </a:moveTo>
                <a:cubicBezTo>
                  <a:pt x="1258304" y="3236707"/>
                  <a:pt x="1192564" y="3302418"/>
                  <a:pt x="1111487" y="3302418"/>
                </a:cubicBezTo>
                <a:cubicBezTo>
                  <a:pt x="1030410" y="3302418"/>
                  <a:pt x="964670" y="3236707"/>
                  <a:pt x="964670" y="3155666"/>
                </a:cubicBezTo>
                <a:cubicBezTo>
                  <a:pt x="964670" y="3074625"/>
                  <a:pt x="1030410" y="3008824"/>
                  <a:pt x="1111487" y="3008824"/>
                </a:cubicBezTo>
                <a:cubicBezTo>
                  <a:pt x="1192564" y="3008914"/>
                  <a:pt x="1258304" y="3074625"/>
                  <a:pt x="1258304" y="3155666"/>
                </a:cubicBezTo>
                <a:moveTo>
                  <a:pt x="1129514" y="2879553"/>
                </a:moveTo>
                <a:cubicBezTo>
                  <a:pt x="1129514" y="2960684"/>
                  <a:pt x="1063774" y="3026395"/>
                  <a:pt x="982697" y="3026395"/>
                </a:cubicBezTo>
                <a:cubicBezTo>
                  <a:pt x="901620" y="3026395"/>
                  <a:pt x="835880" y="2960594"/>
                  <a:pt x="835880" y="2879553"/>
                </a:cubicBezTo>
                <a:cubicBezTo>
                  <a:pt x="835880" y="2798512"/>
                  <a:pt x="901620" y="2732891"/>
                  <a:pt x="982697" y="2732891"/>
                </a:cubicBezTo>
                <a:cubicBezTo>
                  <a:pt x="1063774" y="2732891"/>
                  <a:pt x="1129514" y="2798512"/>
                  <a:pt x="1129514" y="2879553"/>
                </a:cubicBezTo>
                <a:moveTo>
                  <a:pt x="1050590" y="2585511"/>
                </a:moveTo>
                <a:cubicBezTo>
                  <a:pt x="1050590" y="2666552"/>
                  <a:pt x="984849" y="2732353"/>
                  <a:pt x="903862" y="2732353"/>
                </a:cubicBezTo>
                <a:cubicBezTo>
                  <a:pt x="822786" y="2732353"/>
                  <a:pt x="756956" y="2666552"/>
                  <a:pt x="756956" y="2585511"/>
                </a:cubicBezTo>
                <a:cubicBezTo>
                  <a:pt x="756956" y="2504470"/>
                  <a:pt x="822786" y="2438759"/>
                  <a:pt x="903862" y="2438759"/>
                </a:cubicBezTo>
                <a:cubicBezTo>
                  <a:pt x="984849" y="2438759"/>
                  <a:pt x="1050590" y="2504470"/>
                  <a:pt x="1050590" y="2585511"/>
                </a:cubicBezTo>
                <a:moveTo>
                  <a:pt x="1024042" y="2282145"/>
                </a:moveTo>
                <a:cubicBezTo>
                  <a:pt x="1024042" y="2363186"/>
                  <a:pt x="958302" y="2428987"/>
                  <a:pt x="877315" y="2428987"/>
                </a:cubicBezTo>
                <a:cubicBezTo>
                  <a:pt x="796149" y="2428987"/>
                  <a:pt x="730408" y="2363276"/>
                  <a:pt x="730408" y="2282145"/>
                </a:cubicBezTo>
                <a:cubicBezTo>
                  <a:pt x="730408" y="2201015"/>
                  <a:pt x="796238" y="2135393"/>
                  <a:pt x="877315" y="2135393"/>
                </a:cubicBezTo>
                <a:cubicBezTo>
                  <a:pt x="958302" y="2135303"/>
                  <a:pt x="1024042" y="2201015"/>
                  <a:pt x="1024042" y="2282145"/>
                </a:cubicBezTo>
                <a:moveTo>
                  <a:pt x="1050590" y="1978511"/>
                </a:moveTo>
                <a:cubicBezTo>
                  <a:pt x="1050590" y="2059641"/>
                  <a:pt x="984849" y="2125353"/>
                  <a:pt x="903862" y="2125353"/>
                </a:cubicBezTo>
                <a:cubicBezTo>
                  <a:pt x="822786" y="2125353"/>
                  <a:pt x="756956" y="2059641"/>
                  <a:pt x="756956" y="1978511"/>
                </a:cubicBezTo>
                <a:cubicBezTo>
                  <a:pt x="756956" y="1897470"/>
                  <a:pt x="822786" y="1831759"/>
                  <a:pt x="903862" y="1831759"/>
                </a:cubicBezTo>
                <a:cubicBezTo>
                  <a:pt x="984849" y="1831759"/>
                  <a:pt x="1050590" y="1897470"/>
                  <a:pt x="1050590" y="1978511"/>
                </a:cubicBezTo>
                <a:moveTo>
                  <a:pt x="1129514" y="1684199"/>
                </a:moveTo>
                <a:cubicBezTo>
                  <a:pt x="1129514" y="1765330"/>
                  <a:pt x="1063774" y="1831041"/>
                  <a:pt x="982697" y="1831041"/>
                </a:cubicBezTo>
                <a:cubicBezTo>
                  <a:pt x="901620" y="1831041"/>
                  <a:pt x="835880" y="1765330"/>
                  <a:pt x="835880" y="1684199"/>
                </a:cubicBezTo>
                <a:cubicBezTo>
                  <a:pt x="835880" y="1603159"/>
                  <a:pt x="901620" y="1537447"/>
                  <a:pt x="982697" y="1537447"/>
                </a:cubicBezTo>
                <a:cubicBezTo>
                  <a:pt x="1063774" y="1537447"/>
                  <a:pt x="1129514" y="1603159"/>
                  <a:pt x="1129514" y="1684199"/>
                </a:cubicBezTo>
                <a:moveTo>
                  <a:pt x="1258304" y="1408086"/>
                </a:moveTo>
                <a:cubicBezTo>
                  <a:pt x="1258304" y="1489217"/>
                  <a:pt x="1192564" y="1554928"/>
                  <a:pt x="1111487" y="1554928"/>
                </a:cubicBezTo>
                <a:cubicBezTo>
                  <a:pt x="1030410" y="1554928"/>
                  <a:pt x="964670" y="1489217"/>
                  <a:pt x="964670" y="1408086"/>
                </a:cubicBezTo>
                <a:cubicBezTo>
                  <a:pt x="964670" y="1327046"/>
                  <a:pt x="1030410" y="1261334"/>
                  <a:pt x="1111487" y="1261334"/>
                </a:cubicBezTo>
                <a:cubicBezTo>
                  <a:pt x="1192564" y="1261334"/>
                  <a:pt x="1258304" y="1327046"/>
                  <a:pt x="1258304" y="1408086"/>
                </a:cubicBezTo>
                <a:moveTo>
                  <a:pt x="1433373" y="1158509"/>
                </a:moveTo>
                <a:cubicBezTo>
                  <a:pt x="1433373" y="1239550"/>
                  <a:pt x="1367632" y="1305261"/>
                  <a:pt x="1286555" y="1305261"/>
                </a:cubicBezTo>
                <a:cubicBezTo>
                  <a:pt x="1205479" y="1305261"/>
                  <a:pt x="1139738" y="1239550"/>
                  <a:pt x="1139738" y="1158509"/>
                </a:cubicBezTo>
                <a:cubicBezTo>
                  <a:pt x="1139738" y="1077378"/>
                  <a:pt x="1205479" y="1011757"/>
                  <a:pt x="1286555" y="1011757"/>
                </a:cubicBezTo>
                <a:cubicBezTo>
                  <a:pt x="1367632" y="1011757"/>
                  <a:pt x="1433373" y="1077378"/>
                  <a:pt x="1433373" y="1158509"/>
                </a:cubicBezTo>
                <a:moveTo>
                  <a:pt x="2772933" y="534117"/>
                </a:moveTo>
                <a:cubicBezTo>
                  <a:pt x="2772933" y="615158"/>
                  <a:pt x="2707192" y="680869"/>
                  <a:pt x="2626116" y="680869"/>
                </a:cubicBezTo>
                <a:cubicBezTo>
                  <a:pt x="2545039" y="680869"/>
                  <a:pt x="2479299" y="615158"/>
                  <a:pt x="2479299" y="534117"/>
                </a:cubicBezTo>
                <a:cubicBezTo>
                  <a:pt x="2479299" y="453076"/>
                  <a:pt x="2545129" y="387275"/>
                  <a:pt x="2626116" y="387275"/>
                </a:cubicBezTo>
                <a:cubicBezTo>
                  <a:pt x="2707192" y="387275"/>
                  <a:pt x="2772933" y="452987"/>
                  <a:pt x="2772933" y="534117"/>
                </a:cubicBezTo>
                <a:moveTo>
                  <a:pt x="3076612" y="560384"/>
                </a:moveTo>
                <a:cubicBezTo>
                  <a:pt x="3076612" y="641425"/>
                  <a:pt x="3010872" y="707136"/>
                  <a:pt x="2929705" y="707136"/>
                </a:cubicBezTo>
                <a:cubicBezTo>
                  <a:pt x="2848628" y="707136"/>
                  <a:pt x="2782798" y="641425"/>
                  <a:pt x="2782798" y="560384"/>
                </a:cubicBezTo>
                <a:cubicBezTo>
                  <a:pt x="2782798" y="479343"/>
                  <a:pt x="2848628" y="413542"/>
                  <a:pt x="2929705" y="413542"/>
                </a:cubicBezTo>
                <a:cubicBezTo>
                  <a:pt x="3010872" y="413632"/>
                  <a:pt x="3076612" y="479343"/>
                  <a:pt x="3076612" y="560384"/>
                </a:cubicBezTo>
                <a:moveTo>
                  <a:pt x="3897514" y="942908"/>
                </a:moveTo>
                <a:cubicBezTo>
                  <a:pt x="3897514" y="1023949"/>
                  <a:pt x="3831774" y="1089750"/>
                  <a:pt x="3750607" y="1089750"/>
                </a:cubicBezTo>
                <a:cubicBezTo>
                  <a:pt x="3669620" y="1089750"/>
                  <a:pt x="3603790" y="1024038"/>
                  <a:pt x="3603790" y="942908"/>
                </a:cubicBezTo>
                <a:cubicBezTo>
                  <a:pt x="3603790" y="861867"/>
                  <a:pt x="3669620" y="796066"/>
                  <a:pt x="3750607" y="796066"/>
                </a:cubicBezTo>
                <a:cubicBezTo>
                  <a:pt x="3831774" y="796156"/>
                  <a:pt x="3897514" y="861867"/>
                  <a:pt x="3897514" y="942908"/>
                </a:cubicBezTo>
                <a:moveTo>
                  <a:pt x="4112672" y="1158509"/>
                </a:moveTo>
                <a:cubicBezTo>
                  <a:pt x="4112672" y="1239550"/>
                  <a:pt x="4046932" y="1305261"/>
                  <a:pt x="3965855" y="1305261"/>
                </a:cubicBezTo>
                <a:cubicBezTo>
                  <a:pt x="3884778" y="1305261"/>
                  <a:pt x="3819128" y="1239550"/>
                  <a:pt x="3819128" y="1158509"/>
                </a:cubicBezTo>
                <a:cubicBezTo>
                  <a:pt x="3819128" y="1077378"/>
                  <a:pt x="3884868" y="1011757"/>
                  <a:pt x="3965855" y="1011757"/>
                </a:cubicBezTo>
                <a:cubicBezTo>
                  <a:pt x="4046932" y="1011757"/>
                  <a:pt x="4112672" y="1077378"/>
                  <a:pt x="4112672" y="1158509"/>
                </a:cubicBezTo>
                <a:moveTo>
                  <a:pt x="4286216" y="1408086"/>
                </a:moveTo>
                <a:cubicBezTo>
                  <a:pt x="4286216" y="1489217"/>
                  <a:pt x="4220386" y="1554928"/>
                  <a:pt x="4139399" y="1554928"/>
                </a:cubicBezTo>
                <a:cubicBezTo>
                  <a:pt x="4058322" y="1554928"/>
                  <a:pt x="3992492" y="1489217"/>
                  <a:pt x="3992492" y="1408086"/>
                </a:cubicBezTo>
                <a:cubicBezTo>
                  <a:pt x="3992492" y="1327046"/>
                  <a:pt x="4058322" y="1261334"/>
                  <a:pt x="4139399" y="1261334"/>
                </a:cubicBezTo>
                <a:cubicBezTo>
                  <a:pt x="4220386" y="1261334"/>
                  <a:pt x="4286216" y="1327046"/>
                  <a:pt x="4286216" y="1408086"/>
                </a:cubicBezTo>
                <a:moveTo>
                  <a:pt x="4416441" y="1684199"/>
                </a:moveTo>
                <a:cubicBezTo>
                  <a:pt x="4416441" y="1765330"/>
                  <a:pt x="4350701" y="1831041"/>
                  <a:pt x="4269624" y="1831041"/>
                </a:cubicBezTo>
                <a:cubicBezTo>
                  <a:pt x="4188547" y="1831041"/>
                  <a:pt x="4122896" y="1765330"/>
                  <a:pt x="4122896" y="1684199"/>
                </a:cubicBezTo>
                <a:cubicBezTo>
                  <a:pt x="4122896" y="1603159"/>
                  <a:pt x="4188547" y="1537447"/>
                  <a:pt x="4269624" y="1537447"/>
                </a:cubicBezTo>
                <a:cubicBezTo>
                  <a:pt x="4350701" y="1537447"/>
                  <a:pt x="4416441" y="1603159"/>
                  <a:pt x="4416441" y="1684199"/>
                </a:cubicBezTo>
                <a:moveTo>
                  <a:pt x="4495276" y="1978511"/>
                </a:moveTo>
                <a:cubicBezTo>
                  <a:pt x="4495276" y="2059641"/>
                  <a:pt x="4429535" y="2125353"/>
                  <a:pt x="4348459" y="2125353"/>
                </a:cubicBezTo>
                <a:cubicBezTo>
                  <a:pt x="4267382" y="2125353"/>
                  <a:pt x="4201642" y="2059641"/>
                  <a:pt x="4201642" y="1978511"/>
                </a:cubicBezTo>
                <a:cubicBezTo>
                  <a:pt x="4201642" y="1897470"/>
                  <a:pt x="4267382" y="1831759"/>
                  <a:pt x="4348459" y="1831759"/>
                </a:cubicBezTo>
                <a:cubicBezTo>
                  <a:pt x="4429535" y="1831759"/>
                  <a:pt x="4495276" y="1897470"/>
                  <a:pt x="4495276" y="1978511"/>
                </a:cubicBezTo>
                <a:moveTo>
                  <a:pt x="4521913" y="2282145"/>
                </a:moveTo>
                <a:cubicBezTo>
                  <a:pt x="4521913" y="2363186"/>
                  <a:pt x="4456172" y="2428987"/>
                  <a:pt x="4375006" y="2428987"/>
                </a:cubicBezTo>
                <a:cubicBezTo>
                  <a:pt x="4293929" y="2428987"/>
                  <a:pt x="4228099" y="2363276"/>
                  <a:pt x="4228099" y="2282145"/>
                </a:cubicBezTo>
                <a:cubicBezTo>
                  <a:pt x="4228099" y="2201015"/>
                  <a:pt x="4293929" y="2135393"/>
                  <a:pt x="4375006" y="2135393"/>
                </a:cubicBezTo>
                <a:cubicBezTo>
                  <a:pt x="4456172" y="2135303"/>
                  <a:pt x="4521913" y="2201015"/>
                  <a:pt x="4521913" y="2282145"/>
                </a:cubicBezTo>
                <a:moveTo>
                  <a:pt x="4495276" y="2585511"/>
                </a:moveTo>
                <a:cubicBezTo>
                  <a:pt x="4495276" y="2666552"/>
                  <a:pt x="4429535" y="2732353"/>
                  <a:pt x="4348459" y="2732353"/>
                </a:cubicBezTo>
                <a:cubicBezTo>
                  <a:pt x="4267382" y="2732353"/>
                  <a:pt x="4201642" y="2666552"/>
                  <a:pt x="4201642" y="2585511"/>
                </a:cubicBezTo>
                <a:cubicBezTo>
                  <a:pt x="4201642" y="2504470"/>
                  <a:pt x="4267382" y="2438759"/>
                  <a:pt x="4348459" y="2438759"/>
                </a:cubicBezTo>
                <a:cubicBezTo>
                  <a:pt x="4429535" y="2438759"/>
                  <a:pt x="4495276" y="2504470"/>
                  <a:pt x="4495276" y="2585511"/>
                </a:cubicBezTo>
                <a:moveTo>
                  <a:pt x="4416352" y="2879553"/>
                </a:moveTo>
                <a:cubicBezTo>
                  <a:pt x="4416352" y="2960684"/>
                  <a:pt x="4350611" y="3026395"/>
                  <a:pt x="4269624" y="3026395"/>
                </a:cubicBezTo>
                <a:cubicBezTo>
                  <a:pt x="4188457" y="3026395"/>
                  <a:pt x="4122628" y="2960594"/>
                  <a:pt x="4122628" y="2879553"/>
                </a:cubicBezTo>
                <a:cubicBezTo>
                  <a:pt x="4122628" y="2798512"/>
                  <a:pt x="4188457" y="2732891"/>
                  <a:pt x="4269624" y="2732891"/>
                </a:cubicBezTo>
                <a:cubicBezTo>
                  <a:pt x="4350701" y="2732891"/>
                  <a:pt x="4416352" y="2798512"/>
                  <a:pt x="4416352" y="2879553"/>
                </a:cubicBezTo>
                <a:moveTo>
                  <a:pt x="4287562" y="3155666"/>
                </a:moveTo>
                <a:cubicBezTo>
                  <a:pt x="4287562" y="3236707"/>
                  <a:pt x="4221911" y="3302418"/>
                  <a:pt x="4140744" y="3302418"/>
                </a:cubicBezTo>
                <a:cubicBezTo>
                  <a:pt x="4059757" y="3302418"/>
                  <a:pt x="3993927" y="3236707"/>
                  <a:pt x="3993927" y="3155666"/>
                </a:cubicBezTo>
                <a:cubicBezTo>
                  <a:pt x="3993927" y="3074625"/>
                  <a:pt x="4059757" y="3008824"/>
                  <a:pt x="4140744" y="3008824"/>
                </a:cubicBezTo>
                <a:cubicBezTo>
                  <a:pt x="4221911" y="3008914"/>
                  <a:pt x="4287562" y="3074625"/>
                  <a:pt x="4287562" y="3155666"/>
                </a:cubicBezTo>
                <a:moveTo>
                  <a:pt x="4112672" y="3405244"/>
                </a:moveTo>
                <a:cubicBezTo>
                  <a:pt x="4112672" y="3486285"/>
                  <a:pt x="4046932" y="3551996"/>
                  <a:pt x="3965855" y="3551996"/>
                </a:cubicBezTo>
                <a:cubicBezTo>
                  <a:pt x="3884778" y="3551996"/>
                  <a:pt x="3819038" y="3486285"/>
                  <a:pt x="3819038" y="3405244"/>
                </a:cubicBezTo>
                <a:cubicBezTo>
                  <a:pt x="3819038" y="3324113"/>
                  <a:pt x="3884778" y="3258491"/>
                  <a:pt x="3965855" y="3258491"/>
                </a:cubicBezTo>
                <a:cubicBezTo>
                  <a:pt x="4046932" y="3258491"/>
                  <a:pt x="4112672" y="3324203"/>
                  <a:pt x="4112672" y="3405244"/>
                </a:cubicBezTo>
                <a:moveTo>
                  <a:pt x="3897155" y="3620845"/>
                </a:moveTo>
                <a:cubicBezTo>
                  <a:pt x="3897155" y="3701886"/>
                  <a:pt x="3831415" y="3767687"/>
                  <a:pt x="3750338" y="3767687"/>
                </a:cubicBezTo>
                <a:cubicBezTo>
                  <a:pt x="3669261" y="3767687"/>
                  <a:pt x="3603521" y="3701975"/>
                  <a:pt x="3603521" y="3620845"/>
                </a:cubicBezTo>
                <a:cubicBezTo>
                  <a:pt x="3603521" y="3539804"/>
                  <a:pt x="3669261" y="3474003"/>
                  <a:pt x="3750338" y="3474003"/>
                </a:cubicBezTo>
                <a:cubicBezTo>
                  <a:pt x="3831415" y="3474093"/>
                  <a:pt x="3897155" y="3539804"/>
                  <a:pt x="3897155" y="3620845"/>
                </a:cubicBezTo>
                <a:moveTo>
                  <a:pt x="3647378" y="3795656"/>
                </a:moveTo>
                <a:cubicBezTo>
                  <a:pt x="3647378" y="3876698"/>
                  <a:pt x="3581637" y="3942409"/>
                  <a:pt x="3500650" y="3942409"/>
                </a:cubicBezTo>
                <a:cubicBezTo>
                  <a:pt x="3419484" y="3942409"/>
                  <a:pt x="3353744" y="3876698"/>
                  <a:pt x="3353744" y="3795656"/>
                </a:cubicBezTo>
                <a:cubicBezTo>
                  <a:pt x="3353744" y="3714616"/>
                  <a:pt x="3419574" y="3648904"/>
                  <a:pt x="3500650" y="3648904"/>
                </a:cubicBezTo>
                <a:cubicBezTo>
                  <a:pt x="3581727" y="3648904"/>
                  <a:pt x="3647378" y="3714616"/>
                  <a:pt x="3647378" y="3795656"/>
                </a:cubicBezTo>
                <a:moveTo>
                  <a:pt x="3371143" y="3924390"/>
                </a:moveTo>
                <a:cubicBezTo>
                  <a:pt x="3371143" y="4005521"/>
                  <a:pt x="3305403" y="4071231"/>
                  <a:pt x="3224236" y="4071231"/>
                </a:cubicBezTo>
                <a:cubicBezTo>
                  <a:pt x="3143159" y="4071231"/>
                  <a:pt x="3077419" y="4005521"/>
                  <a:pt x="3077419" y="3924390"/>
                </a:cubicBezTo>
                <a:cubicBezTo>
                  <a:pt x="3077419" y="3843349"/>
                  <a:pt x="3143159" y="3777638"/>
                  <a:pt x="3224236" y="3777638"/>
                </a:cubicBezTo>
                <a:cubicBezTo>
                  <a:pt x="3305313" y="3777638"/>
                  <a:pt x="3371143" y="3843349"/>
                  <a:pt x="3371143" y="3924390"/>
                </a:cubicBezTo>
                <a:moveTo>
                  <a:pt x="2469164" y="560653"/>
                </a:moveTo>
                <a:cubicBezTo>
                  <a:pt x="2469164" y="641694"/>
                  <a:pt x="2403424" y="707495"/>
                  <a:pt x="2322347" y="707495"/>
                </a:cubicBezTo>
                <a:cubicBezTo>
                  <a:pt x="2241270" y="707495"/>
                  <a:pt x="2175530" y="641783"/>
                  <a:pt x="2175530" y="560653"/>
                </a:cubicBezTo>
                <a:cubicBezTo>
                  <a:pt x="2175530" y="479612"/>
                  <a:pt x="2241270" y="413901"/>
                  <a:pt x="2322347" y="413901"/>
                </a:cubicBezTo>
                <a:cubicBezTo>
                  <a:pt x="2403424" y="413901"/>
                  <a:pt x="2469164" y="479522"/>
                  <a:pt x="2469164" y="560653"/>
                </a:cubicBezTo>
                <a:moveTo>
                  <a:pt x="1115433" y="3655000"/>
                </a:moveTo>
                <a:cubicBezTo>
                  <a:pt x="1115433" y="3725015"/>
                  <a:pt x="1058662" y="3781761"/>
                  <a:pt x="988616" y="3781761"/>
                </a:cubicBezTo>
                <a:cubicBezTo>
                  <a:pt x="918571" y="3781761"/>
                  <a:pt x="861799" y="3725015"/>
                  <a:pt x="861799" y="3655000"/>
                </a:cubicBezTo>
                <a:cubicBezTo>
                  <a:pt x="861799" y="3584986"/>
                  <a:pt x="918571" y="3528239"/>
                  <a:pt x="988616" y="3528239"/>
                </a:cubicBezTo>
                <a:cubicBezTo>
                  <a:pt x="1058662" y="3528239"/>
                  <a:pt x="1115433" y="3584986"/>
                  <a:pt x="1115433" y="3655000"/>
                </a:cubicBezTo>
                <a:moveTo>
                  <a:pt x="3821729" y="4132102"/>
                </a:moveTo>
                <a:cubicBezTo>
                  <a:pt x="3821729" y="4202206"/>
                  <a:pt x="3765047" y="4258863"/>
                  <a:pt x="3694912" y="4258863"/>
                </a:cubicBezTo>
                <a:cubicBezTo>
                  <a:pt x="3624867" y="4258863"/>
                  <a:pt x="3568095" y="4202206"/>
                  <a:pt x="3568095" y="4132102"/>
                </a:cubicBezTo>
                <a:cubicBezTo>
                  <a:pt x="3568095" y="4062178"/>
                  <a:pt x="3624867" y="4005341"/>
                  <a:pt x="3694912" y="4005341"/>
                </a:cubicBezTo>
                <a:cubicBezTo>
                  <a:pt x="3764957" y="4005341"/>
                  <a:pt x="3821729" y="4062178"/>
                  <a:pt x="3821729" y="4132102"/>
                </a:cubicBezTo>
                <a:moveTo>
                  <a:pt x="4126932" y="3918473"/>
                </a:moveTo>
                <a:cubicBezTo>
                  <a:pt x="4126932" y="3988487"/>
                  <a:pt x="4070161" y="4045234"/>
                  <a:pt x="4000115" y="4045234"/>
                </a:cubicBezTo>
                <a:cubicBezTo>
                  <a:pt x="3930070" y="4045234"/>
                  <a:pt x="3873299" y="3988398"/>
                  <a:pt x="3873299" y="3918473"/>
                </a:cubicBezTo>
                <a:cubicBezTo>
                  <a:pt x="3873299" y="3848459"/>
                  <a:pt x="3930070" y="3791712"/>
                  <a:pt x="4000115" y="3791712"/>
                </a:cubicBezTo>
                <a:cubicBezTo>
                  <a:pt x="4070161" y="3791712"/>
                  <a:pt x="4126932" y="3848459"/>
                  <a:pt x="4126932" y="3918473"/>
                </a:cubicBezTo>
                <a:moveTo>
                  <a:pt x="4390432" y="3655090"/>
                </a:moveTo>
                <a:cubicBezTo>
                  <a:pt x="4390432" y="3725194"/>
                  <a:pt x="4333571" y="3781851"/>
                  <a:pt x="4263526" y="3781851"/>
                </a:cubicBezTo>
                <a:cubicBezTo>
                  <a:pt x="4193480" y="3781851"/>
                  <a:pt x="4136708" y="3725194"/>
                  <a:pt x="4136708" y="3655090"/>
                </a:cubicBezTo>
                <a:cubicBezTo>
                  <a:pt x="4136708" y="3585165"/>
                  <a:pt x="4193480" y="3528329"/>
                  <a:pt x="4263526" y="3528329"/>
                </a:cubicBezTo>
                <a:cubicBezTo>
                  <a:pt x="4333660" y="3528329"/>
                  <a:pt x="4390432" y="3585165"/>
                  <a:pt x="4390432" y="3655090"/>
                </a:cubicBezTo>
                <a:moveTo>
                  <a:pt x="4604155" y="3350021"/>
                </a:moveTo>
                <a:cubicBezTo>
                  <a:pt x="4604155" y="3420035"/>
                  <a:pt x="4547473" y="3476782"/>
                  <a:pt x="4477338" y="3476782"/>
                </a:cubicBezTo>
                <a:cubicBezTo>
                  <a:pt x="4407293" y="3476782"/>
                  <a:pt x="4350521" y="3420035"/>
                  <a:pt x="4350521" y="3350021"/>
                </a:cubicBezTo>
                <a:cubicBezTo>
                  <a:pt x="4350521" y="3280007"/>
                  <a:pt x="4407293" y="3223350"/>
                  <a:pt x="4477338" y="3223350"/>
                </a:cubicBezTo>
                <a:cubicBezTo>
                  <a:pt x="4547384" y="3223350"/>
                  <a:pt x="4604155" y="3280007"/>
                  <a:pt x="4604155" y="3350021"/>
                </a:cubicBezTo>
                <a:moveTo>
                  <a:pt x="4761555" y="3012500"/>
                </a:moveTo>
                <a:cubicBezTo>
                  <a:pt x="4761555" y="3082604"/>
                  <a:pt x="4704873" y="3139261"/>
                  <a:pt x="4634828" y="3139261"/>
                </a:cubicBezTo>
                <a:cubicBezTo>
                  <a:pt x="4564783" y="3139261"/>
                  <a:pt x="4508011" y="3082604"/>
                  <a:pt x="4508011" y="3012500"/>
                </a:cubicBezTo>
                <a:cubicBezTo>
                  <a:pt x="4508011" y="2942575"/>
                  <a:pt x="4564783" y="2885739"/>
                  <a:pt x="4634828" y="2885739"/>
                </a:cubicBezTo>
                <a:cubicBezTo>
                  <a:pt x="4704873" y="2885649"/>
                  <a:pt x="4761555" y="2942486"/>
                  <a:pt x="4761555" y="3012500"/>
                </a:cubicBezTo>
                <a:moveTo>
                  <a:pt x="4857969" y="2652926"/>
                </a:moveTo>
                <a:cubicBezTo>
                  <a:pt x="4857969" y="2722940"/>
                  <a:pt x="4801197" y="2779686"/>
                  <a:pt x="4731241" y="2779686"/>
                </a:cubicBezTo>
                <a:cubicBezTo>
                  <a:pt x="4661196" y="2779686"/>
                  <a:pt x="4604335" y="2722940"/>
                  <a:pt x="4604335" y="2652926"/>
                </a:cubicBezTo>
                <a:cubicBezTo>
                  <a:pt x="4604335" y="2582911"/>
                  <a:pt x="4661196" y="2526165"/>
                  <a:pt x="4731241" y="2526165"/>
                </a:cubicBezTo>
                <a:cubicBezTo>
                  <a:pt x="4801197" y="2526165"/>
                  <a:pt x="4857969" y="2582911"/>
                  <a:pt x="4857969" y="2652926"/>
                </a:cubicBezTo>
                <a:moveTo>
                  <a:pt x="4890525" y="2282145"/>
                </a:moveTo>
                <a:cubicBezTo>
                  <a:pt x="4890525" y="2352160"/>
                  <a:pt x="4833753" y="2408906"/>
                  <a:pt x="4763708" y="2408906"/>
                </a:cubicBezTo>
                <a:cubicBezTo>
                  <a:pt x="4693573" y="2408906"/>
                  <a:pt x="4636802" y="2352160"/>
                  <a:pt x="4636802" y="2282145"/>
                </a:cubicBezTo>
                <a:cubicBezTo>
                  <a:pt x="4636802" y="2212131"/>
                  <a:pt x="4693663" y="2155384"/>
                  <a:pt x="4763708" y="2155384"/>
                </a:cubicBezTo>
                <a:cubicBezTo>
                  <a:pt x="4833753" y="2155295"/>
                  <a:pt x="4890525" y="2212131"/>
                  <a:pt x="4890525" y="2282145"/>
                </a:cubicBezTo>
                <a:moveTo>
                  <a:pt x="4857969" y="1911006"/>
                </a:moveTo>
                <a:cubicBezTo>
                  <a:pt x="4857969" y="1981021"/>
                  <a:pt x="4801197" y="2037767"/>
                  <a:pt x="4731241" y="2037767"/>
                </a:cubicBezTo>
                <a:cubicBezTo>
                  <a:pt x="4661196" y="2037767"/>
                  <a:pt x="4604335" y="1981021"/>
                  <a:pt x="4604335" y="1911006"/>
                </a:cubicBezTo>
                <a:cubicBezTo>
                  <a:pt x="4604335" y="1840992"/>
                  <a:pt x="4661196" y="1784245"/>
                  <a:pt x="4731241" y="1784245"/>
                </a:cubicBezTo>
                <a:cubicBezTo>
                  <a:pt x="4801197" y="1784335"/>
                  <a:pt x="4857969" y="1840992"/>
                  <a:pt x="4857969" y="1911006"/>
                </a:cubicBezTo>
                <a:moveTo>
                  <a:pt x="4761645" y="1551253"/>
                </a:moveTo>
                <a:cubicBezTo>
                  <a:pt x="4761645" y="1621357"/>
                  <a:pt x="4704873" y="1678014"/>
                  <a:pt x="4634828" y="1678014"/>
                </a:cubicBezTo>
                <a:cubicBezTo>
                  <a:pt x="4564783" y="1678014"/>
                  <a:pt x="4508011" y="1621357"/>
                  <a:pt x="4508011" y="1551253"/>
                </a:cubicBezTo>
                <a:cubicBezTo>
                  <a:pt x="4508011" y="1481238"/>
                  <a:pt x="4564783" y="1424492"/>
                  <a:pt x="4634828" y="1424492"/>
                </a:cubicBezTo>
                <a:cubicBezTo>
                  <a:pt x="4704873" y="1424492"/>
                  <a:pt x="4761645" y="1481328"/>
                  <a:pt x="4761645" y="1551253"/>
                </a:cubicBezTo>
                <a:moveTo>
                  <a:pt x="4604155" y="1213732"/>
                </a:moveTo>
                <a:cubicBezTo>
                  <a:pt x="4604155" y="1283746"/>
                  <a:pt x="4547384" y="1340493"/>
                  <a:pt x="4477338" y="1340493"/>
                </a:cubicBezTo>
                <a:cubicBezTo>
                  <a:pt x="4407293" y="1340493"/>
                  <a:pt x="4350432" y="1283746"/>
                  <a:pt x="4350432" y="1213732"/>
                </a:cubicBezTo>
                <a:cubicBezTo>
                  <a:pt x="4350432" y="1143717"/>
                  <a:pt x="4407293" y="1086971"/>
                  <a:pt x="4477338" y="1086971"/>
                </a:cubicBezTo>
                <a:cubicBezTo>
                  <a:pt x="4547384" y="1087060"/>
                  <a:pt x="4604155" y="1143717"/>
                  <a:pt x="4604155" y="1213732"/>
                </a:cubicBezTo>
                <a:moveTo>
                  <a:pt x="4390432" y="908663"/>
                </a:moveTo>
                <a:cubicBezTo>
                  <a:pt x="4390432" y="978677"/>
                  <a:pt x="4333660" y="1035424"/>
                  <a:pt x="4263615" y="1035424"/>
                </a:cubicBezTo>
                <a:cubicBezTo>
                  <a:pt x="4193659" y="1035424"/>
                  <a:pt x="4136798" y="978677"/>
                  <a:pt x="4136798" y="908663"/>
                </a:cubicBezTo>
                <a:cubicBezTo>
                  <a:pt x="4136798" y="838559"/>
                  <a:pt x="4193659" y="781902"/>
                  <a:pt x="4263615" y="781902"/>
                </a:cubicBezTo>
                <a:cubicBezTo>
                  <a:pt x="4333660" y="781902"/>
                  <a:pt x="4390432" y="838648"/>
                  <a:pt x="4390432" y="908663"/>
                </a:cubicBezTo>
                <a:moveTo>
                  <a:pt x="4127022" y="645369"/>
                </a:moveTo>
                <a:cubicBezTo>
                  <a:pt x="4127022" y="715384"/>
                  <a:pt x="4070340" y="772130"/>
                  <a:pt x="4000205" y="772130"/>
                </a:cubicBezTo>
                <a:cubicBezTo>
                  <a:pt x="3930250" y="772130"/>
                  <a:pt x="3873299" y="715384"/>
                  <a:pt x="3873299" y="645369"/>
                </a:cubicBezTo>
                <a:cubicBezTo>
                  <a:pt x="3873299" y="575355"/>
                  <a:pt x="3930160" y="518608"/>
                  <a:pt x="4000205" y="518608"/>
                </a:cubicBezTo>
                <a:cubicBezTo>
                  <a:pt x="4070340" y="518519"/>
                  <a:pt x="4127022" y="575355"/>
                  <a:pt x="4127022" y="645369"/>
                </a:cubicBezTo>
                <a:moveTo>
                  <a:pt x="3821729" y="431740"/>
                </a:moveTo>
                <a:cubicBezTo>
                  <a:pt x="3821729" y="501755"/>
                  <a:pt x="3765047" y="558501"/>
                  <a:pt x="3694912" y="558501"/>
                </a:cubicBezTo>
                <a:cubicBezTo>
                  <a:pt x="3624867" y="558501"/>
                  <a:pt x="3568095" y="501755"/>
                  <a:pt x="3568095" y="431740"/>
                </a:cubicBezTo>
                <a:cubicBezTo>
                  <a:pt x="3568095" y="361636"/>
                  <a:pt x="3624867" y="304979"/>
                  <a:pt x="3694912" y="304979"/>
                </a:cubicBezTo>
                <a:cubicBezTo>
                  <a:pt x="3764957" y="304890"/>
                  <a:pt x="3821729" y="361636"/>
                  <a:pt x="3821729" y="431740"/>
                </a:cubicBezTo>
                <a:moveTo>
                  <a:pt x="901710" y="3349932"/>
                </a:moveTo>
                <a:cubicBezTo>
                  <a:pt x="901710" y="3419856"/>
                  <a:pt x="845028" y="3476692"/>
                  <a:pt x="774983" y="3476692"/>
                </a:cubicBezTo>
                <a:cubicBezTo>
                  <a:pt x="704937" y="3476692"/>
                  <a:pt x="648076" y="3419856"/>
                  <a:pt x="648076" y="3349932"/>
                </a:cubicBezTo>
                <a:cubicBezTo>
                  <a:pt x="648076" y="3279827"/>
                  <a:pt x="704937" y="3223170"/>
                  <a:pt x="774983" y="3223170"/>
                </a:cubicBezTo>
                <a:cubicBezTo>
                  <a:pt x="845028" y="3223170"/>
                  <a:pt x="901710" y="3279917"/>
                  <a:pt x="901710" y="3349932"/>
                </a:cubicBezTo>
                <a:moveTo>
                  <a:pt x="744310" y="3012321"/>
                </a:moveTo>
                <a:cubicBezTo>
                  <a:pt x="744310" y="3082424"/>
                  <a:pt x="687628" y="3139171"/>
                  <a:pt x="617493" y="3139171"/>
                </a:cubicBezTo>
                <a:cubicBezTo>
                  <a:pt x="547448" y="3139171"/>
                  <a:pt x="490676" y="3082424"/>
                  <a:pt x="490676" y="3012321"/>
                </a:cubicBezTo>
                <a:cubicBezTo>
                  <a:pt x="490676" y="2942306"/>
                  <a:pt x="547358" y="2885560"/>
                  <a:pt x="617493" y="2885560"/>
                </a:cubicBezTo>
                <a:cubicBezTo>
                  <a:pt x="687538" y="2885560"/>
                  <a:pt x="744310" y="2942306"/>
                  <a:pt x="744310" y="3012321"/>
                </a:cubicBezTo>
                <a:moveTo>
                  <a:pt x="647807" y="2652836"/>
                </a:moveTo>
                <a:cubicBezTo>
                  <a:pt x="647807" y="2722850"/>
                  <a:pt x="591035" y="2779686"/>
                  <a:pt x="520990" y="2779686"/>
                </a:cubicBezTo>
                <a:cubicBezTo>
                  <a:pt x="450855" y="2779686"/>
                  <a:pt x="394083" y="2722850"/>
                  <a:pt x="394083" y="2652836"/>
                </a:cubicBezTo>
                <a:cubicBezTo>
                  <a:pt x="394083" y="2582822"/>
                  <a:pt x="450855" y="2526075"/>
                  <a:pt x="520990" y="2526075"/>
                </a:cubicBezTo>
                <a:cubicBezTo>
                  <a:pt x="591035" y="2526075"/>
                  <a:pt x="647807" y="2582822"/>
                  <a:pt x="647807" y="2652836"/>
                </a:cubicBezTo>
                <a:moveTo>
                  <a:pt x="615340" y="2282145"/>
                </a:moveTo>
                <a:cubicBezTo>
                  <a:pt x="615340" y="2352160"/>
                  <a:pt x="558658" y="2408906"/>
                  <a:pt x="488613" y="2408906"/>
                </a:cubicBezTo>
                <a:cubicBezTo>
                  <a:pt x="418568" y="2408906"/>
                  <a:pt x="361796" y="2352160"/>
                  <a:pt x="361796" y="2282145"/>
                </a:cubicBezTo>
                <a:cubicBezTo>
                  <a:pt x="361796" y="2212131"/>
                  <a:pt x="418568" y="2155384"/>
                  <a:pt x="488613" y="2155384"/>
                </a:cubicBezTo>
                <a:cubicBezTo>
                  <a:pt x="558658" y="2155384"/>
                  <a:pt x="615340" y="2212131"/>
                  <a:pt x="615340" y="2282145"/>
                </a:cubicBezTo>
                <a:moveTo>
                  <a:pt x="647807" y="1911096"/>
                </a:moveTo>
                <a:cubicBezTo>
                  <a:pt x="647807" y="1981111"/>
                  <a:pt x="591035" y="2037857"/>
                  <a:pt x="520990" y="2037857"/>
                </a:cubicBezTo>
                <a:cubicBezTo>
                  <a:pt x="450855" y="2037857"/>
                  <a:pt x="394083" y="1981111"/>
                  <a:pt x="394083" y="1911096"/>
                </a:cubicBezTo>
                <a:cubicBezTo>
                  <a:pt x="394083" y="1840992"/>
                  <a:pt x="450855" y="1784335"/>
                  <a:pt x="520990" y="1784335"/>
                </a:cubicBezTo>
                <a:cubicBezTo>
                  <a:pt x="591035" y="1784335"/>
                  <a:pt x="647807" y="1840992"/>
                  <a:pt x="647807" y="1911096"/>
                </a:cubicBezTo>
                <a:moveTo>
                  <a:pt x="744310" y="1551343"/>
                </a:moveTo>
                <a:cubicBezTo>
                  <a:pt x="744310" y="1621357"/>
                  <a:pt x="687628" y="1678103"/>
                  <a:pt x="617493" y="1678103"/>
                </a:cubicBezTo>
                <a:cubicBezTo>
                  <a:pt x="547448" y="1678103"/>
                  <a:pt x="490676" y="1621267"/>
                  <a:pt x="490676" y="1551343"/>
                </a:cubicBezTo>
                <a:cubicBezTo>
                  <a:pt x="490676" y="1481328"/>
                  <a:pt x="547358" y="1424581"/>
                  <a:pt x="617493" y="1424581"/>
                </a:cubicBezTo>
                <a:cubicBezTo>
                  <a:pt x="687538" y="1424581"/>
                  <a:pt x="744310" y="1481328"/>
                  <a:pt x="744310" y="1551343"/>
                </a:cubicBezTo>
                <a:moveTo>
                  <a:pt x="4471060" y="5013422"/>
                </a:moveTo>
                <a:cubicBezTo>
                  <a:pt x="4471060" y="5054212"/>
                  <a:pt x="4438056" y="5087292"/>
                  <a:pt x="4397158" y="5087292"/>
                </a:cubicBezTo>
                <a:cubicBezTo>
                  <a:pt x="4356351" y="5087292"/>
                  <a:pt x="4323257" y="5054212"/>
                  <a:pt x="4323257" y="5013422"/>
                </a:cubicBezTo>
                <a:cubicBezTo>
                  <a:pt x="4323257" y="4972633"/>
                  <a:pt x="4356351" y="4939553"/>
                  <a:pt x="4397158" y="4939553"/>
                </a:cubicBezTo>
                <a:cubicBezTo>
                  <a:pt x="4438056" y="4939553"/>
                  <a:pt x="4471060" y="4972633"/>
                  <a:pt x="4471060" y="5013422"/>
                </a:cubicBezTo>
                <a:moveTo>
                  <a:pt x="4176170" y="5013422"/>
                </a:moveTo>
                <a:cubicBezTo>
                  <a:pt x="4176170" y="5054212"/>
                  <a:pt x="4143076" y="5087292"/>
                  <a:pt x="4102269" y="5087292"/>
                </a:cubicBezTo>
                <a:cubicBezTo>
                  <a:pt x="4061461" y="5087292"/>
                  <a:pt x="4028277" y="5054212"/>
                  <a:pt x="4028277" y="5013422"/>
                </a:cubicBezTo>
                <a:cubicBezTo>
                  <a:pt x="4028277" y="4972633"/>
                  <a:pt x="4061371" y="4939553"/>
                  <a:pt x="4102269" y="4939553"/>
                </a:cubicBezTo>
                <a:cubicBezTo>
                  <a:pt x="4143076" y="4939553"/>
                  <a:pt x="4176170" y="4972633"/>
                  <a:pt x="4176170" y="5013422"/>
                </a:cubicBezTo>
                <a:moveTo>
                  <a:pt x="4359759" y="5256904"/>
                </a:moveTo>
                <a:cubicBezTo>
                  <a:pt x="4359759" y="5297693"/>
                  <a:pt x="4326575" y="5330773"/>
                  <a:pt x="4285858" y="5330773"/>
                </a:cubicBezTo>
                <a:cubicBezTo>
                  <a:pt x="4244960" y="5330773"/>
                  <a:pt x="4211866" y="5297693"/>
                  <a:pt x="4211866" y="5256904"/>
                </a:cubicBezTo>
                <a:cubicBezTo>
                  <a:pt x="4211866" y="5216025"/>
                  <a:pt x="4244960" y="5183035"/>
                  <a:pt x="4285858" y="5183035"/>
                </a:cubicBezTo>
                <a:cubicBezTo>
                  <a:pt x="4326575" y="5183035"/>
                  <a:pt x="4359759" y="5216025"/>
                  <a:pt x="4359759" y="5256904"/>
                </a:cubicBezTo>
                <a:moveTo>
                  <a:pt x="4535007" y="4475092"/>
                </a:moveTo>
                <a:cubicBezTo>
                  <a:pt x="4535007" y="4515881"/>
                  <a:pt x="4502002" y="4548961"/>
                  <a:pt x="4461105" y="4548961"/>
                </a:cubicBezTo>
                <a:cubicBezTo>
                  <a:pt x="4420298" y="4548961"/>
                  <a:pt x="4387203" y="4515881"/>
                  <a:pt x="4387203" y="4475092"/>
                </a:cubicBezTo>
                <a:cubicBezTo>
                  <a:pt x="4387203" y="4434302"/>
                  <a:pt x="4420298" y="4401222"/>
                  <a:pt x="4461105" y="4401222"/>
                </a:cubicBezTo>
                <a:cubicBezTo>
                  <a:pt x="4502002" y="4401222"/>
                  <a:pt x="4535007" y="4434302"/>
                  <a:pt x="4535007" y="4475092"/>
                </a:cubicBezTo>
                <a:moveTo>
                  <a:pt x="4894381" y="4115966"/>
                </a:moveTo>
                <a:cubicBezTo>
                  <a:pt x="4894381" y="4156755"/>
                  <a:pt x="4861287" y="4189925"/>
                  <a:pt x="4820480" y="4189925"/>
                </a:cubicBezTo>
                <a:cubicBezTo>
                  <a:pt x="4779672" y="4189925"/>
                  <a:pt x="4746488" y="4156845"/>
                  <a:pt x="4746488" y="4115966"/>
                </a:cubicBezTo>
                <a:cubicBezTo>
                  <a:pt x="4746488" y="4075176"/>
                  <a:pt x="4779583" y="4042096"/>
                  <a:pt x="4820480" y="4042096"/>
                </a:cubicBezTo>
                <a:cubicBezTo>
                  <a:pt x="4861287" y="4042096"/>
                  <a:pt x="4894381" y="4075176"/>
                  <a:pt x="4894381" y="4115966"/>
                </a:cubicBezTo>
                <a:moveTo>
                  <a:pt x="5185773" y="3699913"/>
                </a:moveTo>
                <a:cubicBezTo>
                  <a:pt x="5185773" y="3740703"/>
                  <a:pt x="5152589" y="3773783"/>
                  <a:pt x="5111872" y="3773783"/>
                </a:cubicBezTo>
                <a:cubicBezTo>
                  <a:pt x="5071064" y="3773783"/>
                  <a:pt x="5037970" y="3740703"/>
                  <a:pt x="5037970" y="3699913"/>
                </a:cubicBezTo>
                <a:cubicBezTo>
                  <a:pt x="5037970" y="3659034"/>
                  <a:pt x="5071064" y="3626044"/>
                  <a:pt x="5111872" y="3626044"/>
                </a:cubicBezTo>
                <a:cubicBezTo>
                  <a:pt x="5152679" y="3626044"/>
                  <a:pt x="5185773" y="3659034"/>
                  <a:pt x="5185773" y="3699913"/>
                </a:cubicBezTo>
                <a:moveTo>
                  <a:pt x="5381201" y="3258940"/>
                </a:moveTo>
                <a:cubicBezTo>
                  <a:pt x="5381201" y="3299729"/>
                  <a:pt x="5348107" y="3332809"/>
                  <a:pt x="5307299" y="3332809"/>
                </a:cubicBezTo>
                <a:cubicBezTo>
                  <a:pt x="5266491" y="3332809"/>
                  <a:pt x="5233397" y="3299639"/>
                  <a:pt x="5233397" y="3258940"/>
                </a:cubicBezTo>
                <a:cubicBezTo>
                  <a:pt x="5233397" y="3218150"/>
                  <a:pt x="5266491" y="3185070"/>
                  <a:pt x="5307299" y="3185070"/>
                </a:cubicBezTo>
                <a:cubicBezTo>
                  <a:pt x="5348107" y="3185070"/>
                  <a:pt x="5381201" y="3218150"/>
                  <a:pt x="5381201" y="3258940"/>
                </a:cubicBezTo>
                <a:moveTo>
                  <a:pt x="790767" y="3904668"/>
                </a:moveTo>
                <a:cubicBezTo>
                  <a:pt x="790767" y="3959890"/>
                  <a:pt x="746103" y="4004534"/>
                  <a:pt x="690857" y="4004534"/>
                </a:cubicBezTo>
                <a:cubicBezTo>
                  <a:pt x="635610" y="4004534"/>
                  <a:pt x="590946" y="3959890"/>
                  <a:pt x="590946" y="3904668"/>
                </a:cubicBezTo>
                <a:cubicBezTo>
                  <a:pt x="590946" y="3849624"/>
                  <a:pt x="635610" y="3804890"/>
                  <a:pt x="690857" y="3804890"/>
                </a:cubicBezTo>
                <a:cubicBezTo>
                  <a:pt x="746103" y="3804890"/>
                  <a:pt x="790767" y="3849624"/>
                  <a:pt x="790767" y="3904668"/>
                </a:cubicBezTo>
                <a:moveTo>
                  <a:pt x="538210" y="3544197"/>
                </a:moveTo>
                <a:cubicBezTo>
                  <a:pt x="538210" y="3599419"/>
                  <a:pt x="493456" y="3644064"/>
                  <a:pt x="438299" y="3644064"/>
                </a:cubicBezTo>
                <a:cubicBezTo>
                  <a:pt x="383052" y="3644064"/>
                  <a:pt x="338478" y="3599419"/>
                  <a:pt x="338478" y="3544197"/>
                </a:cubicBezTo>
                <a:cubicBezTo>
                  <a:pt x="338478" y="3489153"/>
                  <a:pt x="383142" y="3444419"/>
                  <a:pt x="438299" y="3444419"/>
                </a:cubicBezTo>
                <a:cubicBezTo>
                  <a:pt x="493456" y="3444419"/>
                  <a:pt x="538210" y="3489064"/>
                  <a:pt x="538210" y="3544197"/>
                </a:cubicBezTo>
                <a:moveTo>
                  <a:pt x="352110" y="3145267"/>
                </a:moveTo>
                <a:cubicBezTo>
                  <a:pt x="352110" y="3200400"/>
                  <a:pt x="307446" y="3245134"/>
                  <a:pt x="252199" y="3245134"/>
                </a:cubicBezTo>
                <a:cubicBezTo>
                  <a:pt x="197042" y="3245134"/>
                  <a:pt x="152288" y="3200400"/>
                  <a:pt x="152288" y="3145267"/>
                </a:cubicBezTo>
                <a:cubicBezTo>
                  <a:pt x="152288" y="3090134"/>
                  <a:pt x="197042" y="3045490"/>
                  <a:pt x="252199" y="3045490"/>
                </a:cubicBezTo>
                <a:cubicBezTo>
                  <a:pt x="307446" y="3045490"/>
                  <a:pt x="352110" y="3090134"/>
                  <a:pt x="352110" y="3145267"/>
                </a:cubicBezTo>
                <a:moveTo>
                  <a:pt x="238118" y="2720430"/>
                </a:moveTo>
                <a:cubicBezTo>
                  <a:pt x="238118" y="2775563"/>
                  <a:pt x="193454" y="2820207"/>
                  <a:pt x="138297" y="2820207"/>
                </a:cubicBezTo>
                <a:cubicBezTo>
                  <a:pt x="83140" y="2820207"/>
                  <a:pt x="38386" y="2775563"/>
                  <a:pt x="38386" y="2720430"/>
                </a:cubicBezTo>
                <a:cubicBezTo>
                  <a:pt x="38386" y="2665207"/>
                  <a:pt x="83140" y="2620563"/>
                  <a:pt x="138297" y="2620563"/>
                </a:cubicBezTo>
                <a:cubicBezTo>
                  <a:pt x="193364" y="2620563"/>
                  <a:pt x="238118" y="2665207"/>
                  <a:pt x="238118" y="2720430"/>
                </a:cubicBezTo>
                <a:moveTo>
                  <a:pt x="199732" y="2282145"/>
                </a:moveTo>
                <a:cubicBezTo>
                  <a:pt x="199732" y="2337278"/>
                  <a:pt x="154979" y="2382012"/>
                  <a:pt x="99911" y="2382012"/>
                </a:cubicBezTo>
                <a:cubicBezTo>
                  <a:pt x="44664" y="2382012"/>
                  <a:pt x="0" y="2337278"/>
                  <a:pt x="0" y="2282145"/>
                </a:cubicBezTo>
                <a:cubicBezTo>
                  <a:pt x="0" y="2227012"/>
                  <a:pt x="44664" y="2182368"/>
                  <a:pt x="99911" y="2182368"/>
                </a:cubicBezTo>
                <a:cubicBezTo>
                  <a:pt x="154979" y="2182279"/>
                  <a:pt x="199732" y="2226923"/>
                  <a:pt x="199732" y="2282145"/>
                </a:cubicBezTo>
                <a:moveTo>
                  <a:pt x="238118" y="1843592"/>
                </a:moveTo>
                <a:cubicBezTo>
                  <a:pt x="238118" y="1898725"/>
                  <a:pt x="193454" y="1943369"/>
                  <a:pt x="138297" y="1943369"/>
                </a:cubicBezTo>
                <a:cubicBezTo>
                  <a:pt x="83140" y="1943369"/>
                  <a:pt x="38386" y="1898725"/>
                  <a:pt x="38386" y="1843592"/>
                </a:cubicBezTo>
                <a:cubicBezTo>
                  <a:pt x="38386" y="1788459"/>
                  <a:pt x="83140" y="1743725"/>
                  <a:pt x="138297" y="1743725"/>
                </a:cubicBezTo>
                <a:cubicBezTo>
                  <a:pt x="193364" y="1743815"/>
                  <a:pt x="238118" y="1788459"/>
                  <a:pt x="238118" y="1843592"/>
                </a:cubicBezTo>
                <a:moveTo>
                  <a:pt x="4349535" y="351506"/>
                </a:moveTo>
                <a:cubicBezTo>
                  <a:pt x="4349535" y="406729"/>
                  <a:pt x="4304781" y="451373"/>
                  <a:pt x="4249714" y="451373"/>
                </a:cubicBezTo>
                <a:cubicBezTo>
                  <a:pt x="4194557" y="451373"/>
                  <a:pt x="4149802" y="406729"/>
                  <a:pt x="4149802" y="351506"/>
                </a:cubicBezTo>
                <a:cubicBezTo>
                  <a:pt x="4149802" y="296373"/>
                  <a:pt x="4194557" y="251729"/>
                  <a:pt x="4249714" y="251729"/>
                </a:cubicBezTo>
                <a:cubicBezTo>
                  <a:pt x="4304781" y="251729"/>
                  <a:pt x="4349535" y="296373"/>
                  <a:pt x="4349535" y="351506"/>
                </a:cubicBezTo>
                <a:moveTo>
                  <a:pt x="5250348" y="2281966"/>
                </a:moveTo>
                <a:cubicBezTo>
                  <a:pt x="5250348" y="2337099"/>
                  <a:pt x="5205684" y="2381833"/>
                  <a:pt x="5150527" y="2381833"/>
                </a:cubicBezTo>
                <a:cubicBezTo>
                  <a:pt x="5095280" y="2381833"/>
                  <a:pt x="5050615" y="2337099"/>
                  <a:pt x="5050615" y="2281966"/>
                </a:cubicBezTo>
                <a:cubicBezTo>
                  <a:pt x="5050615" y="2226833"/>
                  <a:pt x="5095370" y="2182189"/>
                  <a:pt x="5150527" y="2182189"/>
                </a:cubicBezTo>
                <a:cubicBezTo>
                  <a:pt x="5205684" y="2182189"/>
                  <a:pt x="5250348" y="2226833"/>
                  <a:pt x="5250348" y="2281966"/>
                </a:cubicBezTo>
                <a:moveTo>
                  <a:pt x="5213935" y="2720430"/>
                </a:moveTo>
                <a:cubicBezTo>
                  <a:pt x="5213935" y="2775563"/>
                  <a:pt x="5169271" y="2820297"/>
                  <a:pt x="5114114" y="2820297"/>
                </a:cubicBezTo>
                <a:cubicBezTo>
                  <a:pt x="5058867" y="2820297"/>
                  <a:pt x="5014203" y="2775563"/>
                  <a:pt x="5014203" y="2720430"/>
                </a:cubicBezTo>
                <a:cubicBezTo>
                  <a:pt x="5014203" y="2665207"/>
                  <a:pt x="5058867" y="2620563"/>
                  <a:pt x="5114114" y="2620563"/>
                </a:cubicBezTo>
                <a:cubicBezTo>
                  <a:pt x="5169182" y="2620563"/>
                  <a:pt x="5213935" y="2665207"/>
                  <a:pt x="5213935" y="2720430"/>
                </a:cubicBezTo>
                <a:moveTo>
                  <a:pt x="5099854" y="3145357"/>
                </a:moveTo>
                <a:cubicBezTo>
                  <a:pt x="5099854" y="3200580"/>
                  <a:pt x="5055190" y="3245224"/>
                  <a:pt x="5000033" y="3245224"/>
                </a:cubicBezTo>
                <a:cubicBezTo>
                  <a:pt x="4944875" y="3245224"/>
                  <a:pt x="4900122" y="3200580"/>
                  <a:pt x="4900122" y="3145357"/>
                </a:cubicBezTo>
                <a:cubicBezTo>
                  <a:pt x="4900122" y="3090313"/>
                  <a:pt x="4944875" y="3045580"/>
                  <a:pt x="5000033" y="3045580"/>
                </a:cubicBezTo>
                <a:cubicBezTo>
                  <a:pt x="5055190" y="3045490"/>
                  <a:pt x="5099854" y="3090224"/>
                  <a:pt x="5099854" y="3145357"/>
                </a:cubicBezTo>
                <a:moveTo>
                  <a:pt x="4913843" y="3544286"/>
                </a:moveTo>
                <a:cubicBezTo>
                  <a:pt x="4913843" y="3599509"/>
                  <a:pt x="4869090" y="3644153"/>
                  <a:pt x="4813933" y="3644153"/>
                </a:cubicBezTo>
                <a:cubicBezTo>
                  <a:pt x="4758685" y="3644153"/>
                  <a:pt x="4714022" y="3599509"/>
                  <a:pt x="4714022" y="3544286"/>
                </a:cubicBezTo>
                <a:cubicBezTo>
                  <a:pt x="4714022" y="3489243"/>
                  <a:pt x="4758685" y="3444509"/>
                  <a:pt x="4813933" y="3444509"/>
                </a:cubicBezTo>
                <a:cubicBezTo>
                  <a:pt x="4869090" y="3444509"/>
                  <a:pt x="4913843" y="3489153"/>
                  <a:pt x="4913843" y="3544286"/>
                </a:cubicBezTo>
                <a:moveTo>
                  <a:pt x="4661196" y="3904757"/>
                </a:moveTo>
                <a:cubicBezTo>
                  <a:pt x="4661196" y="3959890"/>
                  <a:pt x="4616443" y="4004624"/>
                  <a:pt x="4561285" y="4004624"/>
                </a:cubicBezTo>
                <a:cubicBezTo>
                  <a:pt x="4506128" y="4004624"/>
                  <a:pt x="4461374" y="3959980"/>
                  <a:pt x="4461374" y="3904757"/>
                </a:cubicBezTo>
                <a:cubicBezTo>
                  <a:pt x="4461374" y="3849624"/>
                  <a:pt x="4506128" y="3804980"/>
                  <a:pt x="4561285" y="3804980"/>
                </a:cubicBezTo>
                <a:cubicBezTo>
                  <a:pt x="4616443" y="3804980"/>
                  <a:pt x="4661196" y="3849714"/>
                  <a:pt x="4661196" y="3904757"/>
                </a:cubicBezTo>
                <a:moveTo>
                  <a:pt x="4349804" y="4216102"/>
                </a:moveTo>
                <a:cubicBezTo>
                  <a:pt x="4349804" y="4271234"/>
                  <a:pt x="4305050" y="4315968"/>
                  <a:pt x="4249893" y="4315968"/>
                </a:cubicBezTo>
                <a:cubicBezTo>
                  <a:pt x="4194736" y="4315968"/>
                  <a:pt x="4149982" y="4271234"/>
                  <a:pt x="4149982" y="4216102"/>
                </a:cubicBezTo>
                <a:cubicBezTo>
                  <a:pt x="4149982" y="4160968"/>
                  <a:pt x="4194646" y="4116234"/>
                  <a:pt x="4249893" y="4116234"/>
                </a:cubicBezTo>
                <a:cubicBezTo>
                  <a:pt x="4305050" y="4116234"/>
                  <a:pt x="4349804" y="4160968"/>
                  <a:pt x="4349804" y="4216102"/>
                </a:cubicBezTo>
                <a:moveTo>
                  <a:pt x="3989084" y="4468547"/>
                </a:moveTo>
                <a:cubicBezTo>
                  <a:pt x="3989084" y="4523681"/>
                  <a:pt x="3944420" y="4568414"/>
                  <a:pt x="3889263" y="4568414"/>
                </a:cubicBezTo>
                <a:cubicBezTo>
                  <a:pt x="3834106" y="4568414"/>
                  <a:pt x="3789442" y="4523681"/>
                  <a:pt x="3789442" y="4468547"/>
                </a:cubicBezTo>
                <a:cubicBezTo>
                  <a:pt x="3789442" y="4413505"/>
                  <a:pt x="3834106" y="4368770"/>
                  <a:pt x="3889263" y="4368770"/>
                </a:cubicBezTo>
                <a:cubicBezTo>
                  <a:pt x="3944420" y="4368681"/>
                  <a:pt x="3989084" y="4413415"/>
                  <a:pt x="3989084" y="4468547"/>
                </a:cubicBezTo>
                <a:moveTo>
                  <a:pt x="3991595" y="99777"/>
                </a:moveTo>
                <a:cubicBezTo>
                  <a:pt x="3991595" y="154910"/>
                  <a:pt x="3946842" y="199644"/>
                  <a:pt x="3891684" y="199644"/>
                </a:cubicBezTo>
                <a:cubicBezTo>
                  <a:pt x="3836527" y="199644"/>
                  <a:pt x="3791773" y="154910"/>
                  <a:pt x="3791773" y="99777"/>
                </a:cubicBezTo>
                <a:cubicBezTo>
                  <a:pt x="3791773" y="44644"/>
                  <a:pt x="3836437" y="0"/>
                  <a:pt x="3891684" y="0"/>
                </a:cubicBezTo>
                <a:cubicBezTo>
                  <a:pt x="3946931" y="0"/>
                  <a:pt x="3991595" y="44644"/>
                  <a:pt x="3991595" y="99777"/>
                </a:cubicBezTo>
              </a:path>
            </a:pathLst>
          </a:custGeom>
          <a:solidFill>
            <a:schemeClr val="accent1"/>
          </a:solidFill>
          <a:ln w="8968" cap="flat">
            <a:noFill/>
            <a:prstDash val="solid"/>
            <a:miter/>
          </a:ln>
        </p:spPr>
        <p:txBody>
          <a:bodyPr rtlCol="0" anchor="ctr"/>
          <a:lstStyle/>
          <a:p>
            <a:endParaRPr lang="en-US"/>
          </a:p>
        </p:txBody>
      </p:sp>
      <p:pic>
        <p:nvPicPr>
          <p:cNvPr id="5" name="Graphic 4">
            <a:extLst>
              <a:ext uri="{FF2B5EF4-FFF2-40B4-BE49-F238E27FC236}">
                <a16:creationId xmlns:a16="http://schemas.microsoft.com/office/drawing/2014/main" id="{B48E6ADD-53F8-87D3-6E1B-E2983EDB46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96000" y="-105748"/>
            <a:ext cx="3579563" cy="7091266"/>
          </a:xfrm>
          <a:prstGeom prst="rect">
            <a:avLst/>
          </a:prstGeom>
        </p:spPr>
      </p:pic>
      <p:sp>
        <p:nvSpPr>
          <p:cNvPr id="13" name="Text Placeholder 34">
            <a:extLst>
              <a:ext uri="{FF2B5EF4-FFF2-40B4-BE49-F238E27FC236}">
                <a16:creationId xmlns:a16="http://schemas.microsoft.com/office/drawing/2014/main" id="{F463F08D-4350-A99A-E50D-B1F2FC78E13B}"/>
              </a:ext>
            </a:extLst>
          </p:cNvPr>
          <p:cNvSpPr>
            <a:spLocks noGrp="1"/>
          </p:cNvSpPr>
          <p:nvPr>
            <p:ph type="body" sz="quarter" idx="10"/>
          </p:nvPr>
        </p:nvSpPr>
        <p:spPr>
          <a:xfrm>
            <a:off x="328743" y="5971977"/>
            <a:ext cx="5583600" cy="403200"/>
          </a:xfrm>
        </p:spPr>
        <p:txBody>
          <a:bodyPr anchor="b" anchorCtr="0"/>
          <a:lstStyle>
            <a:lvl1pPr>
              <a:defRPr sz="570"/>
            </a:lvl1pPr>
            <a:lvl2pPr marL="92075" indent="-92075">
              <a:tabLst/>
              <a:defRPr sz="570"/>
            </a:lvl2pPr>
            <a:lvl3pPr marL="179388" indent="-87313">
              <a:tabLst/>
              <a:defRPr sz="570"/>
            </a:lvl3pPr>
            <a:lvl4pPr marL="271463" indent="-92075">
              <a:tabLst/>
              <a:defRPr sz="570"/>
            </a:lvl4pPr>
            <a:lvl5pPr marL="358775" indent="-87313">
              <a:tabLst/>
              <a:defRPr sz="570"/>
            </a:lvl5pPr>
          </a:lstStyle>
          <a:p>
            <a:pPr lvl="0"/>
            <a:r>
              <a:rPr lang="en-US"/>
              <a:t>Click to edit Master text styles</a:t>
            </a:r>
          </a:p>
        </p:txBody>
      </p:sp>
      <p:sp>
        <p:nvSpPr>
          <p:cNvPr id="14" name="Text Placeholder 34">
            <a:extLst>
              <a:ext uri="{FF2B5EF4-FFF2-40B4-BE49-F238E27FC236}">
                <a16:creationId xmlns:a16="http://schemas.microsoft.com/office/drawing/2014/main" id="{DA710F6D-7452-484C-EE2E-C808854D4C08}"/>
              </a:ext>
            </a:extLst>
          </p:cNvPr>
          <p:cNvSpPr>
            <a:spLocks noGrp="1"/>
          </p:cNvSpPr>
          <p:nvPr>
            <p:ph type="body" sz="quarter" idx="11"/>
          </p:nvPr>
        </p:nvSpPr>
        <p:spPr>
          <a:xfrm>
            <a:off x="328743" y="6392076"/>
            <a:ext cx="5583600" cy="155265"/>
          </a:xfrm>
        </p:spPr>
        <p:txBody>
          <a:bodyPr anchor="b" anchorCtr="0"/>
          <a:lstStyle>
            <a:lvl1pPr>
              <a:defRPr sz="570"/>
            </a:lvl1pPr>
            <a:lvl2pPr marL="92075" indent="-92075">
              <a:tabLst/>
              <a:defRPr sz="570"/>
            </a:lvl2pPr>
            <a:lvl3pPr marL="179388" indent="-87313">
              <a:tabLst/>
              <a:defRPr sz="570"/>
            </a:lvl3pPr>
            <a:lvl4pPr marL="271463" indent="-92075">
              <a:tabLst/>
              <a:defRPr sz="570"/>
            </a:lvl4pPr>
            <a:lvl5pPr marL="358775" indent="-87313">
              <a:tabLst/>
              <a:defRPr sz="570"/>
            </a:lvl5pPr>
          </a:lstStyle>
          <a:p>
            <a:pPr lvl="0"/>
            <a:r>
              <a:rPr lang="en-US"/>
              <a:t>Click to edit Master text styles</a:t>
            </a:r>
          </a:p>
        </p:txBody>
      </p:sp>
    </p:spTree>
    <p:extLst>
      <p:ext uri="{BB962C8B-B14F-4D97-AF65-F5344CB8AC3E}">
        <p14:creationId xmlns:p14="http://schemas.microsoft.com/office/powerpoint/2010/main" val="5870566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1 x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2" y="300859"/>
            <a:ext cx="5613181" cy="947770"/>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tx1"/>
                </a:solidFill>
              </a:defRPr>
            </a:lvl1pPr>
          </a:lstStyle>
          <a:p>
            <a:fld id="{AAF502CD-F636-C049-B05E-4ED95BC0AEE0}" type="slidenum">
              <a:rPr lang="en-US" smtClean="0"/>
              <a:pPr/>
              <a:t>‹#›</a:t>
            </a:fld>
            <a:endParaRPr lang="en-US"/>
          </a:p>
        </p:txBody>
      </p:sp>
      <p:sp>
        <p:nvSpPr>
          <p:cNvPr id="10" name="Graphic 11">
            <a:extLst>
              <a:ext uri="{FF2B5EF4-FFF2-40B4-BE49-F238E27FC236}">
                <a16:creationId xmlns:a16="http://schemas.microsoft.com/office/drawing/2014/main" id="{5621749B-E095-09BE-174A-D7E00E6FA891}"/>
              </a:ext>
            </a:extLst>
          </p:cNvPr>
          <p:cNvSpPr/>
          <p:nvPr/>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bg1"/>
              </a:solidFill>
            </a:endParaRPr>
          </a:p>
        </p:txBody>
      </p:sp>
      <p:sp>
        <p:nvSpPr>
          <p:cNvPr id="13" name="Chart Placeholder 12">
            <a:extLst>
              <a:ext uri="{FF2B5EF4-FFF2-40B4-BE49-F238E27FC236}">
                <a16:creationId xmlns:a16="http://schemas.microsoft.com/office/drawing/2014/main" id="{DD909F23-B05F-3898-4624-7B4427B6506E}"/>
              </a:ext>
            </a:extLst>
          </p:cNvPr>
          <p:cNvSpPr>
            <a:spLocks noGrp="1"/>
          </p:cNvSpPr>
          <p:nvPr>
            <p:ph type="chart" sz="quarter" idx="13"/>
          </p:nvPr>
        </p:nvSpPr>
        <p:spPr>
          <a:xfrm>
            <a:off x="2505666" y="1236883"/>
            <a:ext cx="7180668" cy="4709870"/>
          </a:xfrm>
        </p:spPr>
        <p:txBody>
          <a:bodyPr anchor="ctr" anchorCtr="0"/>
          <a:lstStyle>
            <a:lvl1pPr algn="ctr">
              <a:defRPr sz="1000"/>
            </a:lvl1pPr>
          </a:lstStyle>
          <a:p>
            <a:r>
              <a:rPr lang="en-US"/>
              <a:t>Click icon to add chart</a:t>
            </a:r>
          </a:p>
        </p:txBody>
      </p:sp>
    </p:spTree>
    <p:extLst>
      <p:ext uri="{BB962C8B-B14F-4D97-AF65-F5344CB8AC3E}">
        <p14:creationId xmlns:p14="http://schemas.microsoft.com/office/powerpoint/2010/main" val="24526175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3 x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03432" y="300859"/>
            <a:ext cx="5613181" cy="947770"/>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tx1"/>
                </a:solidFill>
              </a:defRPr>
            </a:lvl1pPr>
          </a:lstStyle>
          <a:p>
            <a:fld id="{AAF502CD-F636-C049-B05E-4ED95BC0AEE0}" type="slidenum">
              <a:rPr lang="en-US" smtClean="0"/>
              <a:pPr/>
              <a:t>‹#›</a:t>
            </a:fld>
            <a:endParaRPr lang="en-US"/>
          </a:p>
        </p:txBody>
      </p:sp>
      <p:sp>
        <p:nvSpPr>
          <p:cNvPr id="8" name="Chart Placeholder 7">
            <a:extLst>
              <a:ext uri="{FF2B5EF4-FFF2-40B4-BE49-F238E27FC236}">
                <a16:creationId xmlns:a16="http://schemas.microsoft.com/office/drawing/2014/main" id="{B0AB119F-E4AE-291A-22BC-87D4AF8C963C}"/>
              </a:ext>
            </a:extLst>
          </p:cNvPr>
          <p:cNvSpPr>
            <a:spLocks noGrp="1"/>
          </p:cNvSpPr>
          <p:nvPr>
            <p:ph type="chart" sz="quarter" idx="13"/>
          </p:nvPr>
        </p:nvSpPr>
        <p:spPr>
          <a:xfrm>
            <a:off x="334963" y="1645789"/>
            <a:ext cx="3808215" cy="4319883"/>
          </a:xfrm>
        </p:spPr>
        <p:txBody>
          <a:bodyPr/>
          <a:lstStyle>
            <a:lvl1pPr>
              <a:defRPr sz="1000"/>
            </a:lvl1pPr>
          </a:lstStyle>
          <a:p>
            <a:r>
              <a:rPr lang="en-US"/>
              <a:t>Click icon to add chart</a:t>
            </a:r>
          </a:p>
        </p:txBody>
      </p:sp>
      <p:sp>
        <p:nvSpPr>
          <p:cNvPr id="12" name="Chart Placeholder 7">
            <a:extLst>
              <a:ext uri="{FF2B5EF4-FFF2-40B4-BE49-F238E27FC236}">
                <a16:creationId xmlns:a16="http://schemas.microsoft.com/office/drawing/2014/main" id="{D53911A0-D8B8-1DF5-9321-6B03A146788F}"/>
              </a:ext>
            </a:extLst>
          </p:cNvPr>
          <p:cNvSpPr>
            <a:spLocks noGrp="1"/>
          </p:cNvSpPr>
          <p:nvPr>
            <p:ph type="chart" sz="quarter" idx="14"/>
          </p:nvPr>
        </p:nvSpPr>
        <p:spPr>
          <a:xfrm>
            <a:off x="4191892" y="1645789"/>
            <a:ext cx="3808215" cy="4319883"/>
          </a:xfrm>
        </p:spPr>
        <p:txBody>
          <a:bodyPr/>
          <a:lstStyle>
            <a:lvl1pPr>
              <a:defRPr sz="1000"/>
            </a:lvl1pPr>
          </a:lstStyle>
          <a:p>
            <a:r>
              <a:rPr lang="en-US"/>
              <a:t>Click icon to add chart</a:t>
            </a:r>
          </a:p>
        </p:txBody>
      </p:sp>
      <p:sp>
        <p:nvSpPr>
          <p:cNvPr id="14" name="Chart Placeholder 7">
            <a:extLst>
              <a:ext uri="{FF2B5EF4-FFF2-40B4-BE49-F238E27FC236}">
                <a16:creationId xmlns:a16="http://schemas.microsoft.com/office/drawing/2014/main" id="{3C03BD49-D09A-C11F-6DD8-D09485880FCD}"/>
              </a:ext>
            </a:extLst>
          </p:cNvPr>
          <p:cNvSpPr>
            <a:spLocks noGrp="1"/>
          </p:cNvSpPr>
          <p:nvPr>
            <p:ph type="chart" sz="quarter" idx="15"/>
          </p:nvPr>
        </p:nvSpPr>
        <p:spPr>
          <a:xfrm>
            <a:off x="8040216" y="1645789"/>
            <a:ext cx="3808215" cy="4319883"/>
          </a:xfrm>
        </p:spPr>
        <p:txBody>
          <a:bodyPr/>
          <a:lstStyle>
            <a:lvl1pPr>
              <a:defRPr sz="1000"/>
            </a:lvl1pPr>
          </a:lstStyle>
          <a:p>
            <a:r>
              <a:rPr lang="en-US"/>
              <a:t>Click icon to add chart</a:t>
            </a:r>
          </a:p>
        </p:txBody>
      </p:sp>
      <p:sp>
        <p:nvSpPr>
          <p:cNvPr id="4" name="Graphic 11">
            <a:extLst>
              <a:ext uri="{FF2B5EF4-FFF2-40B4-BE49-F238E27FC236}">
                <a16:creationId xmlns:a16="http://schemas.microsoft.com/office/drawing/2014/main" id="{E32D221C-9215-FE47-7EB4-72B7084163AC}"/>
              </a:ext>
            </a:extLst>
          </p:cNvPr>
          <p:cNvSpPr/>
          <p:nvPr/>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bg1"/>
              </a:solidFill>
            </a:endParaRPr>
          </a:p>
        </p:txBody>
      </p:sp>
    </p:spTree>
    <p:extLst>
      <p:ext uri="{BB962C8B-B14F-4D97-AF65-F5344CB8AC3E}">
        <p14:creationId xmlns:p14="http://schemas.microsoft.com/office/powerpoint/2010/main" val="42769474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RAG Title and Content 0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1289154" y="300859"/>
            <a:ext cx="9094278" cy="636026"/>
          </a:xfrm>
        </p:spPr>
        <p:txBody>
          <a:bodyPr/>
          <a:lstStyle>
            <a:lvl1pPr>
              <a:defRPr sz="2400"/>
            </a:lvl1pPr>
          </a:lstStyle>
          <a:p>
            <a:r>
              <a:rPr lang="en-US"/>
              <a:t>Click to edit Master title style</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tx1"/>
                </a:solidFill>
              </a:defRPr>
            </a:lvl1pPr>
          </a:lstStyle>
          <a:p>
            <a:fld id="{AAF502CD-F636-C049-B05E-4ED95BC0AEE0}" type="slidenum">
              <a:rPr lang="en-US" smtClean="0"/>
              <a:pPr/>
              <a:t>‹#›</a:t>
            </a:fld>
            <a:endParaRPr lang="en-US"/>
          </a:p>
        </p:txBody>
      </p:sp>
      <p:sp>
        <p:nvSpPr>
          <p:cNvPr id="8" name="Text Placeholder 7">
            <a:extLst>
              <a:ext uri="{FF2B5EF4-FFF2-40B4-BE49-F238E27FC236}">
                <a16:creationId xmlns:a16="http://schemas.microsoft.com/office/drawing/2014/main" id="{CB642DAF-D44E-93E8-460C-F71D8CFAF3C7}"/>
              </a:ext>
            </a:extLst>
          </p:cNvPr>
          <p:cNvSpPr>
            <a:spLocks noGrp="1"/>
          </p:cNvSpPr>
          <p:nvPr>
            <p:ph type="body" sz="quarter" idx="13" hasCustomPrompt="1"/>
          </p:nvPr>
        </p:nvSpPr>
        <p:spPr>
          <a:xfrm>
            <a:off x="334961" y="323850"/>
            <a:ext cx="820737" cy="301625"/>
          </a:xfrm>
          <a:prstGeom prst="round2SameRect">
            <a:avLst/>
          </a:prstGeom>
          <a:solidFill>
            <a:schemeClr val="tx1"/>
          </a:solidFill>
        </p:spPr>
        <p:txBody>
          <a:bodyPr anchor="ctr" anchorCtr="0"/>
          <a:lstStyle>
            <a:lvl1pPr algn="ctr">
              <a:defRPr sz="900" b="1">
                <a:solidFill>
                  <a:schemeClr val="bg1"/>
                </a:solidFill>
                <a:latin typeface="+mj-lt"/>
              </a:defRPr>
            </a:lvl1pPr>
            <a:lvl2pPr>
              <a:defRPr sz="900"/>
            </a:lvl2pPr>
            <a:lvl3pPr>
              <a:defRPr sz="900"/>
            </a:lvl3pPr>
            <a:lvl4pPr>
              <a:defRPr sz="900"/>
            </a:lvl4pPr>
            <a:lvl5pPr>
              <a:defRPr sz="900"/>
            </a:lvl5pPr>
          </a:lstStyle>
          <a:p>
            <a:pPr lvl="0"/>
            <a:r>
              <a:rPr lang="en-GB"/>
              <a:t>Text</a:t>
            </a:r>
            <a:endParaRPr lang="en-US"/>
          </a:p>
        </p:txBody>
      </p:sp>
      <p:sp>
        <p:nvSpPr>
          <p:cNvPr id="9" name="Text Placeholder 7">
            <a:extLst>
              <a:ext uri="{FF2B5EF4-FFF2-40B4-BE49-F238E27FC236}">
                <a16:creationId xmlns:a16="http://schemas.microsoft.com/office/drawing/2014/main" id="{3E42FD3C-BCC5-E73F-B0A3-767025EE6233}"/>
              </a:ext>
            </a:extLst>
          </p:cNvPr>
          <p:cNvSpPr>
            <a:spLocks noGrp="1"/>
          </p:cNvSpPr>
          <p:nvPr>
            <p:ph type="body" sz="quarter" idx="14" hasCustomPrompt="1"/>
          </p:nvPr>
        </p:nvSpPr>
        <p:spPr>
          <a:xfrm rot="10800000">
            <a:off x="334962" y="620687"/>
            <a:ext cx="820737" cy="341337"/>
          </a:xfrm>
          <a:prstGeom prst="round2SameRect">
            <a:avLst>
              <a:gd name="adj1" fmla="val 16667"/>
              <a:gd name="adj2" fmla="val 0"/>
            </a:avLst>
          </a:prstGeom>
          <a:solidFill>
            <a:schemeClr val="accent6"/>
          </a:solidFill>
        </p:spPr>
        <p:txBody>
          <a:bodyPr anchor="ctr" anchorCtr="0">
            <a:scene3d>
              <a:camera prst="orthographicFront">
                <a:rot lat="0" lon="0" rev="10800000"/>
              </a:camera>
              <a:lightRig rig="threePt" dir="t"/>
            </a:scene3d>
          </a:bodyPr>
          <a:lstStyle>
            <a:lvl1pPr algn="ctr">
              <a:defRPr sz="900" b="1">
                <a:solidFill>
                  <a:schemeClr val="tx1"/>
                </a:solidFill>
                <a:latin typeface="+mj-lt"/>
              </a:defRPr>
            </a:lvl1pPr>
            <a:lvl2pPr>
              <a:defRPr sz="900"/>
            </a:lvl2pPr>
            <a:lvl3pPr>
              <a:defRPr sz="900"/>
            </a:lvl3pPr>
            <a:lvl4pPr>
              <a:defRPr sz="900"/>
            </a:lvl4pPr>
            <a:lvl5pPr>
              <a:defRPr sz="900"/>
            </a:lvl5pPr>
          </a:lstStyle>
          <a:p>
            <a:pPr lvl="0"/>
            <a:r>
              <a:rPr lang="en-GB"/>
              <a:t>Text</a:t>
            </a:r>
            <a:endParaRPr lang="en-US"/>
          </a:p>
        </p:txBody>
      </p:sp>
      <p:sp>
        <p:nvSpPr>
          <p:cNvPr id="4" name="Graphic 11">
            <a:extLst>
              <a:ext uri="{FF2B5EF4-FFF2-40B4-BE49-F238E27FC236}">
                <a16:creationId xmlns:a16="http://schemas.microsoft.com/office/drawing/2014/main" id="{5C303D5F-87F0-1629-FF00-0545BCAFC6C7}"/>
              </a:ext>
            </a:extLst>
          </p:cNvPr>
          <p:cNvSpPr/>
          <p:nvPr/>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bg1"/>
              </a:solidFill>
            </a:endParaRPr>
          </a:p>
        </p:txBody>
      </p:sp>
    </p:spTree>
    <p:extLst>
      <p:ext uri="{BB962C8B-B14F-4D97-AF65-F5344CB8AC3E}">
        <p14:creationId xmlns:p14="http://schemas.microsoft.com/office/powerpoint/2010/main" val="22964128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RAG Title and Content 02">
    <p:bg>
      <p:bgPr>
        <a:solidFill>
          <a:schemeClr val="bg1"/>
        </a:solidFill>
        <a:effectLst/>
      </p:bgPr>
    </p:bg>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0AE4BD74-725D-3828-7F40-B79D5B3EB9E5}"/>
              </a:ext>
            </a:extLst>
          </p:cNvPr>
          <p:cNvSpPr>
            <a:spLocks noGrp="1"/>
          </p:cNvSpPr>
          <p:nvPr>
            <p:ph type="body" sz="quarter" idx="18"/>
          </p:nvPr>
        </p:nvSpPr>
        <p:spPr>
          <a:xfrm>
            <a:off x="8910408" y="323850"/>
            <a:ext cx="1995336" cy="328613"/>
          </a:xfrm>
          <a:prstGeom prst="roundRect">
            <a:avLst/>
          </a:prstGeom>
          <a:solidFill>
            <a:schemeClr val="bg2">
              <a:lumMod val="90000"/>
            </a:schemeClr>
          </a:solidFill>
        </p:spPr>
        <p:txBody>
          <a:bodyPr lIns="144000" anchor="ctr" anchorCtr="0"/>
          <a:lstStyle>
            <a:lvl1pPr>
              <a:defRPr sz="800" b="1">
                <a:solidFill>
                  <a:schemeClr val="tx1"/>
                </a:solidFill>
                <a:latin typeface="+mj-lt"/>
              </a:defRPr>
            </a:lvl1pPr>
            <a:lvl2pPr>
              <a:defRPr sz="800"/>
            </a:lvl2pPr>
            <a:lvl3pPr>
              <a:defRPr sz="800"/>
            </a:lvl3pPr>
            <a:lvl4pPr>
              <a:defRPr sz="800"/>
            </a:lvl4pPr>
            <a:lvl5pPr>
              <a:defRPr sz="800"/>
            </a:lvl5pPr>
          </a:lstStyle>
          <a:p>
            <a:pPr lvl="0"/>
            <a:r>
              <a:rPr lang="en-US"/>
              <a:t>Click to edit Master text styles</a:t>
            </a:r>
          </a:p>
        </p:txBody>
      </p:sp>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1289154" y="300859"/>
            <a:ext cx="4806846" cy="636026"/>
          </a:xfrm>
        </p:spPr>
        <p:txBody>
          <a:bodyPr/>
          <a:lstStyle>
            <a:lvl1pPr>
              <a:defRPr sz="2400"/>
            </a:lvl1pPr>
          </a:lstStyle>
          <a:p>
            <a:r>
              <a:rPr lang="en-US"/>
              <a:t>Click to edit Master title style</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tx1"/>
                </a:solidFill>
              </a:defRPr>
            </a:lvl1pPr>
          </a:lstStyle>
          <a:p>
            <a:fld id="{AAF502CD-F636-C049-B05E-4ED95BC0AEE0}" type="slidenum">
              <a:rPr lang="en-US" smtClean="0"/>
              <a:pPr/>
              <a:t>‹#›</a:t>
            </a:fld>
            <a:endParaRPr lang="en-US"/>
          </a:p>
        </p:txBody>
      </p:sp>
      <p:sp>
        <p:nvSpPr>
          <p:cNvPr id="10" name="Graphic 11">
            <a:extLst>
              <a:ext uri="{FF2B5EF4-FFF2-40B4-BE49-F238E27FC236}">
                <a16:creationId xmlns:a16="http://schemas.microsoft.com/office/drawing/2014/main" id="{5621749B-E095-09BE-174A-D7E00E6FA891}"/>
              </a:ext>
            </a:extLst>
          </p:cNvPr>
          <p:cNvSpPr/>
          <p:nvPr/>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bg1"/>
              </a:solidFill>
            </a:endParaRPr>
          </a:p>
        </p:txBody>
      </p:sp>
      <p:sp>
        <p:nvSpPr>
          <p:cNvPr id="8" name="Text Placeholder 7">
            <a:extLst>
              <a:ext uri="{FF2B5EF4-FFF2-40B4-BE49-F238E27FC236}">
                <a16:creationId xmlns:a16="http://schemas.microsoft.com/office/drawing/2014/main" id="{CB642DAF-D44E-93E8-460C-F71D8CFAF3C7}"/>
              </a:ext>
            </a:extLst>
          </p:cNvPr>
          <p:cNvSpPr>
            <a:spLocks noGrp="1"/>
          </p:cNvSpPr>
          <p:nvPr>
            <p:ph type="body" sz="quarter" idx="13" hasCustomPrompt="1"/>
          </p:nvPr>
        </p:nvSpPr>
        <p:spPr>
          <a:xfrm>
            <a:off x="334961" y="323850"/>
            <a:ext cx="820737" cy="301625"/>
          </a:xfrm>
          <a:prstGeom prst="round2SameRect">
            <a:avLst/>
          </a:prstGeom>
          <a:solidFill>
            <a:schemeClr val="tx1"/>
          </a:solidFill>
        </p:spPr>
        <p:txBody>
          <a:bodyPr anchor="ctr" anchorCtr="0"/>
          <a:lstStyle>
            <a:lvl1pPr algn="ctr">
              <a:defRPr sz="900" b="1">
                <a:solidFill>
                  <a:schemeClr val="bg1"/>
                </a:solidFill>
                <a:latin typeface="+mj-lt"/>
              </a:defRPr>
            </a:lvl1pPr>
            <a:lvl2pPr>
              <a:defRPr sz="900"/>
            </a:lvl2pPr>
            <a:lvl3pPr>
              <a:defRPr sz="900"/>
            </a:lvl3pPr>
            <a:lvl4pPr>
              <a:defRPr sz="900"/>
            </a:lvl4pPr>
            <a:lvl5pPr>
              <a:defRPr sz="900"/>
            </a:lvl5pPr>
          </a:lstStyle>
          <a:p>
            <a:pPr lvl="0"/>
            <a:r>
              <a:rPr lang="en-GB"/>
              <a:t>Text</a:t>
            </a:r>
            <a:endParaRPr lang="en-US"/>
          </a:p>
        </p:txBody>
      </p:sp>
      <p:sp>
        <p:nvSpPr>
          <p:cNvPr id="9" name="Text Placeholder 7">
            <a:extLst>
              <a:ext uri="{FF2B5EF4-FFF2-40B4-BE49-F238E27FC236}">
                <a16:creationId xmlns:a16="http://schemas.microsoft.com/office/drawing/2014/main" id="{3E42FD3C-BCC5-E73F-B0A3-767025EE6233}"/>
              </a:ext>
            </a:extLst>
          </p:cNvPr>
          <p:cNvSpPr>
            <a:spLocks noGrp="1"/>
          </p:cNvSpPr>
          <p:nvPr>
            <p:ph type="body" sz="quarter" idx="14" hasCustomPrompt="1"/>
          </p:nvPr>
        </p:nvSpPr>
        <p:spPr>
          <a:xfrm rot="10800000">
            <a:off x="334962" y="620687"/>
            <a:ext cx="820737" cy="341337"/>
          </a:xfrm>
          <a:prstGeom prst="round2SameRect">
            <a:avLst>
              <a:gd name="adj1" fmla="val 16667"/>
              <a:gd name="adj2" fmla="val 0"/>
            </a:avLst>
          </a:prstGeom>
          <a:solidFill>
            <a:schemeClr val="accent6"/>
          </a:solidFill>
        </p:spPr>
        <p:txBody>
          <a:bodyPr anchor="ctr" anchorCtr="0">
            <a:scene3d>
              <a:camera prst="orthographicFront">
                <a:rot lat="0" lon="0" rev="10800000"/>
              </a:camera>
              <a:lightRig rig="threePt" dir="t"/>
            </a:scene3d>
          </a:bodyPr>
          <a:lstStyle>
            <a:lvl1pPr algn="ctr">
              <a:defRPr sz="900" b="1">
                <a:solidFill>
                  <a:schemeClr val="tx1"/>
                </a:solidFill>
                <a:latin typeface="+mj-lt"/>
              </a:defRPr>
            </a:lvl1pPr>
            <a:lvl2pPr>
              <a:defRPr sz="900"/>
            </a:lvl2pPr>
            <a:lvl3pPr>
              <a:defRPr sz="900"/>
            </a:lvl3pPr>
            <a:lvl4pPr>
              <a:defRPr sz="900"/>
            </a:lvl4pPr>
            <a:lvl5pPr>
              <a:defRPr sz="900"/>
            </a:lvl5pPr>
          </a:lstStyle>
          <a:p>
            <a:pPr lvl="0"/>
            <a:r>
              <a:rPr lang="en-GB"/>
              <a:t>Text</a:t>
            </a:r>
            <a:endParaRPr lang="en-US"/>
          </a:p>
        </p:txBody>
      </p:sp>
      <p:sp>
        <p:nvSpPr>
          <p:cNvPr id="15" name="Text Placeholder 14">
            <a:extLst>
              <a:ext uri="{FF2B5EF4-FFF2-40B4-BE49-F238E27FC236}">
                <a16:creationId xmlns:a16="http://schemas.microsoft.com/office/drawing/2014/main" id="{4B90C5D7-FB12-0C94-D861-88411DA5A953}"/>
              </a:ext>
            </a:extLst>
          </p:cNvPr>
          <p:cNvSpPr>
            <a:spLocks noGrp="1"/>
          </p:cNvSpPr>
          <p:nvPr>
            <p:ph type="body" sz="quarter" idx="15" hasCustomPrompt="1"/>
          </p:nvPr>
        </p:nvSpPr>
        <p:spPr>
          <a:xfrm>
            <a:off x="6150864" y="323850"/>
            <a:ext cx="1044000" cy="328613"/>
          </a:xfrm>
          <a:prstGeom prst="roundRect">
            <a:avLst/>
          </a:prstGeom>
          <a:solidFill>
            <a:schemeClr val="tx1"/>
          </a:solidFill>
        </p:spPr>
        <p:txBody>
          <a:bodyPr lIns="108000" anchor="ctr" anchorCtr="0"/>
          <a:lstStyle>
            <a:lvl1pPr>
              <a:defRPr sz="800" b="1">
                <a:solidFill>
                  <a:schemeClr val="bg1"/>
                </a:solidFill>
                <a:latin typeface="+mj-lt"/>
              </a:defRPr>
            </a:lvl1pPr>
            <a:lvl2pPr>
              <a:defRPr sz="800"/>
            </a:lvl2pPr>
            <a:lvl3pPr>
              <a:defRPr sz="800"/>
            </a:lvl3pPr>
            <a:lvl4pPr>
              <a:defRPr sz="800"/>
            </a:lvl4pPr>
            <a:lvl5pPr>
              <a:defRPr sz="800"/>
            </a:lvl5pPr>
          </a:lstStyle>
          <a:p>
            <a:pPr lvl="0"/>
            <a:r>
              <a:rPr lang="en-GB"/>
              <a:t>Responsible PM</a:t>
            </a:r>
          </a:p>
        </p:txBody>
      </p:sp>
      <p:sp>
        <p:nvSpPr>
          <p:cNvPr id="16" name="Text Placeholder 14">
            <a:extLst>
              <a:ext uri="{FF2B5EF4-FFF2-40B4-BE49-F238E27FC236}">
                <a16:creationId xmlns:a16="http://schemas.microsoft.com/office/drawing/2014/main" id="{38A1C01F-F992-FFDB-A1A1-510545BAAF09}"/>
              </a:ext>
            </a:extLst>
          </p:cNvPr>
          <p:cNvSpPr>
            <a:spLocks noGrp="1"/>
          </p:cNvSpPr>
          <p:nvPr>
            <p:ph type="body" sz="quarter" idx="16"/>
          </p:nvPr>
        </p:nvSpPr>
        <p:spPr>
          <a:xfrm>
            <a:off x="7093064" y="323850"/>
            <a:ext cx="954000" cy="328613"/>
          </a:xfrm>
          <a:prstGeom prst="rect">
            <a:avLst/>
          </a:prstGeom>
          <a:solidFill>
            <a:schemeClr val="bg2">
              <a:lumMod val="90000"/>
            </a:schemeClr>
          </a:solidFill>
        </p:spPr>
        <p:txBody>
          <a:bodyPr lIns="0" anchor="ctr" anchorCtr="0"/>
          <a:lstStyle>
            <a:lvl1pPr algn="ctr">
              <a:defRPr sz="800" b="1">
                <a:solidFill>
                  <a:schemeClr val="tx1"/>
                </a:solidFill>
                <a:latin typeface="+mj-lt"/>
              </a:defRPr>
            </a:lvl1pPr>
            <a:lvl2pPr>
              <a:defRPr sz="800"/>
            </a:lvl2pPr>
            <a:lvl3pPr>
              <a:defRPr sz="800"/>
            </a:lvl3pPr>
            <a:lvl4pPr>
              <a:defRPr sz="800"/>
            </a:lvl4pPr>
            <a:lvl5pPr>
              <a:defRPr sz="800"/>
            </a:lvl5pPr>
          </a:lstStyle>
          <a:p>
            <a:pPr lvl="0"/>
            <a:r>
              <a:rPr lang="en-US"/>
              <a:t>Click to edit Master text styles</a:t>
            </a:r>
          </a:p>
        </p:txBody>
      </p:sp>
      <p:sp>
        <p:nvSpPr>
          <p:cNvPr id="17" name="Text Placeholder 14">
            <a:extLst>
              <a:ext uri="{FF2B5EF4-FFF2-40B4-BE49-F238E27FC236}">
                <a16:creationId xmlns:a16="http://schemas.microsoft.com/office/drawing/2014/main" id="{1F71AE44-EB35-AE3D-EEFF-3DD3C330737D}"/>
              </a:ext>
            </a:extLst>
          </p:cNvPr>
          <p:cNvSpPr>
            <a:spLocks noGrp="1"/>
          </p:cNvSpPr>
          <p:nvPr>
            <p:ph type="body" sz="quarter" idx="17" hasCustomPrompt="1"/>
          </p:nvPr>
        </p:nvSpPr>
        <p:spPr>
          <a:xfrm>
            <a:off x="8040216" y="323850"/>
            <a:ext cx="954000" cy="328613"/>
          </a:xfrm>
          <a:prstGeom prst="rect">
            <a:avLst/>
          </a:prstGeom>
          <a:solidFill>
            <a:schemeClr val="tx1"/>
          </a:solidFill>
        </p:spPr>
        <p:txBody>
          <a:bodyPr lIns="0" anchor="ctr" anchorCtr="0"/>
          <a:lstStyle>
            <a:lvl1pPr algn="ctr">
              <a:defRPr sz="800" b="1">
                <a:solidFill>
                  <a:schemeClr val="bg1"/>
                </a:solidFill>
                <a:latin typeface="+mj-lt"/>
              </a:defRPr>
            </a:lvl1pPr>
            <a:lvl2pPr>
              <a:defRPr sz="800"/>
            </a:lvl2pPr>
            <a:lvl3pPr>
              <a:defRPr sz="800"/>
            </a:lvl3pPr>
            <a:lvl4pPr>
              <a:defRPr sz="800"/>
            </a:lvl4pPr>
            <a:lvl5pPr>
              <a:defRPr sz="800"/>
            </a:lvl5pPr>
          </a:lstStyle>
          <a:p>
            <a:pPr lvl="0"/>
            <a:r>
              <a:rPr lang="en-GB"/>
              <a:t>Accountable</a:t>
            </a:r>
          </a:p>
          <a:p>
            <a:pPr lvl="0"/>
            <a:r>
              <a:rPr lang="en-GB"/>
              <a:t>Lead(s)</a:t>
            </a:r>
          </a:p>
        </p:txBody>
      </p:sp>
    </p:spTree>
    <p:extLst>
      <p:ext uri="{BB962C8B-B14F-4D97-AF65-F5344CB8AC3E}">
        <p14:creationId xmlns:p14="http://schemas.microsoft.com/office/powerpoint/2010/main" val="20735098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Blank Content 0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a:xfrm>
            <a:off x="322771" y="300859"/>
            <a:ext cx="9094278" cy="636026"/>
          </a:xfrm>
        </p:spPr>
        <p:txBody>
          <a:bodyPr/>
          <a:lstStyle>
            <a:lvl1pPr>
              <a:defRPr sz="2400"/>
            </a:lvl1pPr>
          </a:lstStyle>
          <a:p>
            <a:r>
              <a:rPr lang="en-US"/>
              <a:t>Click to edit Master title style</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tx1"/>
                </a:solidFill>
              </a:defRPr>
            </a:lvl1pPr>
          </a:lstStyle>
          <a:p>
            <a:fld id="{AAF502CD-F636-C049-B05E-4ED95BC0AEE0}" type="slidenum">
              <a:rPr lang="en-US" smtClean="0"/>
              <a:pPr/>
              <a:t>‹#›</a:t>
            </a:fld>
            <a:endParaRPr lang="en-US"/>
          </a:p>
        </p:txBody>
      </p:sp>
      <p:sp>
        <p:nvSpPr>
          <p:cNvPr id="10" name="Graphic 11">
            <a:extLst>
              <a:ext uri="{FF2B5EF4-FFF2-40B4-BE49-F238E27FC236}">
                <a16:creationId xmlns:a16="http://schemas.microsoft.com/office/drawing/2014/main" id="{5621749B-E095-09BE-174A-D7E00E6FA891}"/>
              </a:ext>
            </a:extLst>
          </p:cNvPr>
          <p:cNvSpPr/>
          <p:nvPr/>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bg1"/>
              </a:solidFill>
            </a:endParaRPr>
          </a:p>
        </p:txBody>
      </p:sp>
    </p:spTree>
    <p:extLst>
      <p:ext uri="{BB962C8B-B14F-4D97-AF65-F5344CB8AC3E}">
        <p14:creationId xmlns:p14="http://schemas.microsoft.com/office/powerpoint/2010/main" val="20437174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 Grey BG">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2031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 White BG">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4114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losing Slide 01 - White BG">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5EEE8-FF85-7216-E1D3-A064CC954F9F}"/>
              </a:ext>
            </a:extLst>
          </p:cNvPr>
          <p:cNvSpPr>
            <a:spLocks noGrp="1"/>
          </p:cNvSpPr>
          <p:nvPr>
            <p:ph type="ctrTitle"/>
          </p:nvPr>
        </p:nvSpPr>
        <p:spPr>
          <a:xfrm>
            <a:off x="274003" y="1780031"/>
            <a:ext cx="4980749" cy="1648969"/>
          </a:xfrm>
        </p:spPr>
        <p:txBody>
          <a:bodyPr anchor="t" anchorCtr="0"/>
          <a:lstStyle>
            <a:lvl1pPr algn="l">
              <a:lnSpc>
                <a:spcPct val="100000"/>
              </a:lnSpc>
              <a:defRPr sz="7000" cap="none" baseline="0">
                <a:solidFill>
                  <a:schemeClr val="tx1"/>
                </a:solidFill>
                <a:latin typeface="+mj-lt"/>
                <a:cs typeface="Aptos Black" panose="020F0502020204030204" pitchFamily="34" charset="0"/>
              </a:defRPr>
            </a:lvl1pPr>
          </a:lstStyle>
          <a:p>
            <a:r>
              <a:rPr lang="en-US"/>
              <a:t>Click to edit Master title style</a:t>
            </a:r>
          </a:p>
        </p:txBody>
      </p:sp>
      <p:grpSp>
        <p:nvGrpSpPr>
          <p:cNvPr id="25" name="Group 24">
            <a:extLst>
              <a:ext uri="{FF2B5EF4-FFF2-40B4-BE49-F238E27FC236}">
                <a16:creationId xmlns:a16="http://schemas.microsoft.com/office/drawing/2014/main" id="{6B1DD8AF-92E4-F31B-D275-4E57F9953073}"/>
              </a:ext>
            </a:extLst>
          </p:cNvPr>
          <p:cNvGrpSpPr/>
          <p:nvPr/>
        </p:nvGrpSpPr>
        <p:grpSpPr>
          <a:xfrm>
            <a:off x="6218908" y="0"/>
            <a:ext cx="3305146" cy="6858000"/>
            <a:chOff x="6225114" y="12878"/>
            <a:chExt cx="3276812" cy="6799208"/>
          </a:xfrm>
        </p:grpSpPr>
        <p:sp>
          <p:nvSpPr>
            <p:cNvPr id="22" name="Freeform 21">
              <a:extLst>
                <a:ext uri="{FF2B5EF4-FFF2-40B4-BE49-F238E27FC236}">
                  <a16:creationId xmlns:a16="http://schemas.microsoft.com/office/drawing/2014/main" id="{F9A8EAE2-9D13-C652-1BD3-D1C6C040E7EF}"/>
                </a:ext>
              </a:extLst>
            </p:cNvPr>
            <p:cNvSpPr/>
            <p:nvPr/>
          </p:nvSpPr>
          <p:spPr>
            <a:xfrm>
              <a:off x="6225114" y="2801372"/>
              <a:ext cx="3276812" cy="3279610"/>
            </a:xfrm>
            <a:custGeom>
              <a:avLst/>
              <a:gdLst>
                <a:gd name="connsiteX0" fmla="*/ 1638438 w 3276812"/>
                <a:gd name="connsiteY0" fmla="*/ 3279611 h 3279610"/>
                <a:gd name="connsiteX1" fmla="*/ 3276812 w 3276812"/>
                <a:gd name="connsiteY1" fmla="*/ 1639806 h 3279610"/>
                <a:gd name="connsiteX2" fmla="*/ 1638438 w 3276812"/>
                <a:gd name="connsiteY2" fmla="*/ 0 h 3279610"/>
                <a:gd name="connsiteX3" fmla="*/ 0 w 3276812"/>
                <a:gd name="connsiteY3" fmla="*/ 1639806 h 3279610"/>
                <a:gd name="connsiteX4" fmla="*/ 1638438 w 3276812"/>
                <a:gd name="connsiteY4" fmla="*/ 3279611 h 3279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812" h="3279610">
                  <a:moveTo>
                    <a:pt x="1638438" y="3279611"/>
                  </a:moveTo>
                  <a:cubicBezTo>
                    <a:pt x="2543264" y="3279611"/>
                    <a:pt x="3276812" y="2545422"/>
                    <a:pt x="3276812" y="1639806"/>
                  </a:cubicBezTo>
                  <a:cubicBezTo>
                    <a:pt x="3276812" y="734189"/>
                    <a:pt x="2543264" y="0"/>
                    <a:pt x="1638438" y="0"/>
                  </a:cubicBezTo>
                  <a:cubicBezTo>
                    <a:pt x="733611" y="0"/>
                    <a:pt x="0" y="734126"/>
                    <a:pt x="0" y="1639806"/>
                  </a:cubicBezTo>
                  <a:cubicBezTo>
                    <a:pt x="0" y="2545422"/>
                    <a:pt x="733548" y="3279611"/>
                    <a:pt x="1638438" y="3279611"/>
                  </a:cubicBezTo>
                </a:path>
              </a:pathLst>
            </a:custGeom>
            <a:solidFill>
              <a:schemeClr val="accent1">
                <a:alpha val="45000"/>
              </a:schemeClr>
            </a:solidFill>
            <a:ln w="627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2F1B4DC9-D8BF-9A52-8BAB-69E95BE6008B}"/>
                </a:ext>
              </a:extLst>
            </p:cNvPr>
            <p:cNvSpPr/>
            <p:nvPr/>
          </p:nvSpPr>
          <p:spPr>
            <a:xfrm>
              <a:off x="6225114" y="12878"/>
              <a:ext cx="3276812" cy="1639805"/>
            </a:xfrm>
            <a:custGeom>
              <a:avLst/>
              <a:gdLst>
                <a:gd name="connsiteX0" fmla="*/ 0 w 3276812"/>
                <a:gd name="connsiteY0" fmla="*/ 0 h 1639805"/>
                <a:gd name="connsiteX1" fmla="*/ 1638375 w 3276812"/>
                <a:gd name="connsiteY1" fmla="*/ 1639805 h 1639805"/>
                <a:gd name="connsiteX2" fmla="*/ 3276812 w 3276812"/>
                <a:gd name="connsiteY2" fmla="*/ 0 h 1639805"/>
                <a:gd name="connsiteX3" fmla="*/ 0 w 3276812"/>
                <a:gd name="connsiteY3" fmla="*/ 0 h 1639805"/>
              </a:gdLst>
              <a:ahLst/>
              <a:cxnLst>
                <a:cxn ang="0">
                  <a:pos x="connsiteX0" y="connsiteY0"/>
                </a:cxn>
                <a:cxn ang="0">
                  <a:pos x="connsiteX1" y="connsiteY1"/>
                </a:cxn>
                <a:cxn ang="0">
                  <a:pos x="connsiteX2" y="connsiteY2"/>
                </a:cxn>
                <a:cxn ang="0">
                  <a:pos x="connsiteX3" y="connsiteY3"/>
                </a:cxn>
              </a:cxnLst>
              <a:rect l="l" t="t" r="r" b="b"/>
              <a:pathLst>
                <a:path w="3276812" h="1639805">
                  <a:moveTo>
                    <a:pt x="0" y="0"/>
                  </a:moveTo>
                  <a:cubicBezTo>
                    <a:pt x="0" y="905617"/>
                    <a:pt x="733548" y="1639805"/>
                    <a:pt x="1638375" y="1639805"/>
                  </a:cubicBezTo>
                  <a:cubicBezTo>
                    <a:pt x="2543201" y="1639805"/>
                    <a:pt x="3276812" y="905680"/>
                    <a:pt x="3276812" y="0"/>
                  </a:cubicBezTo>
                  <a:lnTo>
                    <a:pt x="0" y="0"/>
                  </a:lnTo>
                  <a:close/>
                </a:path>
              </a:pathLst>
            </a:custGeom>
            <a:solidFill>
              <a:schemeClr val="accent1"/>
            </a:solidFill>
            <a:ln w="627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2AABB1F-B7B8-D6E9-523F-58350DC57B5F}"/>
                </a:ext>
              </a:extLst>
            </p:cNvPr>
            <p:cNvSpPr/>
            <p:nvPr/>
          </p:nvSpPr>
          <p:spPr>
            <a:xfrm>
              <a:off x="6225177" y="5172281"/>
              <a:ext cx="3276749" cy="1639805"/>
            </a:xfrm>
            <a:custGeom>
              <a:avLst/>
              <a:gdLst>
                <a:gd name="connsiteX0" fmla="*/ 1638375 w 3276749"/>
                <a:gd name="connsiteY0" fmla="*/ 0 h 1639805"/>
                <a:gd name="connsiteX1" fmla="*/ 0 w 3276749"/>
                <a:gd name="connsiteY1" fmla="*/ 1639805 h 1639805"/>
                <a:gd name="connsiteX2" fmla="*/ 0 w 3276749"/>
                <a:gd name="connsiteY2" fmla="*/ 1639805 h 1639805"/>
                <a:gd name="connsiteX3" fmla="*/ 3276749 w 3276749"/>
                <a:gd name="connsiteY3" fmla="*/ 1639805 h 1639805"/>
                <a:gd name="connsiteX4" fmla="*/ 3276749 w 3276749"/>
                <a:gd name="connsiteY4" fmla="*/ 1639805 h 1639805"/>
                <a:gd name="connsiteX5" fmla="*/ 1638375 w 3276749"/>
                <a:gd name="connsiteY5" fmla="*/ 0 h 1639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6749" h="1639805">
                  <a:moveTo>
                    <a:pt x="1638375" y="0"/>
                  </a:moveTo>
                  <a:cubicBezTo>
                    <a:pt x="733548" y="0"/>
                    <a:pt x="0" y="734189"/>
                    <a:pt x="0" y="1639805"/>
                  </a:cubicBezTo>
                  <a:cubicBezTo>
                    <a:pt x="0" y="1639805"/>
                    <a:pt x="0" y="1639805"/>
                    <a:pt x="0" y="1639805"/>
                  </a:cubicBezTo>
                  <a:lnTo>
                    <a:pt x="3276749" y="1639805"/>
                  </a:lnTo>
                  <a:cubicBezTo>
                    <a:pt x="3276749" y="1639805"/>
                    <a:pt x="3276749" y="1639805"/>
                    <a:pt x="3276749" y="1639805"/>
                  </a:cubicBezTo>
                  <a:cubicBezTo>
                    <a:pt x="3276749" y="734189"/>
                    <a:pt x="2543201" y="0"/>
                    <a:pt x="1638375" y="0"/>
                  </a:cubicBezTo>
                  <a:close/>
                </a:path>
              </a:pathLst>
            </a:custGeom>
            <a:solidFill>
              <a:schemeClr val="accent1">
                <a:alpha val="18000"/>
              </a:schemeClr>
            </a:solidFill>
            <a:ln w="6277" cap="flat">
              <a:noFill/>
              <a:prstDash val="solid"/>
              <a:miter/>
            </a:ln>
          </p:spPr>
          <p:txBody>
            <a:bodyPr rtlCol="0" anchor="ctr"/>
            <a:lstStyle/>
            <a:p>
              <a:endParaRPr lang="en-US"/>
            </a:p>
          </p:txBody>
        </p:sp>
      </p:grpSp>
      <p:sp>
        <p:nvSpPr>
          <p:cNvPr id="4" name="Graphic 14">
            <a:extLst>
              <a:ext uri="{FF2B5EF4-FFF2-40B4-BE49-F238E27FC236}">
                <a16:creationId xmlns:a16="http://schemas.microsoft.com/office/drawing/2014/main" id="{A32AA455-7A1A-EAD1-0BAA-C4BF17EB2CBC}"/>
              </a:ext>
            </a:extLst>
          </p:cNvPr>
          <p:cNvSpPr/>
          <p:nvPr userDrawn="1"/>
        </p:nvSpPr>
        <p:spPr>
          <a:xfrm>
            <a:off x="10835954" y="282856"/>
            <a:ext cx="1085374" cy="1075203"/>
          </a:xfrm>
          <a:custGeom>
            <a:avLst/>
            <a:gdLst>
              <a:gd name="connsiteX0" fmla="*/ 2797238 w 5381200"/>
              <a:gd name="connsiteY0" fmla="*/ 2292455 h 5330772"/>
              <a:gd name="connsiteX1" fmla="*/ 2797238 w 5381200"/>
              <a:gd name="connsiteY1" fmla="*/ 2290393 h 5330772"/>
              <a:gd name="connsiteX2" fmla="*/ 2641721 w 5381200"/>
              <a:gd name="connsiteY2" fmla="*/ 2116477 h 5330772"/>
              <a:gd name="connsiteX3" fmla="*/ 2483155 w 5381200"/>
              <a:gd name="connsiteY3" fmla="*/ 2290393 h 5330772"/>
              <a:gd name="connsiteX4" fmla="*/ 2483155 w 5381200"/>
              <a:gd name="connsiteY4" fmla="*/ 2292455 h 5330772"/>
              <a:gd name="connsiteX5" fmla="*/ 2641721 w 5381200"/>
              <a:gd name="connsiteY5" fmla="*/ 2466370 h 5330772"/>
              <a:gd name="connsiteX6" fmla="*/ 2797238 w 5381200"/>
              <a:gd name="connsiteY6" fmla="*/ 2292455 h 5330772"/>
              <a:gd name="connsiteX7" fmla="*/ 3472309 w 5381200"/>
              <a:gd name="connsiteY7" fmla="*/ 1857218 h 5330772"/>
              <a:gd name="connsiteX8" fmla="*/ 3472309 w 5381200"/>
              <a:gd name="connsiteY8" fmla="*/ 1856949 h 5330772"/>
              <a:gd name="connsiteX9" fmla="*/ 3449350 w 5381200"/>
              <a:gd name="connsiteY9" fmla="*/ 1838661 h 5330772"/>
              <a:gd name="connsiteX10" fmla="*/ 3421278 w 5381200"/>
              <a:gd name="connsiteY10" fmla="*/ 1838661 h 5330772"/>
              <a:gd name="connsiteX11" fmla="*/ 3421278 w 5381200"/>
              <a:gd name="connsiteY11" fmla="*/ 1875686 h 5330772"/>
              <a:gd name="connsiteX12" fmla="*/ 3449529 w 5381200"/>
              <a:gd name="connsiteY12" fmla="*/ 1875686 h 5330772"/>
              <a:gd name="connsiteX13" fmla="*/ 3472309 w 5381200"/>
              <a:gd name="connsiteY13" fmla="*/ 1857218 h 5330772"/>
              <a:gd name="connsiteX14" fmla="*/ 3490606 w 5381200"/>
              <a:gd name="connsiteY14" fmla="*/ 1856322 h 5330772"/>
              <a:gd name="connsiteX15" fmla="*/ 3465673 w 5381200"/>
              <a:gd name="connsiteY15" fmla="*/ 1888236 h 5330772"/>
              <a:gd name="connsiteX16" fmla="*/ 3487108 w 5381200"/>
              <a:gd name="connsiteY16" fmla="*/ 1915130 h 5330772"/>
              <a:gd name="connsiteX17" fmla="*/ 3490067 w 5381200"/>
              <a:gd name="connsiteY17" fmla="*/ 1922033 h 5330772"/>
              <a:gd name="connsiteX18" fmla="*/ 3481368 w 5381200"/>
              <a:gd name="connsiteY18" fmla="*/ 1930549 h 5330772"/>
              <a:gd name="connsiteX19" fmla="*/ 3472489 w 5381200"/>
              <a:gd name="connsiteY19" fmla="*/ 1925708 h 5330772"/>
              <a:gd name="connsiteX20" fmla="*/ 3445852 w 5381200"/>
              <a:gd name="connsiteY20" fmla="*/ 1891732 h 5330772"/>
              <a:gd name="connsiteX21" fmla="*/ 3421278 w 5381200"/>
              <a:gd name="connsiteY21" fmla="*/ 1891732 h 5330772"/>
              <a:gd name="connsiteX22" fmla="*/ 3421278 w 5381200"/>
              <a:gd name="connsiteY22" fmla="*/ 1921406 h 5330772"/>
              <a:gd name="connsiteX23" fmla="*/ 3412130 w 5381200"/>
              <a:gd name="connsiteY23" fmla="*/ 1930549 h 5330772"/>
              <a:gd name="connsiteX24" fmla="*/ 3403161 w 5381200"/>
              <a:gd name="connsiteY24" fmla="*/ 1921406 h 5330772"/>
              <a:gd name="connsiteX25" fmla="*/ 3403161 w 5381200"/>
              <a:gd name="connsiteY25" fmla="*/ 1831310 h 5330772"/>
              <a:gd name="connsiteX26" fmla="*/ 3412130 w 5381200"/>
              <a:gd name="connsiteY26" fmla="*/ 1822166 h 5330772"/>
              <a:gd name="connsiteX27" fmla="*/ 3450874 w 5381200"/>
              <a:gd name="connsiteY27" fmla="*/ 1822166 h 5330772"/>
              <a:gd name="connsiteX28" fmla="*/ 3481906 w 5381200"/>
              <a:gd name="connsiteY28" fmla="*/ 1832924 h 5330772"/>
              <a:gd name="connsiteX29" fmla="*/ 3490606 w 5381200"/>
              <a:gd name="connsiteY29" fmla="*/ 1855963 h 5330772"/>
              <a:gd name="connsiteX30" fmla="*/ 3490606 w 5381200"/>
              <a:gd name="connsiteY30" fmla="*/ 1856322 h 5330772"/>
              <a:gd name="connsiteX31" fmla="*/ 3533297 w 5381200"/>
              <a:gd name="connsiteY31" fmla="*/ 1877837 h 5330772"/>
              <a:gd name="connsiteX32" fmla="*/ 3533297 w 5381200"/>
              <a:gd name="connsiteY32" fmla="*/ 1877299 h 5330772"/>
              <a:gd name="connsiteX33" fmla="*/ 3443161 w 5381200"/>
              <a:gd name="connsiteY33" fmla="*/ 1786845 h 5330772"/>
              <a:gd name="connsiteX34" fmla="*/ 3352398 w 5381200"/>
              <a:gd name="connsiteY34" fmla="*/ 1877837 h 5330772"/>
              <a:gd name="connsiteX35" fmla="*/ 3352398 w 5381200"/>
              <a:gd name="connsiteY35" fmla="*/ 1878375 h 5330772"/>
              <a:gd name="connsiteX36" fmla="*/ 3442533 w 5381200"/>
              <a:gd name="connsiteY36" fmla="*/ 1968829 h 5330772"/>
              <a:gd name="connsiteX37" fmla="*/ 3533297 w 5381200"/>
              <a:gd name="connsiteY37" fmla="*/ 1877837 h 5330772"/>
              <a:gd name="connsiteX38" fmla="*/ 3543879 w 5381200"/>
              <a:gd name="connsiteY38" fmla="*/ 1877299 h 5330772"/>
              <a:gd name="connsiteX39" fmla="*/ 3543879 w 5381200"/>
              <a:gd name="connsiteY39" fmla="*/ 1877837 h 5330772"/>
              <a:gd name="connsiteX40" fmla="*/ 3442533 w 5381200"/>
              <a:gd name="connsiteY40" fmla="*/ 1978869 h 5330772"/>
              <a:gd name="connsiteX41" fmla="*/ 3341726 w 5381200"/>
              <a:gd name="connsiteY41" fmla="*/ 1878465 h 5330772"/>
              <a:gd name="connsiteX42" fmla="*/ 3341726 w 5381200"/>
              <a:gd name="connsiteY42" fmla="*/ 1877927 h 5330772"/>
              <a:gd name="connsiteX43" fmla="*/ 3443071 w 5381200"/>
              <a:gd name="connsiteY43" fmla="*/ 1776895 h 5330772"/>
              <a:gd name="connsiteX44" fmla="*/ 3543879 w 5381200"/>
              <a:gd name="connsiteY44" fmla="*/ 1877299 h 5330772"/>
              <a:gd name="connsiteX45" fmla="*/ 3285313 w 5381200"/>
              <a:gd name="connsiteY45" fmla="*/ 2008363 h 5330772"/>
              <a:gd name="connsiteX46" fmla="*/ 3478946 w 5381200"/>
              <a:gd name="connsiteY46" fmla="*/ 2216255 h 5330772"/>
              <a:gd name="connsiteX47" fmla="*/ 3478946 w 5381200"/>
              <a:gd name="connsiteY47" fmla="*/ 2506532 h 5330772"/>
              <a:gd name="connsiteX48" fmla="*/ 3417152 w 5381200"/>
              <a:gd name="connsiteY48" fmla="*/ 2568299 h 5330772"/>
              <a:gd name="connsiteX49" fmla="*/ 3354371 w 5381200"/>
              <a:gd name="connsiteY49" fmla="*/ 2506532 h 5330772"/>
              <a:gd name="connsiteX50" fmla="*/ 3354371 w 5381200"/>
              <a:gd name="connsiteY50" fmla="*/ 2254355 h 5330772"/>
              <a:gd name="connsiteX51" fmla="*/ 3237958 w 5381200"/>
              <a:gd name="connsiteY51" fmla="*/ 2121587 h 5330772"/>
              <a:gd name="connsiteX52" fmla="*/ 3115446 w 5381200"/>
              <a:gd name="connsiteY52" fmla="*/ 2256327 h 5330772"/>
              <a:gd name="connsiteX53" fmla="*/ 3115446 w 5381200"/>
              <a:gd name="connsiteY53" fmla="*/ 2506442 h 5330772"/>
              <a:gd name="connsiteX54" fmla="*/ 3052665 w 5381200"/>
              <a:gd name="connsiteY54" fmla="*/ 2568209 h 5330772"/>
              <a:gd name="connsiteX55" fmla="*/ 2990871 w 5381200"/>
              <a:gd name="connsiteY55" fmla="*/ 2506442 h 5330772"/>
              <a:gd name="connsiteX56" fmla="*/ 2990871 w 5381200"/>
              <a:gd name="connsiteY56" fmla="*/ 2076226 h 5330772"/>
              <a:gd name="connsiteX57" fmla="*/ 3052665 w 5381200"/>
              <a:gd name="connsiteY57" fmla="*/ 2013383 h 5330772"/>
              <a:gd name="connsiteX58" fmla="*/ 3115446 w 5381200"/>
              <a:gd name="connsiteY58" fmla="*/ 2076226 h 5330772"/>
              <a:gd name="connsiteX59" fmla="*/ 3115446 w 5381200"/>
              <a:gd name="connsiteY59" fmla="*/ 2102941 h 5330772"/>
              <a:gd name="connsiteX60" fmla="*/ 3285313 w 5381200"/>
              <a:gd name="connsiteY60" fmla="*/ 2008363 h 5330772"/>
              <a:gd name="connsiteX61" fmla="*/ 2923875 w 5381200"/>
              <a:gd name="connsiteY61" fmla="*/ 2292455 h 5330772"/>
              <a:gd name="connsiteX62" fmla="*/ 2671677 w 5381200"/>
              <a:gd name="connsiteY62" fmla="*/ 2574484 h 5330772"/>
              <a:gd name="connsiteX63" fmla="*/ 2486294 w 5381200"/>
              <a:gd name="connsiteY63" fmla="*/ 2478741 h 5330772"/>
              <a:gd name="connsiteX64" fmla="*/ 2486294 w 5381200"/>
              <a:gd name="connsiteY64" fmla="*/ 2506532 h 5330772"/>
              <a:gd name="connsiteX65" fmla="*/ 2423424 w 5381200"/>
              <a:gd name="connsiteY65" fmla="*/ 2568299 h 5330772"/>
              <a:gd name="connsiteX66" fmla="*/ 2361630 w 5381200"/>
              <a:gd name="connsiteY66" fmla="*/ 2506532 h 5330772"/>
              <a:gd name="connsiteX67" fmla="*/ 2361630 w 5381200"/>
              <a:gd name="connsiteY67" fmla="*/ 1868424 h 5330772"/>
              <a:gd name="connsiteX68" fmla="*/ 2423424 w 5381200"/>
              <a:gd name="connsiteY68" fmla="*/ 1806747 h 5330772"/>
              <a:gd name="connsiteX69" fmla="*/ 2486294 w 5381200"/>
              <a:gd name="connsiteY69" fmla="*/ 1868424 h 5330772"/>
              <a:gd name="connsiteX70" fmla="*/ 2486294 w 5381200"/>
              <a:gd name="connsiteY70" fmla="*/ 2110292 h 5330772"/>
              <a:gd name="connsiteX71" fmla="*/ 2671677 w 5381200"/>
              <a:gd name="connsiteY71" fmla="*/ 2008453 h 5330772"/>
              <a:gd name="connsiteX72" fmla="*/ 2923875 w 5381200"/>
              <a:gd name="connsiteY72" fmla="*/ 2290482 h 5330772"/>
              <a:gd name="connsiteX73" fmla="*/ 2923875 w 5381200"/>
              <a:gd name="connsiteY73" fmla="*/ 2292455 h 5330772"/>
              <a:gd name="connsiteX74" fmla="*/ 2273109 w 5381200"/>
              <a:gd name="connsiteY74" fmla="*/ 2506532 h 5330772"/>
              <a:gd name="connsiteX75" fmla="*/ 2211315 w 5381200"/>
              <a:gd name="connsiteY75" fmla="*/ 2568299 h 5330772"/>
              <a:gd name="connsiteX76" fmla="*/ 2148534 w 5381200"/>
              <a:gd name="connsiteY76" fmla="*/ 2506532 h 5330772"/>
              <a:gd name="connsiteX77" fmla="*/ 2148534 w 5381200"/>
              <a:gd name="connsiteY77" fmla="*/ 2254355 h 5330772"/>
              <a:gd name="connsiteX78" fmla="*/ 2032210 w 5381200"/>
              <a:gd name="connsiteY78" fmla="*/ 2121587 h 5330772"/>
              <a:gd name="connsiteX79" fmla="*/ 1909699 w 5381200"/>
              <a:gd name="connsiteY79" fmla="*/ 2256327 h 5330772"/>
              <a:gd name="connsiteX80" fmla="*/ 1909699 w 5381200"/>
              <a:gd name="connsiteY80" fmla="*/ 2506442 h 5330772"/>
              <a:gd name="connsiteX81" fmla="*/ 1846828 w 5381200"/>
              <a:gd name="connsiteY81" fmla="*/ 2568209 h 5330772"/>
              <a:gd name="connsiteX82" fmla="*/ 1785034 w 5381200"/>
              <a:gd name="connsiteY82" fmla="*/ 2506442 h 5330772"/>
              <a:gd name="connsiteX83" fmla="*/ 1785034 w 5381200"/>
              <a:gd name="connsiteY83" fmla="*/ 2076226 h 5330772"/>
              <a:gd name="connsiteX84" fmla="*/ 1846828 w 5381200"/>
              <a:gd name="connsiteY84" fmla="*/ 2013383 h 5330772"/>
              <a:gd name="connsiteX85" fmla="*/ 1909699 w 5381200"/>
              <a:gd name="connsiteY85" fmla="*/ 2076226 h 5330772"/>
              <a:gd name="connsiteX86" fmla="*/ 1909699 w 5381200"/>
              <a:gd name="connsiteY86" fmla="*/ 2102941 h 5330772"/>
              <a:gd name="connsiteX87" fmla="*/ 2079565 w 5381200"/>
              <a:gd name="connsiteY87" fmla="*/ 2008274 h 5330772"/>
              <a:gd name="connsiteX88" fmla="*/ 2273199 w 5381200"/>
              <a:gd name="connsiteY88" fmla="*/ 2216165 h 5330772"/>
              <a:gd name="connsiteX89" fmla="*/ 2273199 w 5381200"/>
              <a:gd name="connsiteY89" fmla="*/ 2506532 h 5330772"/>
              <a:gd name="connsiteX90" fmla="*/ 3700652 w 5381200"/>
              <a:gd name="connsiteY90" fmla="*/ 2281966 h 5330772"/>
              <a:gd name="connsiteX91" fmla="*/ 2626116 w 5381200"/>
              <a:gd name="connsiteY91" fmla="*/ 1207994 h 5330772"/>
              <a:gd name="connsiteX92" fmla="*/ 1551669 w 5381200"/>
              <a:gd name="connsiteY92" fmla="*/ 2281966 h 5330772"/>
              <a:gd name="connsiteX93" fmla="*/ 2626116 w 5381200"/>
              <a:gd name="connsiteY93" fmla="*/ 3356027 h 5330772"/>
              <a:gd name="connsiteX94" fmla="*/ 3700652 w 5381200"/>
              <a:gd name="connsiteY94" fmla="*/ 2281966 h 5330772"/>
              <a:gd name="connsiteX95" fmla="*/ 4064869 w 5381200"/>
              <a:gd name="connsiteY95" fmla="*/ 2408010 h 5330772"/>
              <a:gd name="connsiteX96" fmla="*/ 4139399 w 5381200"/>
              <a:gd name="connsiteY96" fmla="*/ 2282414 h 5330772"/>
              <a:gd name="connsiteX97" fmla="*/ 4064869 w 5381200"/>
              <a:gd name="connsiteY97" fmla="*/ 2156460 h 5330772"/>
              <a:gd name="connsiteX98" fmla="*/ 4116439 w 5381200"/>
              <a:gd name="connsiteY98" fmla="*/ 2019659 h 5330772"/>
              <a:gd name="connsiteX99" fmla="*/ 4021102 w 5381200"/>
              <a:gd name="connsiteY99" fmla="*/ 1908586 h 5330772"/>
              <a:gd name="connsiteX100" fmla="*/ 4048188 w 5381200"/>
              <a:gd name="connsiteY100" fmla="*/ 1764971 h 5330772"/>
              <a:gd name="connsiteX101" fmla="*/ 3935003 w 5381200"/>
              <a:gd name="connsiteY101" fmla="*/ 1672097 h 5330772"/>
              <a:gd name="connsiteX102" fmla="*/ 3936618 w 5381200"/>
              <a:gd name="connsiteY102" fmla="*/ 1525883 h 5330772"/>
              <a:gd name="connsiteX103" fmla="*/ 3809173 w 5381200"/>
              <a:gd name="connsiteY103" fmla="*/ 1454165 h 5330772"/>
              <a:gd name="connsiteX104" fmla="*/ 3785406 w 5381200"/>
              <a:gd name="connsiteY104" fmla="*/ 1310013 h 5330772"/>
              <a:gd name="connsiteX105" fmla="*/ 3647288 w 5381200"/>
              <a:gd name="connsiteY105" fmla="*/ 1261424 h 5330772"/>
              <a:gd name="connsiteX106" fmla="*/ 3598947 w 5381200"/>
              <a:gd name="connsiteY106" fmla="*/ 1123547 h 5330772"/>
              <a:gd name="connsiteX107" fmla="*/ 3454462 w 5381200"/>
              <a:gd name="connsiteY107" fmla="*/ 1099701 h 5330772"/>
              <a:gd name="connsiteX108" fmla="*/ 3382713 w 5381200"/>
              <a:gd name="connsiteY108" fmla="*/ 972312 h 5330772"/>
              <a:gd name="connsiteX109" fmla="*/ 3236254 w 5381200"/>
              <a:gd name="connsiteY109" fmla="*/ 973746 h 5330772"/>
              <a:gd name="connsiteX110" fmla="*/ 3143608 w 5381200"/>
              <a:gd name="connsiteY110" fmla="*/ 860881 h 5330772"/>
              <a:gd name="connsiteX111" fmla="*/ 2999750 w 5381200"/>
              <a:gd name="connsiteY111" fmla="*/ 887775 h 5330772"/>
              <a:gd name="connsiteX112" fmla="*/ 2888898 w 5381200"/>
              <a:gd name="connsiteY112" fmla="*/ 792659 h 5330772"/>
              <a:gd name="connsiteX113" fmla="*/ 2751767 w 5381200"/>
              <a:gd name="connsiteY113" fmla="*/ 844206 h 5330772"/>
              <a:gd name="connsiteX114" fmla="*/ 2625936 w 5381200"/>
              <a:gd name="connsiteY114" fmla="*/ 769799 h 5330772"/>
              <a:gd name="connsiteX115" fmla="*/ 2500016 w 5381200"/>
              <a:gd name="connsiteY115" fmla="*/ 844386 h 5330772"/>
              <a:gd name="connsiteX116" fmla="*/ 2363154 w 5381200"/>
              <a:gd name="connsiteY116" fmla="*/ 792659 h 5330772"/>
              <a:gd name="connsiteX117" fmla="*/ 2252212 w 5381200"/>
              <a:gd name="connsiteY117" fmla="*/ 887954 h 5330772"/>
              <a:gd name="connsiteX118" fmla="*/ 2108355 w 5381200"/>
              <a:gd name="connsiteY118" fmla="*/ 860881 h 5330772"/>
              <a:gd name="connsiteX119" fmla="*/ 2015619 w 5381200"/>
              <a:gd name="connsiteY119" fmla="*/ 974015 h 5330772"/>
              <a:gd name="connsiteX120" fmla="*/ 1869340 w 5381200"/>
              <a:gd name="connsiteY120" fmla="*/ 972312 h 5330772"/>
              <a:gd name="connsiteX121" fmla="*/ 1797680 w 5381200"/>
              <a:gd name="connsiteY121" fmla="*/ 1099790 h 5330772"/>
              <a:gd name="connsiteX122" fmla="*/ 1653284 w 5381200"/>
              <a:gd name="connsiteY122" fmla="*/ 1123547 h 5330772"/>
              <a:gd name="connsiteX123" fmla="*/ 1604853 w 5381200"/>
              <a:gd name="connsiteY123" fmla="*/ 1261603 h 5330772"/>
              <a:gd name="connsiteX124" fmla="*/ 1466826 w 5381200"/>
              <a:gd name="connsiteY124" fmla="*/ 1309923 h 5330772"/>
              <a:gd name="connsiteX125" fmla="*/ 1443148 w 5381200"/>
              <a:gd name="connsiteY125" fmla="*/ 1454255 h 5330772"/>
              <a:gd name="connsiteX126" fmla="*/ 1315524 w 5381200"/>
              <a:gd name="connsiteY126" fmla="*/ 1525883 h 5330772"/>
              <a:gd name="connsiteX127" fmla="*/ 1317318 w 5381200"/>
              <a:gd name="connsiteY127" fmla="*/ 1672187 h 5330772"/>
              <a:gd name="connsiteX128" fmla="*/ 1204133 w 5381200"/>
              <a:gd name="connsiteY128" fmla="*/ 1764971 h 5330772"/>
              <a:gd name="connsiteX129" fmla="*/ 1231129 w 5381200"/>
              <a:gd name="connsiteY129" fmla="*/ 1908586 h 5330772"/>
              <a:gd name="connsiteX130" fmla="*/ 1135702 w 5381200"/>
              <a:gd name="connsiteY130" fmla="*/ 2019659 h 5330772"/>
              <a:gd name="connsiteX131" fmla="*/ 1187452 w 5381200"/>
              <a:gd name="connsiteY131" fmla="*/ 2156460 h 5330772"/>
              <a:gd name="connsiteX132" fmla="*/ 1112832 w 5381200"/>
              <a:gd name="connsiteY132" fmla="*/ 2282324 h 5330772"/>
              <a:gd name="connsiteX133" fmla="*/ 1187452 w 5381200"/>
              <a:gd name="connsiteY133" fmla="*/ 2408010 h 5330772"/>
              <a:gd name="connsiteX134" fmla="*/ 1135702 w 5381200"/>
              <a:gd name="connsiteY134" fmla="*/ 2544811 h 5330772"/>
              <a:gd name="connsiteX135" fmla="*/ 1231129 w 5381200"/>
              <a:gd name="connsiteY135" fmla="*/ 2655525 h 5330772"/>
              <a:gd name="connsiteX136" fmla="*/ 1204133 w 5381200"/>
              <a:gd name="connsiteY136" fmla="*/ 2799050 h 5330772"/>
              <a:gd name="connsiteX137" fmla="*/ 1317228 w 5381200"/>
              <a:gd name="connsiteY137" fmla="*/ 2891656 h 5330772"/>
              <a:gd name="connsiteX138" fmla="*/ 1315524 w 5381200"/>
              <a:gd name="connsiteY138" fmla="*/ 3037960 h 5330772"/>
              <a:gd name="connsiteX139" fmla="*/ 1443148 w 5381200"/>
              <a:gd name="connsiteY139" fmla="*/ 3109588 h 5330772"/>
              <a:gd name="connsiteX140" fmla="*/ 1466915 w 5381200"/>
              <a:gd name="connsiteY140" fmla="*/ 3253919 h 5330772"/>
              <a:gd name="connsiteX141" fmla="*/ 1604943 w 5381200"/>
              <a:gd name="connsiteY141" fmla="*/ 3302329 h 5330772"/>
              <a:gd name="connsiteX142" fmla="*/ 1653374 w 5381200"/>
              <a:gd name="connsiteY142" fmla="*/ 3440385 h 5330772"/>
              <a:gd name="connsiteX143" fmla="*/ 1797770 w 5381200"/>
              <a:gd name="connsiteY143" fmla="*/ 3464052 h 5330772"/>
              <a:gd name="connsiteX144" fmla="*/ 1869429 w 5381200"/>
              <a:gd name="connsiteY144" fmla="*/ 3591530 h 5330772"/>
              <a:gd name="connsiteX145" fmla="*/ 2015619 w 5381200"/>
              <a:gd name="connsiteY145" fmla="*/ 3590006 h 5330772"/>
              <a:gd name="connsiteX146" fmla="*/ 2108444 w 5381200"/>
              <a:gd name="connsiteY146" fmla="*/ 3703051 h 5330772"/>
              <a:gd name="connsiteX147" fmla="*/ 2252212 w 5381200"/>
              <a:gd name="connsiteY147" fmla="*/ 3675978 h 5330772"/>
              <a:gd name="connsiteX148" fmla="*/ 2363334 w 5381200"/>
              <a:gd name="connsiteY148" fmla="*/ 3771273 h 5330772"/>
              <a:gd name="connsiteX149" fmla="*/ 2500106 w 5381200"/>
              <a:gd name="connsiteY149" fmla="*/ 3719815 h 5330772"/>
              <a:gd name="connsiteX150" fmla="*/ 2626026 w 5381200"/>
              <a:gd name="connsiteY150" fmla="*/ 3794491 h 5330772"/>
              <a:gd name="connsiteX151" fmla="*/ 2751856 w 5381200"/>
              <a:gd name="connsiteY151" fmla="*/ 3719815 h 5330772"/>
              <a:gd name="connsiteX152" fmla="*/ 2888898 w 5381200"/>
              <a:gd name="connsiteY152" fmla="*/ 3771542 h 5330772"/>
              <a:gd name="connsiteX153" fmla="*/ 2999930 w 5381200"/>
              <a:gd name="connsiteY153" fmla="*/ 3676157 h 5330772"/>
              <a:gd name="connsiteX154" fmla="*/ 3143608 w 5381200"/>
              <a:gd name="connsiteY154" fmla="*/ 3703230 h 5330772"/>
              <a:gd name="connsiteX155" fmla="*/ 3236434 w 5381200"/>
              <a:gd name="connsiteY155" fmla="*/ 3590096 h 5330772"/>
              <a:gd name="connsiteX156" fmla="*/ 3382713 w 5381200"/>
              <a:gd name="connsiteY156" fmla="*/ 3591709 h 5330772"/>
              <a:gd name="connsiteX157" fmla="*/ 3454552 w 5381200"/>
              <a:gd name="connsiteY157" fmla="*/ 3464232 h 5330772"/>
              <a:gd name="connsiteX158" fmla="*/ 3598857 w 5381200"/>
              <a:gd name="connsiteY158" fmla="*/ 3440475 h 5330772"/>
              <a:gd name="connsiteX159" fmla="*/ 3647288 w 5381200"/>
              <a:gd name="connsiteY159" fmla="*/ 3302418 h 5330772"/>
              <a:gd name="connsiteX160" fmla="*/ 3785406 w 5381200"/>
              <a:gd name="connsiteY160" fmla="*/ 3254009 h 5330772"/>
              <a:gd name="connsiteX161" fmla="*/ 3809173 w 5381200"/>
              <a:gd name="connsiteY161" fmla="*/ 3109677 h 5330772"/>
              <a:gd name="connsiteX162" fmla="*/ 3936618 w 5381200"/>
              <a:gd name="connsiteY162" fmla="*/ 3038049 h 5330772"/>
              <a:gd name="connsiteX163" fmla="*/ 3935092 w 5381200"/>
              <a:gd name="connsiteY163" fmla="*/ 2891745 h 5330772"/>
              <a:gd name="connsiteX164" fmla="*/ 4048188 w 5381200"/>
              <a:gd name="connsiteY164" fmla="*/ 2799140 h 5330772"/>
              <a:gd name="connsiteX165" fmla="*/ 4021102 w 5381200"/>
              <a:gd name="connsiteY165" fmla="*/ 2655525 h 5330772"/>
              <a:gd name="connsiteX166" fmla="*/ 4116439 w 5381200"/>
              <a:gd name="connsiteY166" fmla="*/ 2544811 h 5330772"/>
              <a:gd name="connsiteX167" fmla="*/ 4064869 w 5381200"/>
              <a:gd name="connsiteY167" fmla="*/ 2408010 h 5330772"/>
              <a:gd name="connsiteX168" fmla="*/ 3814913 w 5381200"/>
              <a:gd name="connsiteY168" fmla="*/ 2491740 h 5330772"/>
              <a:gd name="connsiteX169" fmla="*/ 3847021 w 5381200"/>
              <a:gd name="connsiteY169" fmla="*/ 2609178 h 5330772"/>
              <a:gd name="connsiteX170" fmla="*/ 3760563 w 5381200"/>
              <a:gd name="connsiteY170" fmla="*/ 2694612 h 5330772"/>
              <a:gd name="connsiteX171" fmla="*/ 3771773 w 5381200"/>
              <a:gd name="connsiteY171" fmla="*/ 2815814 h 5330772"/>
              <a:gd name="connsiteX172" fmla="*/ 3671593 w 5381200"/>
              <a:gd name="connsiteY172" fmla="*/ 2885112 h 5330772"/>
              <a:gd name="connsiteX173" fmla="*/ 3661548 w 5381200"/>
              <a:gd name="connsiteY173" fmla="*/ 3006493 h 5330772"/>
              <a:gd name="connsiteX174" fmla="*/ 3550875 w 5381200"/>
              <a:gd name="connsiteY174" fmla="*/ 3057413 h 5330772"/>
              <a:gd name="connsiteX175" fmla="*/ 3519933 w 5381200"/>
              <a:gd name="connsiteY175" fmla="*/ 3175120 h 5330772"/>
              <a:gd name="connsiteX176" fmla="*/ 3402085 w 5381200"/>
              <a:gd name="connsiteY176" fmla="*/ 3206138 h 5330772"/>
              <a:gd name="connsiteX177" fmla="*/ 3351143 w 5381200"/>
              <a:gd name="connsiteY177" fmla="*/ 3316762 h 5330772"/>
              <a:gd name="connsiteX178" fmla="*/ 3229617 w 5381200"/>
              <a:gd name="connsiteY178" fmla="*/ 3326892 h 5330772"/>
              <a:gd name="connsiteX179" fmla="*/ 3160200 w 5381200"/>
              <a:gd name="connsiteY179" fmla="*/ 3426849 h 5330772"/>
              <a:gd name="connsiteX180" fmla="*/ 3038764 w 5381200"/>
              <a:gd name="connsiteY180" fmla="*/ 3415822 h 5330772"/>
              <a:gd name="connsiteX181" fmla="*/ 2953024 w 5381200"/>
              <a:gd name="connsiteY181" fmla="*/ 3502242 h 5330772"/>
              <a:gd name="connsiteX182" fmla="*/ 2835444 w 5381200"/>
              <a:gd name="connsiteY182" fmla="*/ 3470238 h 5330772"/>
              <a:gd name="connsiteX183" fmla="*/ 2735982 w 5381200"/>
              <a:gd name="connsiteY183" fmla="*/ 3540521 h 5330772"/>
              <a:gd name="connsiteX184" fmla="*/ 2625757 w 5381200"/>
              <a:gd name="connsiteY184" fmla="*/ 3488526 h 5330772"/>
              <a:gd name="connsiteX185" fmla="*/ 2515711 w 5381200"/>
              <a:gd name="connsiteY185" fmla="*/ 3540342 h 5330772"/>
              <a:gd name="connsiteX186" fmla="*/ 2416159 w 5381200"/>
              <a:gd name="connsiteY186" fmla="*/ 3470148 h 5330772"/>
              <a:gd name="connsiteX187" fmla="*/ 2298580 w 5381200"/>
              <a:gd name="connsiteY187" fmla="*/ 3502062 h 5330772"/>
              <a:gd name="connsiteX188" fmla="*/ 2212839 w 5381200"/>
              <a:gd name="connsiteY188" fmla="*/ 3415732 h 5330772"/>
              <a:gd name="connsiteX189" fmla="*/ 2091583 w 5381200"/>
              <a:gd name="connsiteY189" fmla="*/ 3426669 h 5330772"/>
              <a:gd name="connsiteX190" fmla="*/ 2022076 w 5381200"/>
              <a:gd name="connsiteY190" fmla="*/ 3326802 h 5330772"/>
              <a:gd name="connsiteX191" fmla="*/ 1900819 w 5381200"/>
              <a:gd name="connsiteY191" fmla="*/ 3316583 h 5330772"/>
              <a:gd name="connsiteX192" fmla="*/ 1849788 w 5381200"/>
              <a:gd name="connsiteY192" fmla="*/ 3206048 h 5330772"/>
              <a:gd name="connsiteX193" fmla="*/ 1731940 w 5381200"/>
              <a:gd name="connsiteY193" fmla="*/ 3175030 h 5330772"/>
              <a:gd name="connsiteX194" fmla="*/ 1700908 w 5381200"/>
              <a:gd name="connsiteY194" fmla="*/ 3057323 h 5330772"/>
              <a:gd name="connsiteX195" fmla="*/ 1590414 w 5381200"/>
              <a:gd name="connsiteY195" fmla="*/ 3006404 h 5330772"/>
              <a:gd name="connsiteX196" fmla="*/ 1580279 w 5381200"/>
              <a:gd name="connsiteY196" fmla="*/ 2885022 h 5330772"/>
              <a:gd name="connsiteX197" fmla="*/ 1480279 w 5381200"/>
              <a:gd name="connsiteY197" fmla="*/ 2815635 h 5330772"/>
              <a:gd name="connsiteX198" fmla="*/ 1491220 w 5381200"/>
              <a:gd name="connsiteY198" fmla="*/ 2694612 h 5330772"/>
              <a:gd name="connsiteX199" fmla="*/ 1404852 w 5381200"/>
              <a:gd name="connsiteY199" fmla="*/ 2609088 h 5330772"/>
              <a:gd name="connsiteX200" fmla="*/ 1436781 w 5381200"/>
              <a:gd name="connsiteY200" fmla="*/ 2491740 h 5330772"/>
              <a:gd name="connsiteX201" fmla="*/ 1366646 w 5381200"/>
              <a:gd name="connsiteY201" fmla="*/ 2392322 h 5330772"/>
              <a:gd name="connsiteX202" fmla="*/ 1418484 w 5381200"/>
              <a:gd name="connsiteY202" fmla="*/ 2282235 h 5330772"/>
              <a:gd name="connsiteX203" fmla="*/ 1366646 w 5381200"/>
              <a:gd name="connsiteY203" fmla="*/ 2172059 h 5330772"/>
              <a:gd name="connsiteX204" fmla="*/ 1436960 w 5381200"/>
              <a:gd name="connsiteY204" fmla="*/ 2072640 h 5330772"/>
              <a:gd name="connsiteX205" fmla="*/ 1404942 w 5381200"/>
              <a:gd name="connsiteY205" fmla="*/ 1955202 h 5330772"/>
              <a:gd name="connsiteX206" fmla="*/ 1491579 w 5381200"/>
              <a:gd name="connsiteY206" fmla="*/ 1869500 h 5330772"/>
              <a:gd name="connsiteX207" fmla="*/ 1480368 w 5381200"/>
              <a:gd name="connsiteY207" fmla="*/ 1748207 h 5330772"/>
              <a:gd name="connsiteX208" fmla="*/ 1580369 w 5381200"/>
              <a:gd name="connsiteY208" fmla="*/ 1678821 h 5330772"/>
              <a:gd name="connsiteX209" fmla="*/ 1590503 w 5381200"/>
              <a:gd name="connsiteY209" fmla="*/ 1557528 h 5330772"/>
              <a:gd name="connsiteX210" fmla="*/ 1701087 w 5381200"/>
              <a:gd name="connsiteY210" fmla="*/ 1506519 h 5330772"/>
              <a:gd name="connsiteX211" fmla="*/ 1732029 w 5381200"/>
              <a:gd name="connsiteY211" fmla="*/ 1388812 h 5330772"/>
              <a:gd name="connsiteX212" fmla="*/ 1849877 w 5381200"/>
              <a:gd name="connsiteY212" fmla="*/ 1357794 h 5330772"/>
              <a:gd name="connsiteX213" fmla="*/ 1900819 w 5381200"/>
              <a:gd name="connsiteY213" fmla="*/ 1247260 h 5330772"/>
              <a:gd name="connsiteX214" fmla="*/ 2022165 w 5381200"/>
              <a:gd name="connsiteY214" fmla="*/ 1237130 h 5330772"/>
              <a:gd name="connsiteX215" fmla="*/ 2091673 w 5381200"/>
              <a:gd name="connsiteY215" fmla="*/ 1137173 h 5330772"/>
              <a:gd name="connsiteX216" fmla="*/ 2212929 w 5381200"/>
              <a:gd name="connsiteY216" fmla="*/ 1148289 h 5330772"/>
              <a:gd name="connsiteX217" fmla="*/ 2298490 w 5381200"/>
              <a:gd name="connsiteY217" fmla="*/ 1061959 h 5330772"/>
              <a:gd name="connsiteX218" fmla="*/ 2416070 w 5381200"/>
              <a:gd name="connsiteY218" fmla="*/ 1093873 h 5330772"/>
              <a:gd name="connsiteX219" fmla="*/ 2515532 w 5381200"/>
              <a:gd name="connsiteY219" fmla="*/ 1023590 h 5330772"/>
              <a:gd name="connsiteX220" fmla="*/ 2625667 w 5381200"/>
              <a:gd name="connsiteY220" fmla="*/ 1075496 h 5330772"/>
              <a:gd name="connsiteX221" fmla="*/ 2735892 w 5381200"/>
              <a:gd name="connsiteY221" fmla="*/ 1023590 h 5330772"/>
              <a:gd name="connsiteX222" fmla="*/ 2835355 w 5381200"/>
              <a:gd name="connsiteY222" fmla="*/ 1093784 h 5330772"/>
              <a:gd name="connsiteX223" fmla="*/ 2952934 w 5381200"/>
              <a:gd name="connsiteY223" fmla="*/ 1061690 h 5330772"/>
              <a:gd name="connsiteX224" fmla="*/ 3038674 w 5381200"/>
              <a:gd name="connsiteY224" fmla="*/ 1148200 h 5330772"/>
              <a:gd name="connsiteX225" fmla="*/ 3160110 w 5381200"/>
              <a:gd name="connsiteY225" fmla="*/ 1136994 h 5330772"/>
              <a:gd name="connsiteX226" fmla="*/ 3229528 w 5381200"/>
              <a:gd name="connsiteY226" fmla="*/ 1237040 h 5330772"/>
              <a:gd name="connsiteX227" fmla="*/ 3351053 w 5381200"/>
              <a:gd name="connsiteY227" fmla="*/ 1247170 h 5330772"/>
              <a:gd name="connsiteX228" fmla="*/ 3401995 w 5381200"/>
              <a:gd name="connsiteY228" fmla="*/ 1357794 h 5330772"/>
              <a:gd name="connsiteX229" fmla="*/ 3519844 w 5381200"/>
              <a:gd name="connsiteY229" fmla="*/ 1388812 h 5330772"/>
              <a:gd name="connsiteX230" fmla="*/ 3550785 w 5381200"/>
              <a:gd name="connsiteY230" fmla="*/ 1506519 h 5330772"/>
              <a:gd name="connsiteX231" fmla="*/ 3661548 w 5381200"/>
              <a:gd name="connsiteY231" fmla="*/ 1557438 h 5330772"/>
              <a:gd name="connsiteX232" fmla="*/ 3671503 w 5381200"/>
              <a:gd name="connsiteY232" fmla="*/ 1678821 h 5330772"/>
              <a:gd name="connsiteX233" fmla="*/ 3771684 w 5381200"/>
              <a:gd name="connsiteY233" fmla="*/ 1748207 h 5330772"/>
              <a:gd name="connsiteX234" fmla="*/ 3760473 w 5381200"/>
              <a:gd name="connsiteY234" fmla="*/ 1869410 h 5330772"/>
              <a:gd name="connsiteX235" fmla="*/ 3846931 w 5381200"/>
              <a:gd name="connsiteY235" fmla="*/ 1955202 h 5330772"/>
              <a:gd name="connsiteX236" fmla="*/ 3814823 w 5381200"/>
              <a:gd name="connsiteY236" fmla="*/ 2072550 h 5330772"/>
              <a:gd name="connsiteX237" fmla="*/ 3885227 w 5381200"/>
              <a:gd name="connsiteY237" fmla="*/ 2171969 h 5330772"/>
              <a:gd name="connsiteX238" fmla="*/ 3833209 w 5381200"/>
              <a:gd name="connsiteY238" fmla="*/ 2282056 h 5330772"/>
              <a:gd name="connsiteX239" fmla="*/ 3885227 w 5381200"/>
              <a:gd name="connsiteY239" fmla="*/ 2392232 h 5330772"/>
              <a:gd name="connsiteX240" fmla="*/ 3814913 w 5381200"/>
              <a:gd name="connsiteY240" fmla="*/ 2491740 h 5330772"/>
              <a:gd name="connsiteX241" fmla="*/ 1648441 w 5381200"/>
              <a:gd name="connsiteY241" fmla="*/ 3620755 h 5330772"/>
              <a:gd name="connsiteX242" fmla="*/ 1501624 w 5381200"/>
              <a:gd name="connsiteY242" fmla="*/ 3767597 h 5330772"/>
              <a:gd name="connsiteX243" fmla="*/ 1354717 w 5381200"/>
              <a:gd name="connsiteY243" fmla="*/ 3620755 h 5330772"/>
              <a:gd name="connsiteX244" fmla="*/ 1501624 w 5381200"/>
              <a:gd name="connsiteY244" fmla="*/ 3473913 h 5330772"/>
              <a:gd name="connsiteX245" fmla="*/ 1648441 w 5381200"/>
              <a:gd name="connsiteY245" fmla="*/ 3620755 h 5330772"/>
              <a:gd name="connsiteX246" fmla="*/ 1433373 w 5381200"/>
              <a:gd name="connsiteY246" fmla="*/ 3405871 h 5330772"/>
              <a:gd name="connsiteX247" fmla="*/ 1286555 w 5381200"/>
              <a:gd name="connsiteY247" fmla="*/ 3552713 h 5330772"/>
              <a:gd name="connsiteX248" fmla="*/ 1139738 w 5381200"/>
              <a:gd name="connsiteY248" fmla="*/ 3405871 h 5330772"/>
              <a:gd name="connsiteX249" fmla="*/ 1286555 w 5381200"/>
              <a:gd name="connsiteY249" fmla="*/ 3259119 h 5330772"/>
              <a:gd name="connsiteX250" fmla="*/ 1433373 w 5381200"/>
              <a:gd name="connsiteY250" fmla="*/ 3405871 h 5330772"/>
              <a:gd name="connsiteX251" fmla="*/ 1258304 w 5381200"/>
              <a:gd name="connsiteY251" fmla="*/ 3155666 h 5330772"/>
              <a:gd name="connsiteX252" fmla="*/ 1111487 w 5381200"/>
              <a:gd name="connsiteY252" fmla="*/ 3302418 h 5330772"/>
              <a:gd name="connsiteX253" fmla="*/ 964670 w 5381200"/>
              <a:gd name="connsiteY253" fmla="*/ 3155666 h 5330772"/>
              <a:gd name="connsiteX254" fmla="*/ 1111487 w 5381200"/>
              <a:gd name="connsiteY254" fmla="*/ 3008824 h 5330772"/>
              <a:gd name="connsiteX255" fmla="*/ 1258304 w 5381200"/>
              <a:gd name="connsiteY255" fmla="*/ 3155666 h 5330772"/>
              <a:gd name="connsiteX256" fmla="*/ 1129514 w 5381200"/>
              <a:gd name="connsiteY256" fmla="*/ 2879553 h 5330772"/>
              <a:gd name="connsiteX257" fmla="*/ 982697 w 5381200"/>
              <a:gd name="connsiteY257" fmla="*/ 3026395 h 5330772"/>
              <a:gd name="connsiteX258" fmla="*/ 835880 w 5381200"/>
              <a:gd name="connsiteY258" fmla="*/ 2879553 h 5330772"/>
              <a:gd name="connsiteX259" fmla="*/ 982697 w 5381200"/>
              <a:gd name="connsiteY259" fmla="*/ 2732891 h 5330772"/>
              <a:gd name="connsiteX260" fmla="*/ 1129514 w 5381200"/>
              <a:gd name="connsiteY260" fmla="*/ 2879553 h 5330772"/>
              <a:gd name="connsiteX261" fmla="*/ 1050590 w 5381200"/>
              <a:gd name="connsiteY261" fmla="*/ 2585511 h 5330772"/>
              <a:gd name="connsiteX262" fmla="*/ 903862 w 5381200"/>
              <a:gd name="connsiteY262" fmla="*/ 2732353 h 5330772"/>
              <a:gd name="connsiteX263" fmla="*/ 756956 w 5381200"/>
              <a:gd name="connsiteY263" fmla="*/ 2585511 h 5330772"/>
              <a:gd name="connsiteX264" fmla="*/ 903862 w 5381200"/>
              <a:gd name="connsiteY264" fmla="*/ 2438759 h 5330772"/>
              <a:gd name="connsiteX265" fmla="*/ 1050590 w 5381200"/>
              <a:gd name="connsiteY265" fmla="*/ 2585511 h 5330772"/>
              <a:gd name="connsiteX266" fmla="*/ 1024042 w 5381200"/>
              <a:gd name="connsiteY266" fmla="*/ 2282145 h 5330772"/>
              <a:gd name="connsiteX267" fmla="*/ 877315 w 5381200"/>
              <a:gd name="connsiteY267" fmla="*/ 2428987 h 5330772"/>
              <a:gd name="connsiteX268" fmla="*/ 730408 w 5381200"/>
              <a:gd name="connsiteY268" fmla="*/ 2282145 h 5330772"/>
              <a:gd name="connsiteX269" fmla="*/ 877315 w 5381200"/>
              <a:gd name="connsiteY269" fmla="*/ 2135393 h 5330772"/>
              <a:gd name="connsiteX270" fmla="*/ 1024042 w 5381200"/>
              <a:gd name="connsiteY270" fmla="*/ 2282145 h 5330772"/>
              <a:gd name="connsiteX271" fmla="*/ 1050590 w 5381200"/>
              <a:gd name="connsiteY271" fmla="*/ 1978511 h 5330772"/>
              <a:gd name="connsiteX272" fmla="*/ 903862 w 5381200"/>
              <a:gd name="connsiteY272" fmla="*/ 2125353 h 5330772"/>
              <a:gd name="connsiteX273" fmla="*/ 756956 w 5381200"/>
              <a:gd name="connsiteY273" fmla="*/ 1978511 h 5330772"/>
              <a:gd name="connsiteX274" fmla="*/ 903862 w 5381200"/>
              <a:gd name="connsiteY274" fmla="*/ 1831759 h 5330772"/>
              <a:gd name="connsiteX275" fmla="*/ 1050590 w 5381200"/>
              <a:gd name="connsiteY275" fmla="*/ 1978511 h 5330772"/>
              <a:gd name="connsiteX276" fmla="*/ 1129514 w 5381200"/>
              <a:gd name="connsiteY276" fmla="*/ 1684199 h 5330772"/>
              <a:gd name="connsiteX277" fmla="*/ 982697 w 5381200"/>
              <a:gd name="connsiteY277" fmla="*/ 1831041 h 5330772"/>
              <a:gd name="connsiteX278" fmla="*/ 835880 w 5381200"/>
              <a:gd name="connsiteY278" fmla="*/ 1684199 h 5330772"/>
              <a:gd name="connsiteX279" fmla="*/ 982697 w 5381200"/>
              <a:gd name="connsiteY279" fmla="*/ 1537447 h 5330772"/>
              <a:gd name="connsiteX280" fmla="*/ 1129514 w 5381200"/>
              <a:gd name="connsiteY280" fmla="*/ 1684199 h 5330772"/>
              <a:gd name="connsiteX281" fmla="*/ 1258304 w 5381200"/>
              <a:gd name="connsiteY281" fmla="*/ 1408086 h 5330772"/>
              <a:gd name="connsiteX282" fmla="*/ 1111487 w 5381200"/>
              <a:gd name="connsiteY282" fmla="*/ 1554928 h 5330772"/>
              <a:gd name="connsiteX283" fmla="*/ 964670 w 5381200"/>
              <a:gd name="connsiteY283" fmla="*/ 1408086 h 5330772"/>
              <a:gd name="connsiteX284" fmla="*/ 1111487 w 5381200"/>
              <a:gd name="connsiteY284" fmla="*/ 1261334 h 5330772"/>
              <a:gd name="connsiteX285" fmla="*/ 1258304 w 5381200"/>
              <a:gd name="connsiteY285" fmla="*/ 1408086 h 5330772"/>
              <a:gd name="connsiteX286" fmla="*/ 1433373 w 5381200"/>
              <a:gd name="connsiteY286" fmla="*/ 1158509 h 5330772"/>
              <a:gd name="connsiteX287" fmla="*/ 1286555 w 5381200"/>
              <a:gd name="connsiteY287" fmla="*/ 1305261 h 5330772"/>
              <a:gd name="connsiteX288" fmla="*/ 1139738 w 5381200"/>
              <a:gd name="connsiteY288" fmla="*/ 1158509 h 5330772"/>
              <a:gd name="connsiteX289" fmla="*/ 1286555 w 5381200"/>
              <a:gd name="connsiteY289" fmla="*/ 1011757 h 5330772"/>
              <a:gd name="connsiteX290" fmla="*/ 1433373 w 5381200"/>
              <a:gd name="connsiteY290" fmla="*/ 1158509 h 5330772"/>
              <a:gd name="connsiteX291" fmla="*/ 2772933 w 5381200"/>
              <a:gd name="connsiteY291" fmla="*/ 534117 h 5330772"/>
              <a:gd name="connsiteX292" fmla="*/ 2626116 w 5381200"/>
              <a:gd name="connsiteY292" fmla="*/ 680869 h 5330772"/>
              <a:gd name="connsiteX293" fmla="*/ 2479299 w 5381200"/>
              <a:gd name="connsiteY293" fmla="*/ 534117 h 5330772"/>
              <a:gd name="connsiteX294" fmla="*/ 2626116 w 5381200"/>
              <a:gd name="connsiteY294" fmla="*/ 387275 h 5330772"/>
              <a:gd name="connsiteX295" fmla="*/ 2772933 w 5381200"/>
              <a:gd name="connsiteY295" fmla="*/ 534117 h 5330772"/>
              <a:gd name="connsiteX296" fmla="*/ 3076612 w 5381200"/>
              <a:gd name="connsiteY296" fmla="*/ 560384 h 5330772"/>
              <a:gd name="connsiteX297" fmla="*/ 2929705 w 5381200"/>
              <a:gd name="connsiteY297" fmla="*/ 707136 h 5330772"/>
              <a:gd name="connsiteX298" fmla="*/ 2782798 w 5381200"/>
              <a:gd name="connsiteY298" fmla="*/ 560384 h 5330772"/>
              <a:gd name="connsiteX299" fmla="*/ 2929705 w 5381200"/>
              <a:gd name="connsiteY299" fmla="*/ 413542 h 5330772"/>
              <a:gd name="connsiteX300" fmla="*/ 3076612 w 5381200"/>
              <a:gd name="connsiteY300" fmla="*/ 560384 h 5330772"/>
              <a:gd name="connsiteX301" fmla="*/ 3897514 w 5381200"/>
              <a:gd name="connsiteY301" fmla="*/ 942908 h 5330772"/>
              <a:gd name="connsiteX302" fmla="*/ 3750607 w 5381200"/>
              <a:gd name="connsiteY302" fmla="*/ 1089750 h 5330772"/>
              <a:gd name="connsiteX303" fmla="*/ 3603790 w 5381200"/>
              <a:gd name="connsiteY303" fmla="*/ 942908 h 5330772"/>
              <a:gd name="connsiteX304" fmla="*/ 3750607 w 5381200"/>
              <a:gd name="connsiteY304" fmla="*/ 796066 h 5330772"/>
              <a:gd name="connsiteX305" fmla="*/ 3897514 w 5381200"/>
              <a:gd name="connsiteY305" fmla="*/ 942908 h 5330772"/>
              <a:gd name="connsiteX306" fmla="*/ 4112672 w 5381200"/>
              <a:gd name="connsiteY306" fmla="*/ 1158509 h 5330772"/>
              <a:gd name="connsiteX307" fmla="*/ 3965855 w 5381200"/>
              <a:gd name="connsiteY307" fmla="*/ 1305261 h 5330772"/>
              <a:gd name="connsiteX308" fmla="*/ 3819128 w 5381200"/>
              <a:gd name="connsiteY308" fmla="*/ 1158509 h 5330772"/>
              <a:gd name="connsiteX309" fmla="*/ 3965855 w 5381200"/>
              <a:gd name="connsiteY309" fmla="*/ 1011757 h 5330772"/>
              <a:gd name="connsiteX310" fmla="*/ 4112672 w 5381200"/>
              <a:gd name="connsiteY310" fmla="*/ 1158509 h 5330772"/>
              <a:gd name="connsiteX311" fmla="*/ 4286216 w 5381200"/>
              <a:gd name="connsiteY311" fmla="*/ 1408086 h 5330772"/>
              <a:gd name="connsiteX312" fmla="*/ 4139399 w 5381200"/>
              <a:gd name="connsiteY312" fmla="*/ 1554928 h 5330772"/>
              <a:gd name="connsiteX313" fmla="*/ 3992492 w 5381200"/>
              <a:gd name="connsiteY313" fmla="*/ 1408086 h 5330772"/>
              <a:gd name="connsiteX314" fmla="*/ 4139399 w 5381200"/>
              <a:gd name="connsiteY314" fmla="*/ 1261334 h 5330772"/>
              <a:gd name="connsiteX315" fmla="*/ 4286216 w 5381200"/>
              <a:gd name="connsiteY315" fmla="*/ 1408086 h 5330772"/>
              <a:gd name="connsiteX316" fmla="*/ 4416441 w 5381200"/>
              <a:gd name="connsiteY316" fmla="*/ 1684199 h 5330772"/>
              <a:gd name="connsiteX317" fmla="*/ 4269624 w 5381200"/>
              <a:gd name="connsiteY317" fmla="*/ 1831041 h 5330772"/>
              <a:gd name="connsiteX318" fmla="*/ 4122896 w 5381200"/>
              <a:gd name="connsiteY318" fmla="*/ 1684199 h 5330772"/>
              <a:gd name="connsiteX319" fmla="*/ 4269624 w 5381200"/>
              <a:gd name="connsiteY319" fmla="*/ 1537447 h 5330772"/>
              <a:gd name="connsiteX320" fmla="*/ 4416441 w 5381200"/>
              <a:gd name="connsiteY320" fmla="*/ 1684199 h 5330772"/>
              <a:gd name="connsiteX321" fmla="*/ 4495276 w 5381200"/>
              <a:gd name="connsiteY321" fmla="*/ 1978511 h 5330772"/>
              <a:gd name="connsiteX322" fmla="*/ 4348459 w 5381200"/>
              <a:gd name="connsiteY322" fmla="*/ 2125353 h 5330772"/>
              <a:gd name="connsiteX323" fmla="*/ 4201642 w 5381200"/>
              <a:gd name="connsiteY323" fmla="*/ 1978511 h 5330772"/>
              <a:gd name="connsiteX324" fmla="*/ 4348459 w 5381200"/>
              <a:gd name="connsiteY324" fmla="*/ 1831759 h 5330772"/>
              <a:gd name="connsiteX325" fmla="*/ 4495276 w 5381200"/>
              <a:gd name="connsiteY325" fmla="*/ 1978511 h 5330772"/>
              <a:gd name="connsiteX326" fmla="*/ 4521913 w 5381200"/>
              <a:gd name="connsiteY326" fmla="*/ 2282145 h 5330772"/>
              <a:gd name="connsiteX327" fmla="*/ 4375006 w 5381200"/>
              <a:gd name="connsiteY327" fmla="*/ 2428987 h 5330772"/>
              <a:gd name="connsiteX328" fmla="*/ 4228099 w 5381200"/>
              <a:gd name="connsiteY328" fmla="*/ 2282145 h 5330772"/>
              <a:gd name="connsiteX329" fmla="*/ 4375006 w 5381200"/>
              <a:gd name="connsiteY329" fmla="*/ 2135393 h 5330772"/>
              <a:gd name="connsiteX330" fmla="*/ 4521913 w 5381200"/>
              <a:gd name="connsiteY330" fmla="*/ 2282145 h 5330772"/>
              <a:gd name="connsiteX331" fmla="*/ 4495276 w 5381200"/>
              <a:gd name="connsiteY331" fmla="*/ 2585511 h 5330772"/>
              <a:gd name="connsiteX332" fmla="*/ 4348459 w 5381200"/>
              <a:gd name="connsiteY332" fmla="*/ 2732353 h 5330772"/>
              <a:gd name="connsiteX333" fmla="*/ 4201642 w 5381200"/>
              <a:gd name="connsiteY333" fmla="*/ 2585511 h 5330772"/>
              <a:gd name="connsiteX334" fmla="*/ 4348459 w 5381200"/>
              <a:gd name="connsiteY334" fmla="*/ 2438759 h 5330772"/>
              <a:gd name="connsiteX335" fmla="*/ 4495276 w 5381200"/>
              <a:gd name="connsiteY335" fmla="*/ 2585511 h 5330772"/>
              <a:gd name="connsiteX336" fmla="*/ 4416352 w 5381200"/>
              <a:gd name="connsiteY336" fmla="*/ 2879553 h 5330772"/>
              <a:gd name="connsiteX337" fmla="*/ 4269624 w 5381200"/>
              <a:gd name="connsiteY337" fmla="*/ 3026395 h 5330772"/>
              <a:gd name="connsiteX338" fmla="*/ 4122628 w 5381200"/>
              <a:gd name="connsiteY338" fmla="*/ 2879553 h 5330772"/>
              <a:gd name="connsiteX339" fmla="*/ 4269624 w 5381200"/>
              <a:gd name="connsiteY339" fmla="*/ 2732891 h 5330772"/>
              <a:gd name="connsiteX340" fmla="*/ 4416352 w 5381200"/>
              <a:gd name="connsiteY340" fmla="*/ 2879553 h 5330772"/>
              <a:gd name="connsiteX341" fmla="*/ 4287562 w 5381200"/>
              <a:gd name="connsiteY341" fmla="*/ 3155666 h 5330772"/>
              <a:gd name="connsiteX342" fmla="*/ 4140744 w 5381200"/>
              <a:gd name="connsiteY342" fmla="*/ 3302418 h 5330772"/>
              <a:gd name="connsiteX343" fmla="*/ 3993927 w 5381200"/>
              <a:gd name="connsiteY343" fmla="*/ 3155666 h 5330772"/>
              <a:gd name="connsiteX344" fmla="*/ 4140744 w 5381200"/>
              <a:gd name="connsiteY344" fmla="*/ 3008824 h 5330772"/>
              <a:gd name="connsiteX345" fmla="*/ 4287562 w 5381200"/>
              <a:gd name="connsiteY345" fmla="*/ 3155666 h 5330772"/>
              <a:gd name="connsiteX346" fmla="*/ 4112672 w 5381200"/>
              <a:gd name="connsiteY346" fmla="*/ 3405244 h 5330772"/>
              <a:gd name="connsiteX347" fmla="*/ 3965855 w 5381200"/>
              <a:gd name="connsiteY347" fmla="*/ 3551996 h 5330772"/>
              <a:gd name="connsiteX348" fmla="*/ 3819038 w 5381200"/>
              <a:gd name="connsiteY348" fmla="*/ 3405244 h 5330772"/>
              <a:gd name="connsiteX349" fmla="*/ 3965855 w 5381200"/>
              <a:gd name="connsiteY349" fmla="*/ 3258491 h 5330772"/>
              <a:gd name="connsiteX350" fmla="*/ 4112672 w 5381200"/>
              <a:gd name="connsiteY350" fmla="*/ 3405244 h 5330772"/>
              <a:gd name="connsiteX351" fmla="*/ 3897155 w 5381200"/>
              <a:gd name="connsiteY351" fmla="*/ 3620845 h 5330772"/>
              <a:gd name="connsiteX352" fmla="*/ 3750338 w 5381200"/>
              <a:gd name="connsiteY352" fmla="*/ 3767687 h 5330772"/>
              <a:gd name="connsiteX353" fmla="*/ 3603521 w 5381200"/>
              <a:gd name="connsiteY353" fmla="*/ 3620845 h 5330772"/>
              <a:gd name="connsiteX354" fmla="*/ 3750338 w 5381200"/>
              <a:gd name="connsiteY354" fmla="*/ 3474003 h 5330772"/>
              <a:gd name="connsiteX355" fmla="*/ 3897155 w 5381200"/>
              <a:gd name="connsiteY355" fmla="*/ 3620845 h 5330772"/>
              <a:gd name="connsiteX356" fmla="*/ 3647378 w 5381200"/>
              <a:gd name="connsiteY356" fmla="*/ 3795656 h 5330772"/>
              <a:gd name="connsiteX357" fmla="*/ 3500650 w 5381200"/>
              <a:gd name="connsiteY357" fmla="*/ 3942409 h 5330772"/>
              <a:gd name="connsiteX358" fmla="*/ 3353744 w 5381200"/>
              <a:gd name="connsiteY358" fmla="*/ 3795656 h 5330772"/>
              <a:gd name="connsiteX359" fmla="*/ 3500650 w 5381200"/>
              <a:gd name="connsiteY359" fmla="*/ 3648904 h 5330772"/>
              <a:gd name="connsiteX360" fmla="*/ 3647378 w 5381200"/>
              <a:gd name="connsiteY360" fmla="*/ 3795656 h 5330772"/>
              <a:gd name="connsiteX361" fmla="*/ 3371143 w 5381200"/>
              <a:gd name="connsiteY361" fmla="*/ 3924390 h 5330772"/>
              <a:gd name="connsiteX362" fmla="*/ 3224236 w 5381200"/>
              <a:gd name="connsiteY362" fmla="*/ 4071231 h 5330772"/>
              <a:gd name="connsiteX363" fmla="*/ 3077419 w 5381200"/>
              <a:gd name="connsiteY363" fmla="*/ 3924390 h 5330772"/>
              <a:gd name="connsiteX364" fmla="*/ 3224236 w 5381200"/>
              <a:gd name="connsiteY364" fmla="*/ 3777638 h 5330772"/>
              <a:gd name="connsiteX365" fmla="*/ 3371143 w 5381200"/>
              <a:gd name="connsiteY365" fmla="*/ 3924390 h 5330772"/>
              <a:gd name="connsiteX366" fmla="*/ 2469164 w 5381200"/>
              <a:gd name="connsiteY366" fmla="*/ 560653 h 5330772"/>
              <a:gd name="connsiteX367" fmla="*/ 2322347 w 5381200"/>
              <a:gd name="connsiteY367" fmla="*/ 707495 h 5330772"/>
              <a:gd name="connsiteX368" fmla="*/ 2175530 w 5381200"/>
              <a:gd name="connsiteY368" fmla="*/ 560653 h 5330772"/>
              <a:gd name="connsiteX369" fmla="*/ 2322347 w 5381200"/>
              <a:gd name="connsiteY369" fmla="*/ 413901 h 5330772"/>
              <a:gd name="connsiteX370" fmla="*/ 2469164 w 5381200"/>
              <a:gd name="connsiteY370" fmla="*/ 560653 h 5330772"/>
              <a:gd name="connsiteX371" fmla="*/ 1115433 w 5381200"/>
              <a:gd name="connsiteY371" fmla="*/ 3655000 h 5330772"/>
              <a:gd name="connsiteX372" fmla="*/ 988616 w 5381200"/>
              <a:gd name="connsiteY372" fmla="*/ 3781761 h 5330772"/>
              <a:gd name="connsiteX373" fmla="*/ 861799 w 5381200"/>
              <a:gd name="connsiteY373" fmla="*/ 3655000 h 5330772"/>
              <a:gd name="connsiteX374" fmla="*/ 988616 w 5381200"/>
              <a:gd name="connsiteY374" fmla="*/ 3528239 h 5330772"/>
              <a:gd name="connsiteX375" fmla="*/ 1115433 w 5381200"/>
              <a:gd name="connsiteY375" fmla="*/ 3655000 h 5330772"/>
              <a:gd name="connsiteX376" fmla="*/ 3821729 w 5381200"/>
              <a:gd name="connsiteY376" fmla="*/ 4132102 h 5330772"/>
              <a:gd name="connsiteX377" fmla="*/ 3694912 w 5381200"/>
              <a:gd name="connsiteY377" fmla="*/ 4258863 h 5330772"/>
              <a:gd name="connsiteX378" fmla="*/ 3568095 w 5381200"/>
              <a:gd name="connsiteY378" fmla="*/ 4132102 h 5330772"/>
              <a:gd name="connsiteX379" fmla="*/ 3694912 w 5381200"/>
              <a:gd name="connsiteY379" fmla="*/ 4005341 h 5330772"/>
              <a:gd name="connsiteX380" fmla="*/ 3821729 w 5381200"/>
              <a:gd name="connsiteY380" fmla="*/ 4132102 h 5330772"/>
              <a:gd name="connsiteX381" fmla="*/ 4126932 w 5381200"/>
              <a:gd name="connsiteY381" fmla="*/ 3918473 h 5330772"/>
              <a:gd name="connsiteX382" fmla="*/ 4000115 w 5381200"/>
              <a:gd name="connsiteY382" fmla="*/ 4045234 h 5330772"/>
              <a:gd name="connsiteX383" fmla="*/ 3873299 w 5381200"/>
              <a:gd name="connsiteY383" fmla="*/ 3918473 h 5330772"/>
              <a:gd name="connsiteX384" fmla="*/ 4000115 w 5381200"/>
              <a:gd name="connsiteY384" fmla="*/ 3791712 h 5330772"/>
              <a:gd name="connsiteX385" fmla="*/ 4126932 w 5381200"/>
              <a:gd name="connsiteY385" fmla="*/ 3918473 h 5330772"/>
              <a:gd name="connsiteX386" fmla="*/ 4390432 w 5381200"/>
              <a:gd name="connsiteY386" fmla="*/ 3655090 h 5330772"/>
              <a:gd name="connsiteX387" fmla="*/ 4263526 w 5381200"/>
              <a:gd name="connsiteY387" fmla="*/ 3781851 h 5330772"/>
              <a:gd name="connsiteX388" fmla="*/ 4136708 w 5381200"/>
              <a:gd name="connsiteY388" fmla="*/ 3655090 h 5330772"/>
              <a:gd name="connsiteX389" fmla="*/ 4263526 w 5381200"/>
              <a:gd name="connsiteY389" fmla="*/ 3528329 h 5330772"/>
              <a:gd name="connsiteX390" fmla="*/ 4390432 w 5381200"/>
              <a:gd name="connsiteY390" fmla="*/ 3655090 h 5330772"/>
              <a:gd name="connsiteX391" fmla="*/ 4604155 w 5381200"/>
              <a:gd name="connsiteY391" fmla="*/ 3350021 h 5330772"/>
              <a:gd name="connsiteX392" fmla="*/ 4477338 w 5381200"/>
              <a:gd name="connsiteY392" fmla="*/ 3476782 h 5330772"/>
              <a:gd name="connsiteX393" fmla="*/ 4350521 w 5381200"/>
              <a:gd name="connsiteY393" fmla="*/ 3350021 h 5330772"/>
              <a:gd name="connsiteX394" fmla="*/ 4477338 w 5381200"/>
              <a:gd name="connsiteY394" fmla="*/ 3223350 h 5330772"/>
              <a:gd name="connsiteX395" fmla="*/ 4604155 w 5381200"/>
              <a:gd name="connsiteY395" fmla="*/ 3350021 h 5330772"/>
              <a:gd name="connsiteX396" fmla="*/ 4761555 w 5381200"/>
              <a:gd name="connsiteY396" fmla="*/ 3012500 h 5330772"/>
              <a:gd name="connsiteX397" fmla="*/ 4634828 w 5381200"/>
              <a:gd name="connsiteY397" fmla="*/ 3139261 h 5330772"/>
              <a:gd name="connsiteX398" fmla="*/ 4508011 w 5381200"/>
              <a:gd name="connsiteY398" fmla="*/ 3012500 h 5330772"/>
              <a:gd name="connsiteX399" fmla="*/ 4634828 w 5381200"/>
              <a:gd name="connsiteY399" fmla="*/ 2885739 h 5330772"/>
              <a:gd name="connsiteX400" fmla="*/ 4761555 w 5381200"/>
              <a:gd name="connsiteY400" fmla="*/ 3012500 h 5330772"/>
              <a:gd name="connsiteX401" fmla="*/ 4857969 w 5381200"/>
              <a:gd name="connsiteY401" fmla="*/ 2652926 h 5330772"/>
              <a:gd name="connsiteX402" fmla="*/ 4731241 w 5381200"/>
              <a:gd name="connsiteY402" fmla="*/ 2779686 h 5330772"/>
              <a:gd name="connsiteX403" fmla="*/ 4604335 w 5381200"/>
              <a:gd name="connsiteY403" fmla="*/ 2652926 h 5330772"/>
              <a:gd name="connsiteX404" fmla="*/ 4731241 w 5381200"/>
              <a:gd name="connsiteY404" fmla="*/ 2526165 h 5330772"/>
              <a:gd name="connsiteX405" fmla="*/ 4857969 w 5381200"/>
              <a:gd name="connsiteY405" fmla="*/ 2652926 h 5330772"/>
              <a:gd name="connsiteX406" fmla="*/ 4890525 w 5381200"/>
              <a:gd name="connsiteY406" fmla="*/ 2282145 h 5330772"/>
              <a:gd name="connsiteX407" fmla="*/ 4763708 w 5381200"/>
              <a:gd name="connsiteY407" fmla="*/ 2408906 h 5330772"/>
              <a:gd name="connsiteX408" fmla="*/ 4636802 w 5381200"/>
              <a:gd name="connsiteY408" fmla="*/ 2282145 h 5330772"/>
              <a:gd name="connsiteX409" fmla="*/ 4763708 w 5381200"/>
              <a:gd name="connsiteY409" fmla="*/ 2155384 h 5330772"/>
              <a:gd name="connsiteX410" fmla="*/ 4890525 w 5381200"/>
              <a:gd name="connsiteY410" fmla="*/ 2282145 h 5330772"/>
              <a:gd name="connsiteX411" fmla="*/ 4857969 w 5381200"/>
              <a:gd name="connsiteY411" fmla="*/ 1911006 h 5330772"/>
              <a:gd name="connsiteX412" fmla="*/ 4731241 w 5381200"/>
              <a:gd name="connsiteY412" fmla="*/ 2037767 h 5330772"/>
              <a:gd name="connsiteX413" fmla="*/ 4604335 w 5381200"/>
              <a:gd name="connsiteY413" fmla="*/ 1911006 h 5330772"/>
              <a:gd name="connsiteX414" fmla="*/ 4731241 w 5381200"/>
              <a:gd name="connsiteY414" fmla="*/ 1784245 h 5330772"/>
              <a:gd name="connsiteX415" fmla="*/ 4857969 w 5381200"/>
              <a:gd name="connsiteY415" fmla="*/ 1911006 h 5330772"/>
              <a:gd name="connsiteX416" fmla="*/ 4761645 w 5381200"/>
              <a:gd name="connsiteY416" fmla="*/ 1551253 h 5330772"/>
              <a:gd name="connsiteX417" fmla="*/ 4634828 w 5381200"/>
              <a:gd name="connsiteY417" fmla="*/ 1678014 h 5330772"/>
              <a:gd name="connsiteX418" fmla="*/ 4508011 w 5381200"/>
              <a:gd name="connsiteY418" fmla="*/ 1551253 h 5330772"/>
              <a:gd name="connsiteX419" fmla="*/ 4634828 w 5381200"/>
              <a:gd name="connsiteY419" fmla="*/ 1424492 h 5330772"/>
              <a:gd name="connsiteX420" fmla="*/ 4761645 w 5381200"/>
              <a:gd name="connsiteY420" fmla="*/ 1551253 h 5330772"/>
              <a:gd name="connsiteX421" fmla="*/ 4604155 w 5381200"/>
              <a:gd name="connsiteY421" fmla="*/ 1213732 h 5330772"/>
              <a:gd name="connsiteX422" fmla="*/ 4477338 w 5381200"/>
              <a:gd name="connsiteY422" fmla="*/ 1340493 h 5330772"/>
              <a:gd name="connsiteX423" fmla="*/ 4350432 w 5381200"/>
              <a:gd name="connsiteY423" fmla="*/ 1213732 h 5330772"/>
              <a:gd name="connsiteX424" fmla="*/ 4477338 w 5381200"/>
              <a:gd name="connsiteY424" fmla="*/ 1086971 h 5330772"/>
              <a:gd name="connsiteX425" fmla="*/ 4604155 w 5381200"/>
              <a:gd name="connsiteY425" fmla="*/ 1213732 h 5330772"/>
              <a:gd name="connsiteX426" fmla="*/ 4390432 w 5381200"/>
              <a:gd name="connsiteY426" fmla="*/ 908663 h 5330772"/>
              <a:gd name="connsiteX427" fmla="*/ 4263615 w 5381200"/>
              <a:gd name="connsiteY427" fmla="*/ 1035424 h 5330772"/>
              <a:gd name="connsiteX428" fmla="*/ 4136798 w 5381200"/>
              <a:gd name="connsiteY428" fmla="*/ 908663 h 5330772"/>
              <a:gd name="connsiteX429" fmla="*/ 4263615 w 5381200"/>
              <a:gd name="connsiteY429" fmla="*/ 781902 h 5330772"/>
              <a:gd name="connsiteX430" fmla="*/ 4390432 w 5381200"/>
              <a:gd name="connsiteY430" fmla="*/ 908663 h 5330772"/>
              <a:gd name="connsiteX431" fmla="*/ 4127022 w 5381200"/>
              <a:gd name="connsiteY431" fmla="*/ 645369 h 5330772"/>
              <a:gd name="connsiteX432" fmla="*/ 4000205 w 5381200"/>
              <a:gd name="connsiteY432" fmla="*/ 772130 h 5330772"/>
              <a:gd name="connsiteX433" fmla="*/ 3873299 w 5381200"/>
              <a:gd name="connsiteY433" fmla="*/ 645369 h 5330772"/>
              <a:gd name="connsiteX434" fmla="*/ 4000205 w 5381200"/>
              <a:gd name="connsiteY434" fmla="*/ 518608 h 5330772"/>
              <a:gd name="connsiteX435" fmla="*/ 4127022 w 5381200"/>
              <a:gd name="connsiteY435" fmla="*/ 645369 h 5330772"/>
              <a:gd name="connsiteX436" fmla="*/ 3821729 w 5381200"/>
              <a:gd name="connsiteY436" fmla="*/ 431740 h 5330772"/>
              <a:gd name="connsiteX437" fmla="*/ 3694912 w 5381200"/>
              <a:gd name="connsiteY437" fmla="*/ 558501 h 5330772"/>
              <a:gd name="connsiteX438" fmla="*/ 3568095 w 5381200"/>
              <a:gd name="connsiteY438" fmla="*/ 431740 h 5330772"/>
              <a:gd name="connsiteX439" fmla="*/ 3694912 w 5381200"/>
              <a:gd name="connsiteY439" fmla="*/ 304979 h 5330772"/>
              <a:gd name="connsiteX440" fmla="*/ 3821729 w 5381200"/>
              <a:gd name="connsiteY440" fmla="*/ 431740 h 5330772"/>
              <a:gd name="connsiteX441" fmla="*/ 901710 w 5381200"/>
              <a:gd name="connsiteY441" fmla="*/ 3349932 h 5330772"/>
              <a:gd name="connsiteX442" fmla="*/ 774983 w 5381200"/>
              <a:gd name="connsiteY442" fmla="*/ 3476692 h 5330772"/>
              <a:gd name="connsiteX443" fmla="*/ 648076 w 5381200"/>
              <a:gd name="connsiteY443" fmla="*/ 3349932 h 5330772"/>
              <a:gd name="connsiteX444" fmla="*/ 774983 w 5381200"/>
              <a:gd name="connsiteY444" fmla="*/ 3223170 h 5330772"/>
              <a:gd name="connsiteX445" fmla="*/ 901710 w 5381200"/>
              <a:gd name="connsiteY445" fmla="*/ 3349932 h 5330772"/>
              <a:gd name="connsiteX446" fmla="*/ 744310 w 5381200"/>
              <a:gd name="connsiteY446" fmla="*/ 3012321 h 5330772"/>
              <a:gd name="connsiteX447" fmla="*/ 617493 w 5381200"/>
              <a:gd name="connsiteY447" fmla="*/ 3139171 h 5330772"/>
              <a:gd name="connsiteX448" fmla="*/ 490676 w 5381200"/>
              <a:gd name="connsiteY448" fmla="*/ 3012321 h 5330772"/>
              <a:gd name="connsiteX449" fmla="*/ 617493 w 5381200"/>
              <a:gd name="connsiteY449" fmla="*/ 2885560 h 5330772"/>
              <a:gd name="connsiteX450" fmla="*/ 744310 w 5381200"/>
              <a:gd name="connsiteY450" fmla="*/ 3012321 h 5330772"/>
              <a:gd name="connsiteX451" fmla="*/ 647807 w 5381200"/>
              <a:gd name="connsiteY451" fmla="*/ 2652836 h 5330772"/>
              <a:gd name="connsiteX452" fmla="*/ 520990 w 5381200"/>
              <a:gd name="connsiteY452" fmla="*/ 2779686 h 5330772"/>
              <a:gd name="connsiteX453" fmla="*/ 394083 w 5381200"/>
              <a:gd name="connsiteY453" fmla="*/ 2652836 h 5330772"/>
              <a:gd name="connsiteX454" fmla="*/ 520990 w 5381200"/>
              <a:gd name="connsiteY454" fmla="*/ 2526075 h 5330772"/>
              <a:gd name="connsiteX455" fmla="*/ 647807 w 5381200"/>
              <a:gd name="connsiteY455" fmla="*/ 2652836 h 5330772"/>
              <a:gd name="connsiteX456" fmla="*/ 615340 w 5381200"/>
              <a:gd name="connsiteY456" fmla="*/ 2282145 h 5330772"/>
              <a:gd name="connsiteX457" fmla="*/ 488613 w 5381200"/>
              <a:gd name="connsiteY457" fmla="*/ 2408906 h 5330772"/>
              <a:gd name="connsiteX458" fmla="*/ 361796 w 5381200"/>
              <a:gd name="connsiteY458" fmla="*/ 2282145 h 5330772"/>
              <a:gd name="connsiteX459" fmla="*/ 488613 w 5381200"/>
              <a:gd name="connsiteY459" fmla="*/ 2155384 h 5330772"/>
              <a:gd name="connsiteX460" fmla="*/ 615340 w 5381200"/>
              <a:gd name="connsiteY460" fmla="*/ 2282145 h 5330772"/>
              <a:gd name="connsiteX461" fmla="*/ 647807 w 5381200"/>
              <a:gd name="connsiteY461" fmla="*/ 1911096 h 5330772"/>
              <a:gd name="connsiteX462" fmla="*/ 520990 w 5381200"/>
              <a:gd name="connsiteY462" fmla="*/ 2037857 h 5330772"/>
              <a:gd name="connsiteX463" fmla="*/ 394083 w 5381200"/>
              <a:gd name="connsiteY463" fmla="*/ 1911096 h 5330772"/>
              <a:gd name="connsiteX464" fmla="*/ 520990 w 5381200"/>
              <a:gd name="connsiteY464" fmla="*/ 1784335 h 5330772"/>
              <a:gd name="connsiteX465" fmla="*/ 647807 w 5381200"/>
              <a:gd name="connsiteY465" fmla="*/ 1911096 h 5330772"/>
              <a:gd name="connsiteX466" fmla="*/ 744310 w 5381200"/>
              <a:gd name="connsiteY466" fmla="*/ 1551343 h 5330772"/>
              <a:gd name="connsiteX467" fmla="*/ 617493 w 5381200"/>
              <a:gd name="connsiteY467" fmla="*/ 1678103 h 5330772"/>
              <a:gd name="connsiteX468" fmla="*/ 490676 w 5381200"/>
              <a:gd name="connsiteY468" fmla="*/ 1551343 h 5330772"/>
              <a:gd name="connsiteX469" fmla="*/ 617493 w 5381200"/>
              <a:gd name="connsiteY469" fmla="*/ 1424581 h 5330772"/>
              <a:gd name="connsiteX470" fmla="*/ 744310 w 5381200"/>
              <a:gd name="connsiteY470" fmla="*/ 1551343 h 5330772"/>
              <a:gd name="connsiteX471" fmla="*/ 4471060 w 5381200"/>
              <a:gd name="connsiteY471" fmla="*/ 5013422 h 5330772"/>
              <a:gd name="connsiteX472" fmla="*/ 4397158 w 5381200"/>
              <a:gd name="connsiteY472" fmla="*/ 5087292 h 5330772"/>
              <a:gd name="connsiteX473" fmla="*/ 4323257 w 5381200"/>
              <a:gd name="connsiteY473" fmla="*/ 5013422 h 5330772"/>
              <a:gd name="connsiteX474" fmla="*/ 4397158 w 5381200"/>
              <a:gd name="connsiteY474" fmla="*/ 4939553 h 5330772"/>
              <a:gd name="connsiteX475" fmla="*/ 4471060 w 5381200"/>
              <a:gd name="connsiteY475" fmla="*/ 5013422 h 5330772"/>
              <a:gd name="connsiteX476" fmla="*/ 4176170 w 5381200"/>
              <a:gd name="connsiteY476" fmla="*/ 5013422 h 5330772"/>
              <a:gd name="connsiteX477" fmla="*/ 4102269 w 5381200"/>
              <a:gd name="connsiteY477" fmla="*/ 5087292 h 5330772"/>
              <a:gd name="connsiteX478" fmla="*/ 4028277 w 5381200"/>
              <a:gd name="connsiteY478" fmla="*/ 5013422 h 5330772"/>
              <a:gd name="connsiteX479" fmla="*/ 4102269 w 5381200"/>
              <a:gd name="connsiteY479" fmla="*/ 4939553 h 5330772"/>
              <a:gd name="connsiteX480" fmla="*/ 4176170 w 5381200"/>
              <a:gd name="connsiteY480" fmla="*/ 5013422 h 5330772"/>
              <a:gd name="connsiteX481" fmla="*/ 4359759 w 5381200"/>
              <a:gd name="connsiteY481" fmla="*/ 5256904 h 5330772"/>
              <a:gd name="connsiteX482" fmla="*/ 4285858 w 5381200"/>
              <a:gd name="connsiteY482" fmla="*/ 5330773 h 5330772"/>
              <a:gd name="connsiteX483" fmla="*/ 4211866 w 5381200"/>
              <a:gd name="connsiteY483" fmla="*/ 5256904 h 5330772"/>
              <a:gd name="connsiteX484" fmla="*/ 4285858 w 5381200"/>
              <a:gd name="connsiteY484" fmla="*/ 5183035 h 5330772"/>
              <a:gd name="connsiteX485" fmla="*/ 4359759 w 5381200"/>
              <a:gd name="connsiteY485" fmla="*/ 5256904 h 5330772"/>
              <a:gd name="connsiteX486" fmla="*/ 4535007 w 5381200"/>
              <a:gd name="connsiteY486" fmla="*/ 4475092 h 5330772"/>
              <a:gd name="connsiteX487" fmla="*/ 4461105 w 5381200"/>
              <a:gd name="connsiteY487" fmla="*/ 4548961 h 5330772"/>
              <a:gd name="connsiteX488" fmla="*/ 4387203 w 5381200"/>
              <a:gd name="connsiteY488" fmla="*/ 4475092 h 5330772"/>
              <a:gd name="connsiteX489" fmla="*/ 4461105 w 5381200"/>
              <a:gd name="connsiteY489" fmla="*/ 4401222 h 5330772"/>
              <a:gd name="connsiteX490" fmla="*/ 4535007 w 5381200"/>
              <a:gd name="connsiteY490" fmla="*/ 4475092 h 5330772"/>
              <a:gd name="connsiteX491" fmla="*/ 4894381 w 5381200"/>
              <a:gd name="connsiteY491" fmla="*/ 4115966 h 5330772"/>
              <a:gd name="connsiteX492" fmla="*/ 4820480 w 5381200"/>
              <a:gd name="connsiteY492" fmla="*/ 4189925 h 5330772"/>
              <a:gd name="connsiteX493" fmla="*/ 4746488 w 5381200"/>
              <a:gd name="connsiteY493" fmla="*/ 4115966 h 5330772"/>
              <a:gd name="connsiteX494" fmla="*/ 4820480 w 5381200"/>
              <a:gd name="connsiteY494" fmla="*/ 4042096 h 5330772"/>
              <a:gd name="connsiteX495" fmla="*/ 4894381 w 5381200"/>
              <a:gd name="connsiteY495" fmla="*/ 4115966 h 5330772"/>
              <a:gd name="connsiteX496" fmla="*/ 5185773 w 5381200"/>
              <a:gd name="connsiteY496" fmla="*/ 3699913 h 5330772"/>
              <a:gd name="connsiteX497" fmla="*/ 5111872 w 5381200"/>
              <a:gd name="connsiteY497" fmla="*/ 3773783 h 5330772"/>
              <a:gd name="connsiteX498" fmla="*/ 5037970 w 5381200"/>
              <a:gd name="connsiteY498" fmla="*/ 3699913 h 5330772"/>
              <a:gd name="connsiteX499" fmla="*/ 5111872 w 5381200"/>
              <a:gd name="connsiteY499" fmla="*/ 3626044 h 5330772"/>
              <a:gd name="connsiteX500" fmla="*/ 5185773 w 5381200"/>
              <a:gd name="connsiteY500" fmla="*/ 3699913 h 5330772"/>
              <a:gd name="connsiteX501" fmla="*/ 5381201 w 5381200"/>
              <a:gd name="connsiteY501" fmla="*/ 3258940 h 5330772"/>
              <a:gd name="connsiteX502" fmla="*/ 5307299 w 5381200"/>
              <a:gd name="connsiteY502" fmla="*/ 3332809 h 5330772"/>
              <a:gd name="connsiteX503" fmla="*/ 5233397 w 5381200"/>
              <a:gd name="connsiteY503" fmla="*/ 3258940 h 5330772"/>
              <a:gd name="connsiteX504" fmla="*/ 5307299 w 5381200"/>
              <a:gd name="connsiteY504" fmla="*/ 3185070 h 5330772"/>
              <a:gd name="connsiteX505" fmla="*/ 5381201 w 5381200"/>
              <a:gd name="connsiteY505" fmla="*/ 3258940 h 5330772"/>
              <a:gd name="connsiteX506" fmla="*/ 790767 w 5381200"/>
              <a:gd name="connsiteY506" fmla="*/ 3904668 h 5330772"/>
              <a:gd name="connsiteX507" fmla="*/ 690857 w 5381200"/>
              <a:gd name="connsiteY507" fmla="*/ 4004534 h 5330772"/>
              <a:gd name="connsiteX508" fmla="*/ 590946 w 5381200"/>
              <a:gd name="connsiteY508" fmla="*/ 3904668 h 5330772"/>
              <a:gd name="connsiteX509" fmla="*/ 690857 w 5381200"/>
              <a:gd name="connsiteY509" fmla="*/ 3804890 h 5330772"/>
              <a:gd name="connsiteX510" fmla="*/ 790767 w 5381200"/>
              <a:gd name="connsiteY510" fmla="*/ 3904668 h 5330772"/>
              <a:gd name="connsiteX511" fmla="*/ 538210 w 5381200"/>
              <a:gd name="connsiteY511" fmla="*/ 3544197 h 5330772"/>
              <a:gd name="connsiteX512" fmla="*/ 438299 w 5381200"/>
              <a:gd name="connsiteY512" fmla="*/ 3644064 h 5330772"/>
              <a:gd name="connsiteX513" fmla="*/ 338478 w 5381200"/>
              <a:gd name="connsiteY513" fmla="*/ 3544197 h 5330772"/>
              <a:gd name="connsiteX514" fmla="*/ 438299 w 5381200"/>
              <a:gd name="connsiteY514" fmla="*/ 3444419 h 5330772"/>
              <a:gd name="connsiteX515" fmla="*/ 538210 w 5381200"/>
              <a:gd name="connsiteY515" fmla="*/ 3544197 h 5330772"/>
              <a:gd name="connsiteX516" fmla="*/ 352110 w 5381200"/>
              <a:gd name="connsiteY516" fmla="*/ 3145267 h 5330772"/>
              <a:gd name="connsiteX517" fmla="*/ 252199 w 5381200"/>
              <a:gd name="connsiteY517" fmla="*/ 3245134 h 5330772"/>
              <a:gd name="connsiteX518" fmla="*/ 152288 w 5381200"/>
              <a:gd name="connsiteY518" fmla="*/ 3145267 h 5330772"/>
              <a:gd name="connsiteX519" fmla="*/ 252199 w 5381200"/>
              <a:gd name="connsiteY519" fmla="*/ 3045490 h 5330772"/>
              <a:gd name="connsiteX520" fmla="*/ 352110 w 5381200"/>
              <a:gd name="connsiteY520" fmla="*/ 3145267 h 5330772"/>
              <a:gd name="connsiteX521" fmla="*/ 238118 w 5381200"/>
              <a:gd name="connsiteY521" fmla="*/ 2720430 h 5330772"/>
              <a:gd name="connsiteX522" fmla="*/ 138297 w 5381200"/>
              <a:gd name="connsiteY522" fmla="*/ 2820207 h 5330772"/>
              <a:gd name="connsiteX523" fmla="*/ 38386 w 5381200"/>
              <a:gd name="connsiteY523" fmla="*/ 2720430 h 5330772"/>
              <a:gd name="connsiteX524" fmla="*/ 138297 w 5381200"/>
              <a:gd name="connsiteY524" fmla="*/ 2620563 h 5330772"/>
              <a:gd name="connsiteX525" fmla="*/ 238118 w 5381200"/>
              <a:gd name="connsiteY525" fmla="*/ 2720430 h 5330772"/>
              <a:gd name="connsiteX526" fmla="*/ 199732 w 5381200"/>
              <a:gd name="connsiteY526" fmla="*/ 2282145 h 5330772"/>
              <a:gd name="connsiteX527" fmla="*/ 99911 w 5381200"/>
              <a:gd name="connsiteY527" fmla="*/ 2382012 h 5330772"/>
              <a:gd name="connsiteX528" fmla="*/ 0 w 5381200"/>
              <a:gd name="connsiteY528" fmla="*/ 2282145 h 5330772"/>
              <a:gd name="connsiteX529" fmla="*/ 99911 w 5381200"/>
              <a:gd name="connsiteY529" fmla="*/ 2182368 h 5330772"/>
              <a:gd name="connsiteX530" fmla="*/ 199732 w 5381200"/>
              <a:gd name="connsiteY530" fmla="*/ 2282145 h 5330772"/>
              <a:gd name="connsiteX531" fmla="*/ 238118 w 5381200"/>
              <a:gd name="connsiteY531" fmla="*/ 1843592 h 5330772"/>
              <a:gd name="connsiteX532" fmla="*/ 138297 w 5381200"/>
              <a:gd name="connsiteY532" fmla="*/ 1943369 h 5330772"/>
              <a:gd name="connsiteX533" fmla="*/ 38386 w 5381200"/>
              <a:gd name="connsiteY533" fmla="*/ 1843592 h 5330772"/>
              <a:gd name="connsiteX534" fmla="*/ 138297 w 5381200"/>
              <a:gd name="connsiteY534" fmla="*/ 1743725 h 5330772"/>
              <a:gd name="connsiteX535" fmla="*/ 238118 w 5381200"/>
              <a:gd name="connsiteY535" fmla="*/ 1843592 h 5330772"/>
              <a:gd name="connsiteX536" fmla="*/ 4349535 w 5381200"/>
              <a:gd name="connsiteY536" fmla="*/ 351506 h 5330772"/>
              <a:gd name="connsiteX537" fmla="*/ 4249714 w 5381200"/>
              <a:gd name="connsiteY537" fmla="*/ 451373 h 5330772"/>
              <a:gd name="connsiteX538" fmla="*/ 4149802 w 5381200"/>
              <a:gd name="connsiteY538" fmla="*/ 351506 h 5330772"/>
              <a:gd name="connsiteX539" fmla="*/ 4249714 w 5381200"/>
              <a:gd name="connsiteY539" fmla="*/ 251729 h 5330772"/>
              <a:gd name="connsiteX540" fmla="*/ 4349535 w 5381200"/>
              <a:gd name="connsiteY540" fmla="*/ 351506 h 5330772"/>
              <a:gd name="connsiteX541" fmla="*/ 5250348 w 5381200"/>
              <a:gd name="connsiteY541" fmla="*/ 2281966 h 5330772"/>
              <a:gd name="connsiteX542" fmla="*/ 5150527 w 5381200"/>
              <a:gd name="connsiteY542" fmla="*/ 2381833 h 5330772"/>
              <a:gd name="connsiteX543" fmla="*/ 5050615 w 5381200"/>
              <a:gd name="connsiteY543" fmla="*/ 2281966 h 5330772"/>
              <a:gd name="connsiteX544" fmla="*/ 5150527 w 5381200"/>
              <a:gd name="connsiteY544" fmla="*/ 2182189 h 5330772"/>
              <a:gd name="connsiteX545" fmla="*/ 5250348 w 5381200"/>
              <a:gd name="connsiteY545" fmla="*/ 2281966 h 5330772"/>
              <a:gd name="connsiteX546" fmla="*/ 5213935 w 5381200"/>
              <a:gd name="connsiteY546" fmla="*/ 2720430 h 5330772"/>
              <a:gd name="connsiteX547" fmla="*/ 5114114 w 5381200"/>
              <a:gd name="connsiteY547" fmla="*/ 2820297 h 5330772"/>
              <a:gd name="connsiteX548" fmla="*/ 5014203 w 5381200"/>
              <a:gd name="connsiteY548" fmla="*/ 2720430 h 5330772"/>
              <a:gd name="connsiteX549" fmla="*/ 5114114 w 5381200"/>
              <a:gd name="connsiteY549" fmla="*/ 2620563 h 5330772"/>
              <a:gd name="connsiteX550" fmla="*/ 5213935 w 5381200"/>
              <a:gd name="connsiteY550" fmla="*/ 2720430 h 5330772"/>
              <a:gd name="connsiteX551" fmla="*/ 5099854 w 5381200"/>
              <a:gd name="connsiteY551" fmla="*/ 3145357 h 5330772"/>
              <a:gd name="connsiteX552" fmla="*/ 5000033 w 5381200"/>
              <a:gd name="connsiteY552" fmla="*/ 3245224 h 5330772"/>
              <a:gd name="connsiteX553" fmla="*/ 4900122 w 5381200"/>
              <a:gd name="connsiteY553" fmla="*/ 3145357 h 5330772"/>
              <a:gd name="connsiteX554" fmla="*/ 5000033 w 5381200"/>
              <a:gd name="connsiteY554" fmla="*/ 3045580 h 5330772"/>
              <a:gd name="connsiteX555" fmla="*/ 5099854 w 5381200"/>
              <a:gd name="connsiteY555" fmla="*/ 3145357 h 5330772"/>
              <a:gd name="connsiteX556" fmla="*/ 4913843 w 5381200"/>
              <a:gd name="connsiteY556" fmla="*/ 3544286 h 5330772"/>
              <a:gd name="connsiteX557" fmla="*/ 4813933 w 5381200"/>
              <a:gd name="connsiteY557" fmla="*/ 3644153 h 5330772"/>
              <a:gd name="connsiteX558" fmla="*/ 4714022 w 5381200"/>
              <a:gd name="connsiteY558" fmla="*/ 3544286 h 5330772"/>
              <a:gd name="connsiteX559" fmla="*/ 4813933 w 5381200"/>
              <a:gd name="connsiteY559" fmla="*/ 3444509 h 5330772"/>
              <a:gd name="connsiteX560" fmla="*/ 4913843 w 5381200"/>
              <a:gd name="connsiteY560" fmla="*/ 3544286 h 5330772"/>
              <a:gd name="connsiteX561" fmla="*/ 4661196 w 5381200"/>
              <a:gd name="connsiteY561" fmla="*/ 3904757 h 5330772"/>
              <a:gd name="connsiteX562" fmla="*/ 4561285 w 5381200"/>
              <a:gd name="connsiteY562" fmla="*/ 4004624 h 5330772"/>
              <a:gd name="connsiteX563" fmla="*/ 4461374 w 5381200"/>
              <a:gd name="connsiteY563" fmla="*/ 3904757 h 5330772"/>
              <a:gd name="connsiteX564" fmla="*/ 4561285 w 5381200"/>
              <a:gd name="connsiteY564" fmla="*/ 3804980 h 5330772"/>
              <a:gd name="connsiteX565" fmla="*/ 4661196 w 5381200"/>
              <a:gd name="connsiteY565" fmla="*/ 3904757 h 5330772"/>
              <a:gd name="connsiteX566" fmla="*/ 4349804 w 5381200"/>
              <a:gd name="connsiteY566" fmla="*/ 4216102 h 5330772"/>
              <a:gd name="connsiteX567" fmla="*/ 4249893 w 5381200"/>
              <a:gd name="connsiteY567" fmla="*/ 4315968 h 5330772"/>
              <a:gd name="connsiteX568" fmla="*/ 4149982 w 5381200"/>
              <a:gd name="connsiteY568" fmla="*/ 4216102 h 5330772"/>
              <a:gd name="connsiteX569" fmla="*/ 4249893 w 5381200"/>
              <a:gd name="connsiteY569" fmla="*/ 4116234 h 5330772"/>
              <a:gd name="connsiteX570" fmla="*/ 4349804 w 5381200"/>
              <a:gd name="connsiteY570" fmla="*/ 4216102 h 5330772"/>
              <a:gd name="connsiteX571" fmla="*/ 3989084 w 5381200"/>
              <a:gd name="connsiteY571" fmla="*/ 4468547 h 5330772"/>
              <a:gd name="connsiteX572" fmla="*/ 3889263 w 5381200"/>
              <a:gd name="connsiteY572" fmla="*/ 4568414 h 5330772"/>
              <a:gd name="connsiteX573" fmla="*/ 3789442 w 5381200"/>
              <a:gd name="connsiteY573" fmla="*/ 4468547 h 5330772"/>
              <a:gd name="connsiteX574" fmla="*/ 3889263 w 5381200"/>
              <a:gd name="connsiteY574" fmla="*/ 4368770 h 5330772"/>
              <a:gd name="connsiteX575" fmla="*/ 3989084 w 5381200"/>
              <a:gd name="connsiteY575" fmla="*/ 4468547 h 5330772"/>
              <a:gd name="connsiteX576" fmla="*/ 3991595 w 5381200"/>
              <a:gd name="connsiteY576" fmla="*/ 99777 h 5330772"/>
              <a:gd name="connsiteX577" fmla="*/ 3891684 w 5381200"/>
              <a:gd name="connsiteY577" fmla="*/ 199644 h 5330772"/>
              <a:gd name="connsiteX578" fmla="*/ 3791773 w 5381200"/>
              <a:gd name="connsiteY578" fmla="*/ 99777 h 5330772"/>
              <a:gd name="connsiteX579" fmla="*/ 3891684 w 5381200"/>
              <a:gd name="connsiteY579" fmla="*/ 0 h 5330772"/>
              <a:gd name="connsiteX580" fmla="*/ 3991595 w 5381200"/>
              <a:gd name="connsiteY580" fmla="*/ 99777 h 533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Lst>
            <a:rect l="l" t="t" r="r" b="b"/>
            <a:pathLst>
              <a:path w="5381200" h="5330772">
                <a:moveTo>
                  <a:pt x="2797238" y="2292455"/>
                </a:moveTo>
                <a:lnTo>
                  <a:pt x="2797238" y="2290393"/>
                </a:lnTo>
                <a:cubicBezTo>
                  <a:pt x="2797238" y="2185416"/>
                  <a:pt x="2726116" y="2116477"/>
                  <a:pt x="2641721" y="2116477"/>
                </a:cubicBezTo>
                <a:cubicBezTo>
                  <a:pt x="2557236" y="2116477"/>
                  <a:pt x="2483155" y="2186492"/>
                  <a:pt x="2483155" y="2290393"/>
                </a:cubicBezTo>
                <a:lnTo>
                  <a:pt x="2483155" y="2292455"/>
                </a:lnTo>
                <a:cubicBezTo>
                  <a:pt x="2483155" y="2396445"/>
                  <a:pt x="2557236" y="2466370"/>
                  <a:pt x="2641721" y="2466370"/>
                </a:cubicBezTo>
                <a:cubicBezTo>
                  <a:pt x="2727193" y="2466370"/>
                  <a:pt x="2797238" y="2399493"/>
                  <a:pt x="2797238" y="2292455"/>
                </a:cubicBezTo>
                <a:moveTo>
                  <a:pt x="3472309" y="1857218"/>
                </a:moveTo>
                <a:lnTo>
                  <a:pt x="3472309" y="1856949"/>
                </a:lnTo>
                <a:cubicBezTo>
                  <a:pt x="3472309" y="1845295"/>
                  <a:pt x="3463700" y="1838661"/>
                  <a:pt x="3449350" y="1838661"/>
                </a:cubicBezTo>
                <a:lnTo>
                  <a:pt x="3421278" y="1838661"/>
                </a:lnTo>
                <a:lnTo>
                  <a:pt x="3421278" y="1875686"/>
                </a:lnTo>
                <a:lnTo>
                  <a:pt x="3449529" y="1875686"/>
                </a:lnTo>
                <a:cubicBezTo>
                  <a:pt x="3463251" y="1875686"/>
                  <a:pt x="3472309" y="1868424"/>
                  <a:pt x="3472309" y="1857218"/>
                </a:cubicBezTo>
                <a:moveTo>
                  <a:pt x="3490606" y="1856322"/>
                </a:moveTo>
                <a:cubicBezTo>
                  <a:pt x="3490606" y="1873624"/>
                  <a:pt x="3480561" y="1883933"/>
                  <a:pt x="3465673" y="1888236"/>
                </a:cubicBezTo>
                <a:lnTo>
                  <a:pt x="3487108" y="1915130"/>
                </a:lnTo>
                <a:cubicBezTo>
                  <a:pt x="3488902" y="1917371"/>
                  <a:pt x="3490067" y="1919254"/>
                  <a:pt x="3490067" y="1922033"/>
                </a:cubicBezTo>
                <a:cubicBezTo>
                  <a:pt x="3490067" y="1927053"/>
                  <a:pt x="3485762" y="1930549"/>
                  <a:pt x="3481368" y="1930549"/>
                </a:cubicBezTo>
                <a:cubicBezTo>
                  <a:pt x="3477242" y="1930549"/>
                  <a:pt x="3474552" y="1928487"/>
                  <a:pt x="3472489" y="1925708"/>
                </a:cubicBezTo>
                <a:lnTo>
                  <a:pt x="3445852" y="1891732"/>
                </a:lnTo>
                <a:lnTo>
                  <a:pt x="3421278" y="1891732"/>
                </a:lnTo>
                <a:lnTo>
                  <a:pt x="3421278" y="1921406"/>
                </a:lnTo>
                <a:cubicBezTo>
                  <a:pt x="3421278" y="1926426"/>
                  <a:pt x="3417152" y="1930549"/>
                  <a:pt x="3412130" y="1930549"/>
                </a:cubicBezTo>
                <a:cubicBezTo>
                  <a:pt x="3407107" y="1930549"/>
                  <a:pt x="3403161" y="1926426"/>
                  <a:pt x="3403161" y="1921406"/>
                </a:cubicBezTo>
                <a:lnTo>
                  <a:pt x="3403161" y="1831310"/>
                </a:lnTo>
                <a:cubicBezTo>
                  <a:pt x="3403161" y="1826200"/>
                  <a:pt x="3407107" y="1822166"/>
                  <a:pt x="3412130" y="1822166"/>
                </a:cubicBezTo>
                <a:lnTo>
                  <a:pt x="3450874" y="1822166"/>
                </a:lnTo>
                <a:cubicBezTo>
                  <a:pt x="3464327" y="1822166"/>
                  <a:pt x="3475000" y="1826111"/>
                  <a:pt x="3481906" y="1832924"/>
                </a:cubicBezTo>
                <a:cubicBezTo>
                  <a:pt x="3487466" y="1838571"/>
                  <a:pt x="3490606" y="1846640"/>
                  <a:pt x="3490606" y="1855963"/>
                </a:cubicBezTo>
                <a:lnTo>
                  <a:pt x="3490606" y="1856322"/>
                </a:lnTo>
                <a:close/>
                <a:moveTo>
                  <a:pt x="3533297" y="1877837"/>
                </a:moveTo>
                <a:lnTo>
                  <a:pt x="3533297" y="1877299"/>
                </a:lnTo>
                <a:cubicBezTo>
                  <a:pt x="3533297" y="1827366"/>
                  <a:pt x="3494552" y="1786845"/>
                  <a:pt x="3443161" y="1786845"/>
                </a:cubicBezTo>
                <a:cubicBezTo>
                  <a:pt x="3391502" y="1786845"/>
                  <a:pt x="3352398" y="1827903"/>
                  <a:pt x="3352398" y="1877837"/>
                </a:cubicBezTo>
                <a:lnTo>
                  <a:pt x="3352398" y="1878375"/>
                </a:lnTo>
                <a:cubicBezTo>
                  <a:pt x="3352398" y="1928308"/>
                  <a:pt x="3391233" y="1968829"/>
                  <a:pt x="3442533" y="1968829"/>
                </a:cubicBezTo>
                <a:cubicBezTo>
                  <a:pt x="3494193" y="1968829"/>
                  <a:pt x="3533297" y="1927770"/>
                  <a:pt x="3533297" y="1877837"/>
                </a:cubicBezTo>
                <a:moveTo>
                  <a:pt x="3543879" y="1877299"/>
                </a:moveTo>
                <a:lnTo>
                  <a:pt x="3543879" y="1877837"/>
                </a:lnTo>
                <a:cubicBezTo>
                  <a:pt x="3543879" y="1932791"/>
                  <a:pt x="3499215" y="1978869"/>
                  <a:pt x="3442533" y="1978869"/>
                </a:cubicBezTo>
                <a:cubicBezTo>
                  <a:pt x="3385852" y="1978869"/>
                  <a:pt x="3341726" y="1933418"/>
                  <a:pt x="3341726" y="1878465"/>
                </a:cubicBezTo>
                <a:lnTo>
                  <a:pt x="3341726" y="1877927"/>
                </a:lnTo>
                <a:cubicBezTo>
                  <a:pt x="3341726" y="1822973"/>
                  <a:pt x="3386390" y="1776895"/>
                  <a:pt x="3443071" y="1776895"/>
                </a:cubicBezTo>
                <a:cubicBezTo>
                  <a:pt x="3499843" y="1776805"/>
                  <a:pt x="3543879" y="1822345"/>
                  <a:pt x="3543879" y="1877299"/>
                </a:cubicBezTo>
                <a:moveTo>
                  <a:pt x="3285313" y="2008363"/>
                </a:moveTo>
                <a:cubicBezTo>
                  <a:pt x="3407825" y="2008363"/>
                  <a:pt x="3478946" y="2090659"/>
                  <a:pt x="3478946" y="2216255"/>
                </a:cubicBezTo>
                <a:lnTo>
                  <a:pt x="3478946" y="2506532"/>
                </a:lnTo>
                <a:cubicBezTo>
                  <a:pt x="3478946" y="2541494"/>
                  <a:pt x="3452130" y="2568299"/>
                  <a:pt x="3417152" y="2568299"/>
                </a:cubicBezTo>
                <a:cubicBezTo>
                  <a:pt x="3382085" y="2568299"/>
                  <a:pt x="3354371" y="2541494"/>
                  <a:pt x="3354371" y="2506532"/>
                </a:cubicBezTo>
                <a:lnTo>
                  <a:pt x="3354371" y="2254355"/>
                </a:lnTo>
                <a:cubicBezTo>
                  <a:pt x="3354371" y="2169997"/>
                  <a:pt x="3312129" y="2121587"/>
                  <a:pt x="3237958" y="2121587"/>
                </a:cubicBezTo>
                <a:cubicBezTo>
                  <a:pt x="3165850" y="2121587"/>
                  <a:pt x="3115446" y="2171969"/>
                  <a:pt x="3115446" y="2256327"/>
                </a:cubicBezTo>
                <a:lnTo>
                  <a:pt x="3115446" y="2506442"/>
                </a:lnTo>
                <a:cubicBezTo>
                  <a:pt x="3115446" y="2541405"/>
                  <a:pt x="3087643" y="2568209"/>
                  <a:pt x="3052665" y="2568209"/>
                </a:cubicBezTo>
                <a:cubicBezTo>
                  <a:pt x="3018674" y="2568209"/>
                  <a:pt x="2990871" y="2541405"/>
                  <a:pt x="2990871" y="2506442"/>
                </a:cubicBezTo>
                <a:lnTo>
                  <a:pt x="2990871" y="2076226"/>
                </a:lnTo>
                <a:cubicBezTo>
                  <a:pt x="2990871" y="2041174"/>
                  <a:pt x="3017688" y="2013383"/>
                  <a:pt x="3052665" y="2013383"/>
                </a:cubicBezTo>
                <a:cubicBezTo>
                  <a:pt x="3087643" y="2013383"/>
                  <a:pt x="3115446" y="2041174"/>
                  <a:pt x="3115446" y="2076226"/>
                </a:cubicBezTo>
                <a:lnTo>
                  <a:pt x="3115446" y="2102941"/>
                </a:lnTo>
                <a:cubicBezTo>
                  <a:pt x="3150424" y="2052649"/>
                  <a:pt x="3200917" y="2008363"/>
                  <a:pt x="3285313" y="2008363"/>
                </a:cubicBezTo>
                <a:moveTo>
                  <a:pt x="2923875" y="2292455"/>
                </a:moveTo>
                <a:cubicBezTo>
                  <a:pt x="2923875" y="2472556"/>
                  <a:pt x="2800287" y="2574484"/>
                  <a:pt x="2671677" y="2574484"/>
                </a:cubicBezTo>
                <a:cubicBezTo>
                  <a:pt x="2581093" y="2574484"/>
                  <a:pt x="2524411" y="2529213"/>
                  <a:pt x="2486294" y="2478741"/>
                </a:cubicBezTo>
                <a:lnTo>
                  <a:pt x="2486294" y="2506532"/>
                </a:lnTo>
                <a:cubicBezTo>
                  <a:pt x="2486294" y="2540508"/>
                  <a:pt x="2458491" y="2568299"/>
                  <a:pt x="2423424" y="2568299"/>
                </a:cubicBezTo>
                <a:cubicBezTo>
                  <a:pt x="2389433" y="2568299"/>
                  <a:pt x="2361630" y="2540508"/>
                  <a:pt x="2361630" y="2506532"/>
                </a:cubicBezTo>
                <a:lnTo>
                  <a:pt x="2361630" y="1868424"/>
                </a:lnTo>
                <a:cubicBezTo>
                  <a:pt x="2361630" y="1833462"/>
                  <a:pt x="2388446" y="1806747"/>
                  <a:pt x="2423424" y="1806747"/>
                </a:cubicBezTo>
                <a:cubicBezTo>
                  <a:pt x="2458402" y="1806747"/>
                  <a:pt x="2486294" y="1833462"/>
                  <a:pt x="2486294" y="1868424"/>
                </a:cubicBezTo>
                <a:lnTo>
                  <a:pt x="2486294" y="2110292"/>
                </a:lnTo>
                <a:cubicBezTo>
                  <a:pt x="2526474" y="2053724"/>
                  <a:pt x="2583066" y="2008453"/>
                  <a:pt x="2671677" y="2008453"/>
                </a:cubicBezTo>
                <a:cubicBezTo>
                  <a:pt x="2799390" y="2008453"/>
                  <a:pt x="2923875" y="2109306"/>
                  <a:pt x="2923875" y="2290482"/>
                </a:cubicBezTo>
                <a:lnTo>
                  <a:pt x="2923875" y="2292455"/>
                </a:lnTo>
                <a:close/>
                <a:moveTo>
                  <a:pt x="2273109" y="2506532"/>
                </a:moveTo>
                <a:cubicBezTo>
                  <a:pt x="2273109" y="2541494"/>
                  <a:pt x="2246293" y="2568299"/>
                  <a:pt x="2211315" y="2568299"/>
                </a:cubicBezTo>
                <a:cubicBezTo>
                  <a:pt x="2176247" y="2568299"/>
                  <a:pt x="2148534" y="2541494"/>
                  <a:pt x="2148534" y="2506532"/>
                </a:cubicBezTo>
                <a:lnTo>
                  <a:pt x="2148534" y="2254355"/>
                </a:lnTo>
                <a:cubicBezTo>
                  <a:pt x="2148534" y="2169997"/>
                  <a:pt x="2106292" y="2121587"/>
                  <a:pt x="2032210" y="2121587"/>
                </a:cubicBezTo>
                <a:cubicBezTo>
                  <a:pt x="1960192" y="2121587"/>
                  <a:pt x="1909699" y="2171969"/>
                  <a:pt x="1909699" y="2256327"/>
                </a:cubicBezTo>
                <a:lnTo>
                  <a:pt x="1909699" y="2506442"/>
                </a:lnTo>
                <a:cubicBezTo>
                  <a:pt x="1909699" y="2541405"/>
                  <a:pt x="1881896" y="2568209"/>
                  <a:pt x="1846828" y="2568209"/>
                </a:cubicBezTo>
                <a:cubicBezTo>
                  <a:pt x="1812837" y="2568209"/>
                  <a:pt x="1785034" y="2541405"/>
                  <a:pt x="1785034" y="2506442"/>
                </a:cubicBezTo>
                <a:lnTo>
                  <a:pt x="1785034" y="2076226"/>
                </a:lnTo>
                <a:cubicBezTo>
                  <a:pt x="1785034" y="2041174"/>
                  <a:pt x="1811850" y="2013383"/>
                  <a:pt x="1846828" y="2013383"/>
                </a:cubicBezTo>
                <a:cubicBezTo>
                  <a:pt x="1881896" y="2013383"/>
                  <a:pt x="1909699" y="2041174"/>
                  <a:pt x="1909699" y="2076226"/>
                </a:cubicBezTo>
                <a:lnTo>
                  <a:pt x="1909699" y="2102941"/>
                </a:lnTo>
                <a:cubicBezTo>
                  <a:pt x="1944676" y="2052559"/>
                  <a:pt x="1995170" y="2008274"/>
                  <a:pt x="2079565" y="2008274"/>
                </a:cubicBezTo>
                <a:cubicBezTo>
                  <a:pt x="2202077" y="2008274"/>
                  <a:pt x="2273199" y="2090570"/>
                  <a:pt x="2273199" y="2216165"/>
                </a:cubicBezTo>
                <a:lnTo>
                  <a:pt x="2273199" y="2506532"/>
                </a:lnTo>
                <a:close/>
                <a:moveTo>
                  <a:pt x="3700652" y="2281966"/>
                </a:moveTo>
                <a:cubicBezTo>
                  <a:pt x="3700652" y="1688861"/>
                  <a:pt x="3219572" y="1207994"/>
                  <a:pt x="2626116" y="1207994"/>
                </a:cubicBezTo>
                <a:cubicBezTo>
                  <a:pt x="2032659" y="1207994"/>
                  <a:pt x="1551669" y="1688861"/>
                  <a:pt x="1551669" y="2281966"/>
                </a:cubicBezTo>
                <a:cubicBezTo>
                  <a:pt x="1551669" y="2875161"/>
                  <a:pt x="2032748" y="3356027"/>
                  <a:pt x="2626116" y="3356027"/>
                </a:cubicBezTo>
                <a:cubicBezTo>
                  <a:pt x="3219483" y="3356027"/>
                  <a:pt x="3700652" y="2875161"/>
                  <a:pt x="3700652" y="2281966"/>
                </a:cubicBezTo>
                <a:moveTo>
                  <a:pt x="4064869" y="2408010"/>
                </a:moveTo>
                <a:cubicBezTo>
                  <a:pt x="4109085" y="2383357"/>
                  <a:pt x="4139489" y="2336651"/>
                  <a:pt x="4139399" y="2282414"/>
                </a:cubicBezTo>
                <a:cubicBezTo>
                  <a:pt x="4139578" y="2227909"/>
                  <a:pt x="4109085" y="2181203"/>
                  <a:pt x="4064869" y="2156460"/>
                </a:cubicBezTo>
                <a:cubicBezTo>
                  <a:pt x="4104242" y="2124456"/>
                  <a:pt x="4125946" y="2073088"/>
                  <a:pt x="4116439" y="2019659"/>
                </a:cubicBezTo>
                <a:cubicBezTo>
                  <a:pt x="4106932" y="1966139"/>
                  <a:pt x="4069084" y="1925260"/>
                  <a:pt x="4021102" y="1908586"/>
                </a:cubicBezTo>
                <a:cubicBezTo>
                  <a:pt x="4054376" y="1870217"/>
                  <a:pt x="4066753" y="1815981"/>
                  <a:pt x="4048188" y="1764971"/>
                </a:cubicBezTo>
                <a:cubicBezTo>
                  <a:pt x="4029623" y="1713873"/>
                  <a:pt x="3985138" y="1680165"/>
                  <a:pt x="3935003" y="1672097"/>
                </a:cubicBezTo>
                <a:cubicBezTo>
                  <a:pt x="3961012" y="1628618"/>
                  <a:pt x="3963882" y="1572947"/>
                  <a:pt x="3936618" y="1525883"/>
                </a:cubicBezTo>
                <a:cubicBezTo>
                  <a:pt x="3909532" y="1478908"/>
                  <a:pt x="3859936" y="1453538"/>
                  <a:pt x="3809173" y="1454165"/>
                </a:cubicBezTo>
                <a:cubicBezTo>
                  <a:pt x="3827110" y="1406831"/>
                  <a:pt x="3820383" y="1351519"/>
                  <a:pt x="3785406" y="1310013"/>
                </a:cubicBezTo>
                <a:cubicBezTo>
                  <a:pt x="3750518" y="1268327"/>
                  <a:pt x="3697154" y="1251921"/>
                  <a:pt x="3647288" y="1261424"/>
                </a:cubicBezTo>
                <a:cubicBezTo>
                  <a:pt x="3656885" y="1211670"/>
                  <a:pt x="3640562" y="1158419"/>
                  <a:pt x="3598947" y="1123547"/>
                </a:cubicBezTo>
                <a:cubicBezTo>
                  <a:pt x="3557153" y="1088584"/>
                  <a:pt x="3501906" y="1081681"/>
                  <a:pt x="3454462" y="1099701"/>
                </a:cubicBezTo>
                <a:cubicBezTo>
                  <a:pt x="3455179" y="1048960"/>
                  <a:pt x="3429888" y="999385"/>
                  <a:pt x="3382713" y="972312"/>
                </a:cubicBezTo>
                <a:cubicBezTo>
                  <a:pt x="3335717" y="945059"/>
                  <a:pt x="3279932" y="947838"/>
                  <a:pt x="3236254" y="973746"/>
                </a:cubicBezTo>
                <a:cubicBezTo>
                  <a:pt x="3228272" y="923723"/>
                  <a:pt x="3194819" y="879348"/>
                  <a:pt x="3143608" y="860881"/>
                </a:cubicBezTo>
                <a:cubicBezTo>
                  <a:pt x="3092576" y="842144"/>
                  <a:pt x="3038136" y="854605"/>
                  <a:pt x="2999750" y="887775"/>
                </a:cubicBezTo>
                <a:cubicBezTo>
                  <a:pt x="2983158" y="839903"/>
                  <a:pt x="2942441" y="801983"/>
                  <a:pt x="2888898" y="792659"/>
                </a:cubicBezTo>
                <a:cubicBezTo>
                  <a:pt x="2835265" y="783157"/>
                  <a:pt x="2783785" y="804851"/>
                  <a:pt x="2751767" y="844206"/>
                </a:cubicBezTo>
                <a:cubicBezTo>
                  <a:pt x="2727013" y="800010"/>
                  <a:pt x="2680376" y="769799"/>
                  <a:pt x="2625936" y="769799"/>
                </a:cubicBezTo>
                <a:cubicBezTo>
                  <a:pt x="2571586" y="769799"/>
                  <a:pt x="2524860" y="800010"/>
                  <a:pt x="2500016" y="844386"/>
                </a:cubicBezTo>
                <a:cubicBezTo>
                  <a:pt x="2467998" y="805031"/>
                  <a:pt x="2416608" y="783336"/>
                  <a:pt x="2363154" y="792659"/>
                </a:cubicBezTo>
                <a:cubicBezTo>
                  <a:pt x="2309611" y="802162"/>
                  <a:pt x="2268804" y="840083"/>
                  <a:pt x="2252212" y="887954"/>
                </a:cubicBezTo>
                <a:cubicBezTo>
                  <a:pt x="2213736" y="854785"/>
                  <a:pt x="2159386" y="842324"/>
                  <a:pt x="2108355" y="860881"/>
                </a:cubicBezTo>
                <a:cubicBezTo>
                  <a:pt x="2057233" y="879438"/>
                  <a:pt x="2023690" y="923903"/>
                  <a:pt x="2015619" y="974015"/>
                </a:cubicBezTo>
                <a:cubicBezTo>
                  <a:pt x="1972120" y="948107"/>
                  <a:pt x="1916335" y="945149"/>
                  <a:pt x="1869340" y="972312"/>
                </a:cubicBezTo>
                <a:cubicBezTo>
                  <a:pt x="1822344" y="999385"/>
                  <a:pt x="1796962" y="1049050"/>
                  <a:pt x="1797680" y="1099790"/>
                </a:cubicBezTo>
                <a:cubicBezTo>
                  <a:pt x="1750235" y="1081771"/>
                  <a:pt x="1694989" y="1088674"/>
                  <a:pt x="1653284" y="1123547"/>
                </a:cubicBezTo>
                <a:cubicBezTo>
                  <a:pt x="1611670" y="1158419"/>
                  <a:pt x="1595436" y="1211670"/>
                  <a:pt x="1604853" y="1261603"/>
                </a:cubicBezTo>
                <a:cubicBezTo>
                  <a:pt x="1555077" y="1252011"/>
                  <a:pt x="1501803" y="1268327"/>
                  <a:pt x="1466826" y="1309923"/>
                </a:cubicBezTo>
                <a:cubicBezTo>
                  <a:pt x="1431937" y="1351519"/>
                  <a:pt x="1425032" y="1406831"/>
                  <a:pt x="1443148" y="1454255"/>
                </a:cubicBezTo>
                <a:cubicBezTo>
                  <a:pt x="1392386" y="1453538"/>
                  <a:pt x="1342789" y="1478908"/>
                  <a:pt x="1315524" y="1525883"/>
                </a:cubicBezTo>
                <a:cubicBezTo>
                  <a:pt x="1288439" y="1573037"/>
                  <a:pt x="1291219" y="1628618"/>
                  <a:pt x="1317318" y="1672187"/>
                </a:cubicBezTo>
                <a:cubicBezTo>
                  <a:pt x="1267183" y="1680255"/>
                  <a:pt x="1222698" y="1713873"/>
                  <a:pt x="1204133" y="1764971"/>
                </a:cubicBezTo>
                <a:cubicBezTo>
                  <a:pt x="1185568" y="1815891"/>
                  <a:pt x="1198124" y="1870217"/>
                  <a:pt x="1231129" y="1908586"/>
                </a:cubicBezTo>
                <a:cubicBezTo>
                  <a:pt x="1183236" y="1925260"/>
                  <a:pt x="1145209" y="1966050"/>
                  <a:pt x="1135702" y="2019659"/>
                </a:cubicBezTo>
                <a:cubicBezTo>
                  <a:pt x="1126375" y="2073088"/>
                  <a:pt x="1148169" y="2124456"/>
                  <a:pt x="1187452" y="2156460"/>
                </a:cubicBezTo>
                <a:cubicBezTo>
                  <a:pt x="1143146" y="2181113"/>
                  <a:pt x="1112832" y="2227909"/>
                  <a:pt x="1112832" y="2282324"/>
                </a:cubicBezTo>
                <a:cubicBezTo>
                  <a:pt x="1112832" y="2336561"/>
                  <a:pt x="1143146" y="2383267"/>
                  <a:pt x="1187452" y="2408010"/>
                </a:cubicBezTo>
                <a:cubicBezTo>
                  <a:pt x="1148079" y="2440014"/>
                  <a:pt x="1126285" y="2491382"/>
                  <a:pt x="1135702" y="2544811"/>
                </a:cubicBezTo>
                <a:cubicBezTo>
                  <a:pt x="1145209" y="2598241"/>
                  <a:pt x="1183236" y="2638851"/>
                  <a:pt x="1231129" y="2655525"/>
                </a:cubicBezTo>
                <a:cubicBezTo>
                  <a:pt x="1197945" y="2693894"/>
                  <a:pt x="1185479" y="2748041"/>
                  <a:pt x="1204133" y="2799050"/>
                </a:cubicBezTo>
                <a:cubicBezTo>
                  <a:pt x="1222698" y="2850059"/>
                  <a:pt x="1267183" y="2883587"/>
                  <a:pt x="1317228" y="2891656"/>
                </a:cubicBezTo>
                <a:cubicBezTo>
                  <a:pt x="1291219" y="2935224"/>
                  <a:pt x="1288260" y="2990895"/>
                  <a:pt x="1315524" y="3037960"/>
                </a:cubicBezTo>
                <a:cubicBezTo>
                  <a:pt x="1342699" y="3084935"/>
                  <a:pt x="1392386" y="3110305"/>
                  <a:pt x="1443148" y="3109588"/>
                </a:cubicBezTo>
                <a:cubicBezTo>
                  <a:pt x="1425032" y="3157011"/>
                  <a:pt x="1431937" y="3212323"/>
                  <a:pt x="1466915" y="3253919"/>
                </a:cubicBezTo>
                <a:cubicBezTo>
                  <a:pt x="1501803" y="3295516"/>
                  <a:pt x="1555077" y="3311921"/>
                  <a:pt x="1604943" y="3302329"/>
                </a:cubicBezTo>
                <a:cubicBezTo>
                  <a:pt x="1595347" y="3352262"/>
                  <a:pt x="1611759" y="3405423"/>
                  <a:pt x="1653374" y="3440385"/>
                </a:cubicBezTo>
                <a:cubicBezTo>
                  <a:pt x="1695078" y="3475348"/>
                  <a:pt x="1750325" y="3482250"/>
                  <a:pt x="1797770" y="3464052"/>
                </a:cubicBezTo>
                <a:cubicBezTo>
                  <a:pt x="1796962" y="3514792"/>
                  <a:pt x="1822344" y="3564457"/>
                  <a:pt x="1869429" y="3591530"/>
                </a:cubicBezTo>
                <a:cubicBezTo>
                  <a:pt x="1916515" y="3618783"/>
                  <a:pt x="1972210" y="3615914"/>
                  <a:pt x="2015619" y="3590006"/>
                </a:cubicBezTo>
                <a:cubicBezTo>
                  <a:pt x="2023780" y="3640119"/>
                  <a:pt x="2057502" y="3684494"/>
                  <a:pt x="2108444" y="3703051"/>
                </a:cubicBezTo>
                <a:cubicBezTo>
                  <a:pt x="2159476" y="3721608"/>
                  <a:pt x="2213826" y="3709058"/>
                  <a:pt x="2252212" y="3675978"/>
                </a:cubicBezTo>
                <a:cubicBezTo>
                  <a:pt x="2268894" y="3723939"/>
                  <a:pt x="2309701" y="3761860"/>
                  <a:pt x="2363334" y="3771273"/>
                </a:cubicBezTo>
                <a:cubicBezTo>
                  <a:pt x="2416697" y="3780775"/>
                  <a:pt x="2468088" y="3759081"/>
                  <a:pt x="2500106" y="3719815"/>
                </a:cubicBezTo>
                <a:cubicBezTo>
                  <a:pt x="2524770" y="3764101"/>
                  <a:pt x="2571676" y="3794491"/>
                  <a:pt x="2626026" y="3794491"/>
                </a:cubicBezTo>
                <a:cubicBezTo>
                  <a:pt x="2680466" y="3794491"/>
                  <a:pt x="2727282" y="3764191"/>
                  <a:pt x="2751856" y="3719815"/>
                </a:cubicBezTo>
                <a:cubicBezTo>
                  <a:pt x="2783964" y="3759170"/>
                  <a:pt x="2835355" y="3780954"/>
                  <a:pt x="2888898" y="3771542"/>
                </a:cubicBezTo>
                <a:cubicBezTo>
                  <a:pt x="2942351" y="3762039"/>
                  <a:pt x="2983248" y="3724029"/>
                  <a:pt x="2999930" y="3676157"/>
                </a:cubicBezTo>
                <a:cubicBezTo>
                  <a:pt x="3038316" y="3709327"/>
                  <a:pt x="3092576" y="3721787"/>
                  <a:pt x="3143608" y="3703230"/>
                </a:cubicBezTo>
                <a:cubicBezTo>
                  <a:pt x="3194729" y="3684584"/>
                  <a:pt x="3228451" y="3640029"/>
                  <a:pt x="3236434" y="3590096"/>
                </a:cubicBezTo>
                <a:cubicBezTo>
                  <a:pt x="3280021" y="3616004"/>
                  <a:pt x="3335717" y="3618962"/>
                  <a:pt x="3382713" y="3591709"/>
                </a:cubicBezTo>
                <a:cubicBezTo>
                  <a:pt x="3429888" y="3564457"/>
                  <a:pt x="3455179" y="3514972"/>
                  <a:pt x="3454552" y="3464232"/>
                </a:cubicBezTo>
                <a:cubicBezTo>
                  <a:pt x="3501996" y="3482250"/>
                  <a:pt x="3557243" y="3475348"/>
                  <a:pt x="3598857" y="3440475"/>
                </a:cubicBezTo>
                <a:cubicBezTo>
                  <a:pt x="3640472" y="3405602"/>
                  <a:pt x="3656974" y="3352352"/>
                  <a:pt x="3647288" y="3302418"/>
                </a:cubicBezTo>
                <a:cubicBezTo>
                  <a:pt x="3697154" y="3312011"/>
                  <a:pt x="3750428" y="3295695"/>
                  <a:pt x="3785406" y="3254009"/>
                </a:cubicBezTo>
                <a:cubicBezTo>
                  <a:pt x="3820294" y="3212323"/>
                  <a:pt x="3827110" y="3157011"/>
                  <a:pt x="3809173" y="3109677"/>
                </a:cubicBezTo>
                <a:cubicBezTo>
                  <a:pt x="3859936" y="3110484"/>
                  <a:pt x="3909532" y="3085114"/>
                  <a:pt x="3936618" y="3038049"/>
                </a:cubicBezTo>
                <a:cubicBezTo>
                  <a:pt x="3963882" y="2991074"/>
                  <a:pt x="3961102" y="2935314"/>
                  <a:pt x="3935092" y="2891745"/>
                </a:cubicBezTo>
                <a:cubicBezTo>
                  <a:pt x="3985228" y="2883677"/>
                  <a:pt x="4029623" y="2850149"/>
                  <a:pt x="4048188" y="2799140"/>
                </a:cubicBezTo>
                <a:cubicBezTo>
                  <a:pt x="4066753" y="2748131"/>
                  <a:pt x="4054286" y="2693894"/>
                  <a:pt x="4021102" y="2655525"/>
                </a:cubicBezTo>
                <a:cubicBezTo>
                  <a:pt x="4068995" y="2638940"/>
                  <a:pt x="4106843" y="2598241"/>
                  <a:pt x="4116439" y="2544811"/>
                </a:cubicBezTo>
                <a:cubicBezTo>
                  <a:pt x="4125766" y="2491471"/>
                  <a:pt x="4104152" y="2440014"/>
                  <a:pt x="4064869" y="2408010"/>
                </a:cubicBezTo>
                <a:moveTo>
                  <a:pt x="3814913" y="2491740"/>
                </a:moveTo>
                <a:cubicBezTo>
                  <a:pt x="3807379" y="2535488"/>
                  <a:pt x="3820652" y="2577622"/>
                  <a:pt x="3847021" y="2609178"/>
                </a:cubicBezTo>
                <a:cubicBezTo>
                  <a:pt x="3808455" y="2623252"/>
                  <a:pt x="3775720" y="2653105"/>
                  <a:pt x="3760563" y="2694612"/>
                </a:cubicBezTo>
                <a:cubicBezTo>
                  <a:pt x="3745405" y="2736297"/>
                  <a:pt x="3751145" y="2780135"/>
                  <a:pt x="3771773" y="2815814"/>
                </a:cubicBezTo>
                <a:cubicBezTo>
                  <a:pt x="3731235" y="2822986"/>
                  <a:pt x="3693746" y="2846743"/>
                  <a:pt x="3671593" y="2885112"/>
                </a:cubicBezTo>
                <a:cubicBezTo>
                  <a:pt x="3649530" y="2923570"/>
                  <a:pt x="3647467" y="2967766"/>
                  <a:pt x="3661548" y="3006493"/>
                </a:cubicBezTo>
                <a:cubicBezTo>
                  <a:pt x="3620292" y="3006583"/>
                  <a:pt x="3579485" y="3023437"/>
                  <a:pt x="3550875" y="3057413"/>
                </a:cubicBezTo>
                <a:cubicBezTo>
                  <a:pt x="3522444" y="3091479"/>
                  <a:pt x="3512848" y="3134689"/>
                  <a:pt x="3519933" y="3175120"/>
                </a:cubicBezTo>
                <a:cubicBezTo>
                  <a:pt x="3479395" y="3168038"/>
                  <a:pt x="3436166" y="3177630"/>
                  <a:pt x="3402085" y="3206138"/>
                </a:cubicBezTo>
                <a:cubicBezTo>
                  <a:pt x="3368094" y="3234824"/>
                  <a:pt x="3351143" y="3275614"/>
                  <a:pt x="3351143" y="3316762"/>
                </a:cubicBezTo>
                <a:cubicBezTo>
                  <a:pt x="3312398" y="3302777"/>
                  <a:pt x="3268182" y="3304660"/>
                  <a:pt x="3229617" y="3326892"/>
                </a:cubicBezTo>
                <a:cubicBezTo>
                  <a:pt x="3191231" y="3348945"/>
                  <a:pt x="3167464" y="3386418"/>
                  <a:pt x="3160200" y="3426849"/>
                </a:cubicBezTo>
                <a:cubicBezTo>
                  <a:pt x="3124415" y="3406409"/>
                  <a:pt x="3080648" y="3400582"/>
                  <a:pt x="3038764" y="3415822"/>
                </a:cubicBezTo>
                <a:cubicBezTo>
                  <a:pt x="2997150" y="3430972"/>
                  <a:pt x="2967284" y="3463604"/>
                  <a:pt x="2953024" y="3502242"/>
                </a:cubicBezTo>
                <a:cubicBezTo>
                  <a:pt x="2921364" y="3475886"/>
                  <a:pt x="2879301" y="3462528"/>
                  <a:pt x="2835444" y="3470238"/>
                </a:cubicBezTo>
                <a:cubicBezTo>
                  <a:pt x="2791857" y="3477948"/>
                  <a:pt x="2756699" y="3504842"/>
                  <a:pt x="2735982" y="3540521"/>
                </a:cubicBezTo>
                <a:cubicBezTo>
                  <a:pt x="2709435" y="3509055"/>
                  <a:pt x="2670242" y="3488526"/>
                  <a:pt x="2625757" y="3488526"/>
                </a:cubicBezTo>
                <a:cubicBezTo>
                  <a:pt x="2581452" y="3488526"/>
                  <a:pt x="2542169" y="3508965"/>
                  <a:pt x="2515711" y="3540342"/>
                </a:cubicBezTo>
                <a:cubicBezTo>
                  <a:pt x="2494994" y="3504662"/>
                  <a:pt x="2459926" y="3477768"/>
                  <a:pt x="2416159" y="3470148"/>
                </a:cubicBezTo>
                <a:cubicBezTo>
                  <a:pt x="2372482" y="3462349"/>
                  <a:pt x="2330239" y="3475706"/>
                  <a:pt x="2298580" y="3502062"/>
                </a:cubicBezTo>
                <a:cubicBezTo>
                  <a:pt x="2284499" y="3463424"/>
                  <a:pt x="2254544" y="3430793"/>
                  <a:pt x="2212839" y="3415732"/>
                </a:cubicBezTo>
                <a:cubicBezTo>
                  <a:pt x="2171225" y="3400492"/>
                  <a:pt x="2127368" y="3406230"/>
                  <a:pt x="2091583" y="3426669"/>
                </a:cubicBezTo>
                <a:cubicBezTo>
                  <a:pt x="2084408" y="3386149"/>
                  <a:pt x="2060551" y="3348945"/>
                  <a:pt x="2022076" y="3326802"/>
                </a:cubicBezTo>
                <a:cubicBezTo>
                  <a:pt x="1983690" y="3304570"/>
                  <a:pt x="1939474" y="3302687"/>
                  <a:pt x="1900819" y="3316583"/>
                </a:cubicBezTo>
                <a:cubicBezTo>
                  <a:pt x="1900730" y="3275524"/>
                  <a:pt x="1883869" y="3234556"/>
                  <a:pt x="1849788" y="3206048"/>
                </a:cubicBezTo>
                <a:cubicBezTo>
                  <a:pt x="1815797" y="3177630"/>
                  <a:pt x="1772568" y="3167948"/>
                  <a:pt x="1731940" y="3175030"/>
                </a:cubicBezTo>
                <a:cubicBezTo>
                  <a:pt x="1739114" y="3134420"/>
                  <a:pt x="1729518" y="3091300"/>
                  <a:pt x="1700908" y="3057323"/>
                </a:cubicBezTo>
                <a:cubicBezTo>
                  <a:pt x="1672387" y="3023347"/>
                  <a:pt x="1631580" y="3006493"/>
                  <a:pt x="1590414" y="3006404"/>
                </a:cubicBezTo>
                <a:cubicBezTo>
                  <a:pt x="1604405" y="2967587"/>
                  <a:pt x="1602432" y="2923480"/>
                  <a:pt x="1580279" y="2885022"/>
                </a:cubicBezTo>
                <a:cubicBezTo>
                  <a:pt x="1558127" y="2846563"/>
                  <a:pt x="1520817" y="2822807"/>
                  <a:pt x="1480279" y="2815635"/>
                </a:cubicBezTo>
                <a:cubicBezTo>
                  <a:pt x="1500817" y="2780045"/>
                  <a:pt x="1506467" y="2736297"/>
                  <a:pt x="1491220" y="2694612"/>
                </a:cubicBezTo>
                <a:cubicBezTo>
                  <a:pt x="1476153" y="2653015"/>
                  <a:pt x="1443507" y="2623163"/>
                  <a:pt x="1404852" y="2609088"/>
                </a:cubicBezTo>
                <a:cubicBezTo>
                  <a:pt x="1431310" y="2577532"/>
                  <a:pt x="1444583" y="2535398"/>
                  <a:pt x="1436781" y="2491740"/>
                </a:cubicBezTo>
                <a:cubicBezTo>
                  <a:pt x="1429157" y="2448082"/>
                  <a:pt x="1402162" y="2413030"/>
                  <a:pt x="1366646" y="2392322"/>
                </a:cubicBezTo>
                <a:cubicBezTo>
                  <a:pt x="1398126" y="2365786"/>
                  <a:pt x="1418574" y="2326610"/>
                  <a:pt x="1418484" y="2282235"/>
                </a:cubicBezTo>
                <a:cubicBezTo>
                  <a:pt x="1418484" y="2237860"/>
                  <a:pt x="1398126" y="2198684"/>
                  <a:pt x="1366646" y="2172059"/>
                </a:cubicBezTo>
                <a:cubicBezTo>
                  <a:pt x="1402341" y="2151440"/>
                  <a:pt x="1429247" y="2116388"/>
                  <a:pt x="1436960" y="2072640"/>
                </a:cubicBezTo>
                <a:cubicBezTo>
                  <a:pt x="1444673" y="2028892"/>
                  <a:pt x="1431399" y="1986758"/>
                  <a:pt x="1404942" y="1955202"/>
                </a:cubicBezTo>
                <a:cubicBezTo>
                  <a:pt x="1443686" y="1941038"/>
                  <a:pt x="1476243" y="1911096"/>
                  <a:pt x="1491579" y="1869500"/>
                </a:cubicBezTo>
                <a:cubicBezTo>
                  <a:pt x="1506736" y="1827814"/>
                  <a:pt x="1500907" y="1783887"/>
                  <a:pt x="1480368" y="1748207"/>
                </a:cubicBezTo>
                <a:cubicBezTo>
                  <a:pt x="1520907" y="1741036"/>
                  <a:pt x="1558216" y="1717190"/>
                  <a:pt x="1580369" y="1678821"/>
                </a:cubicBezTo>
                <a:cubicBezTo>
                  <a:pt x="1602522" y="1640362"/>
                  <a:pt x="1604405" y="1596166"/>
                  <a:pt x="1590503" y="1557528"/>
                </a:cubicBezTo>
                <a:cubicBezTo>
                  <a:pt x="1631670" y="1557438"/>
                  <a:pt x="1672567" y="1540495"/>
                  <a:pt x="1701087" y="1506519"/>
                </a:cubicBezTo>
                <a:cubicBezTo>
                  <a:pt x="1729608" y="1472453"/>
                  <a:pt x="1739204" y="1429333"/>
                  <a:pt x="1732029" y="1388812"/>
                </a:cubicBezTo>
                <a:cubicBezTo>
                  <a:pt x="1772568" y="1395894"/>
                  <a:pt x="1815797" y="1386302"/>
                  <a:pt x="1849877" y="1357794"/>
                </a:cubicBezTo>
                <a:cubicBezTo>
                  <a:pt x="1883869" y="1329287"/>
                  <a:pt x="1900730" y="1288408"/>
                  <a:pt x="1900819" y="1247260"/>
                </a:cubicBezTo>
                <a:cubicBezTo>
                  <a:pt x="1939564" y="1261244"/>
                  <a:pt x="1983690" y="1259362"/>
                  <a:pt x="2022165" y="1237130"/>
                </a:cubicBezTo>
                <a:cubicBezTo>
                  <a:pt x="2060641" y="1214987"/>
                  <a:pt x="2084318" y="1177693"/>
                  <a:pt x="2091673" y="1137173"/>
                </a:cubicBezTo>
                <a:cubicBezTo>
                  <a:pt x="2127368" y="1157702"/>
                  <a:pt x="2171225" y="1163440"/>
                  <a:pt x="2212929" y="1148289"/>
                </a:cubicBezTo>
                <a:cubicBezTo>
                  <a:pt x="2254544" y="1133139"/>
                  <a:pt x="2284499" y="1100507"/>
                  <a:pt x="2298490" y="1061959"/>
                </a:cubicBezTo>
                <a:cubicBezTo>
                  <a:pt x="2330150" y="1088315"/>
                  <a:pt x="2372392" y="1101583"/>
                  <a:pt x="2416070" y="1093873"/>
                </a:cubicBezTo>
                <a:cubicBezTo>
                  <a:pt x="2459747" y="1086164"/>
                  <a:pt x="2494904" y="1059270"/>
                  <a:pt x="2515532" y="1023590"/>
                </a:cubicBezTo>
                <a:cubicBezTo>
                  <a:pt x="2542079" y="1055146"/>
                  <a:pt x="2581272" y="1075496"/>
                  <a:pt x="2625667" y="1075496"/>
                </a:cubicBezTo>
                <a:cubicBezTo>
                  <a:pt x="2670062" y="1075496"/>
                  <a:pt x="2709345" y="1055056"/>
                  <a:pt x="2735892" y="1023590"/>
                </a:cubicBezTo>
                <a:cubicBezTo>
                  <a:pt x="2756699" y="1059090"/>
                  <a:pt x="2791767" y="1085895"/>
                  <a:pt x="2835355" y="1093784"/>
                </a:cubicBezTo>
                <a:cubicBezTo>
                  <a:pt x="2879122" y="1101314"/>
                  <a:pt x="2921274" y="1088046"/>
                  <a:pt x="2952934" y="1061690"/>
                </a:cubicBezTo>
                <a:cubicBezTo>
                  <a:pt x="2967104" y="1100328"/>
                  <a:pt x="2996970" y="1132960"/>
                  <a:pt x="3038674" y="1148200"/>
                </a:cubicBezTo>
                <a:cubicBezTo>
                  <a:pt x="3080558" y="1163260"/>
                  <a:pt x="3124325" y="1157523"/>
                  <a:pt x="3160110" y="1136994"/>
                </a:cubicBezTo>
                <a:cubicBezTo>
                  <a:pt x="3167285" y="1177514"/>
                  <a:pt x="3191142" y="1214807"/>
                  <a:pt x="3229528" y="1237040"/>
                </a:cubicBezTo>
                <a:cubicBezTo>
                  <a:pt x="3268093" y="1259093"/>
                  <a:pt x="3312219" y="1261065"/>
                  <a:pt x="3351053" y="1247170"/>
                </a:cubicBezTo>
                <a:cubicBezTo>
                  <a:pt x="3351053" y="1288228"/>
                  <a:pt x="3368004" y="1329107"/>
                  <a:pt x="3401995" y="1357794"/>
                </a:cubicBezTo>
                <a:cubicBezTo>
                  <a:pt x="3435986" y="1386213"/>
                  <a:pt x="3479215" y="1395805"/>
                  <a:pt x="3519844" y="1388812"/>
                </a:cubicBezTo>
                <a:cubicBezTo>
                  <a:pt x="3512758" y="1429243"/>
                  <a:pt x="3522355" y="1472453"/>
                  <a:pt x="3550785" y="1506519"/>
                </a:cubicBezTo>
                <a:cubicBezTo>
                  <a:pt x="3579395" y="1540495"/>
                  <a:pt x="3620382" y="1557349"/>
                  <a:pt x="3661548" y="1557438"/>
                </a:cubicBezTo>
                <a:cubicBezTo>
                  <a:pt x="3647378" y="1596076"/>
                  <a:pt x="3649441" y="1640272"/>
                  <a:pt x="3671503" y="1678821"/>
                </a:cubicBezTo>
                <a:cubicBezTo>
                  <a:pt x="3693746" y="1717190"/>
                  <a:pt x="3731145" y="1740946"/>
                  <a:pt x="3771684" y="1748207"/>
                </a:cubicBezTo>
                <a:cubicBezTo>
                  <a:pt x="3751056" y="1783887"/>
                  <a:pt x="3745316" y="1827635"/>
                  <a:pt x="3760473" y="1869410"/>
                </a:cubicBezTo>
                <a:cubicBezTo>
                  <a:pt x="3775630" y="1911096"/>
                  <a:pt x="3808365" y="1940949"/>
                  <a:pt x="3846931" y="1955202"/>
                </a:cubicBezTo>
                <a:cubicBezTo>
                  <a:pt x="3820563" y="1986758"/>
                  <a:pt x="3807289" y="2028803"/>
                  <a:pt x="3814823" y="2072550"/>
                </a:cubicBezTo>
                <a:cubicBezTo>
                  <a:pt x="3822626" y="2116298"/>
                  <a:pt x="3849621" y="2151350"/>
                  <a:pt x="3885227" y="2171969"/>
                </a:cubicBezTo>
                <a:cubicBezTo>
                  <a:pt x="3853836" y="2198505"/>
                  <a:pt x="3833298" y="2237680"/>
                  <a:pt x="3833209" y="2282056"/>
                </a:cubicBezTo>
                <a:cubicBezTo>
                  <a:pt x="3833298" y="2326431"/>
                  <a:pt x="3853836" y="2365696"/>
                  <a:pt x="3885227" y="2392232"/>
                </a:cubicBezTo>
                <a:cubicBezTo>
                  <a:pt x="3849890" y="2413030"/>
                  <a:pt x="3822895" y="2447992"/>
                  <a:pt x="3814913" y="2491740"/>
                </a:cubicBezTo>
                <a:moveTo>
                  <a:pt x="1648441" y="3620755"/>
                </a:moveTo>
                <a:cubicBezTo>
                  <a:pt x="1648441" y="3701796"/>
                  <a:pt x="1582701" y="3767597"/>
                  <a:pt x="1501624" y="3767597"/>
                </a:cubicBezTo>
                <a:cubicBezTo>
                  <a:pt x="1420547" y="3767597"/>
                  <a:pt x="1354717" y="3701886"/>
                  <a:pt x="1354717" y="3620755"/>
                </a:cubicBezTo>
                <a:cubicBezTo>
                  <a:pt x="1354717" y="3539714"/>
                  <a:pt x="1420547" y="3473913"/>
                  <a:pt x="1501624" y="3473913"/>
                </a:cubicBezTo>
                <a:cubicBezTo>
                  <a:pt x="1582701" y="3473913"/>
                  <a:pt x="1648441" y="3539714"/>
                  <a:pt x="1648441" y="3620755"/>
                </a:cubicBezTo>
                <a:moveTo>
                  <a:pt x="1433373" y="3405871"/>
                </a:moveTo>
                <a:cubicBezTo>
                  <a:pt x="1433373" y="3487002"/>
                  <a:pt x="1367632" y="3552713"/>
                  <a:pt x="1286555" y="3552713"/>
                </a:cubicBezTo>
                <a:cubicBezTo>
                  <a:pt x="1205479" y="3552713"/>
                  <a:pt x="1139738" y="3487002"/>
                  <a:pt x="1139738" y="3405871"/>
                </a:cubicBezTo>
                <a:cubicBezTo>
                  <a:pt x="1139738" y="3324830"/>
                  <a:pt x="1205479" y="3259119"/>
                  <a:pt x="1286555" y="3259119"/>
                </a:cubicBezTo>
                <a:cubicBezTo>
                  <a:pt x="1367632" y="3259119"/>
                  <a:pt x="1433373" y="3324830"/>
                  <a:pt x="1433373" y="3405871"/>
                </a:cubicBezTo>
                <a:moveTo>
                  <a:pt x="1258304" y="3155666"/>
                </a:moveTo>
                <a:cubicBezTo>
                  <a:pt x="1258304" y="3236707"/>
                  <a:pt x="1192564" y="3302418"/>
                  <a:pt x="1111487" y="3302418"/>
                </a:cubicBezTo>
                <a:cubicBezTo>
                  <a:pt x="1030410" y="3302418"/>
                  <a:pt x="964670" y="3236707"/>
                  <a:pt x="964670" y="3155666"/>
                </a:cubicBezTo>
                <a:cubicBezTo>
                  <a:pt x="964670" y="3074625"/>
                  <a:pt x="1030410" y="3008824"/>
                  <a:pt x="1111487" y="3008824"/>
                </a:cubicBezTo>
                <a:cubicBezTo>
                  <a:pt x="1192564" y="3008914"/>
                  <a:pt x="1258304" y="3074625"/>
                  <a:pt x="1258304" y="3155666"/>
                </a:cubicBezTo>
                <a:moveTo>
                  <a:pt x="1129514" y="2879553"/>
                </a:moveTo>
                <a:cubicBezTo>
                  <a:pt x="1129514" y="2960684"/>
                  <a:pt x="1063774" y="3026395"/>
                  <a:pt x="982697" y="3026395"/>
                </a:cubicBezTo>
                <a:cubicBezTo>
                  <a:pt x="901620" y="3026395"/>
                  <a:pt x="835880" y="2960594"/>
                  <a:pt x="835880" y="2879553"/>
                </a:cubicBezTo>
                <a:cubicBezTo>
                  <a:pt x="835880" y="2798512"/>
                  <a:pt x="901620" y="2732891"/>
                  <a:pt x="982697" y="2732891"/>
                </a:cubicBezTo>
                <a:cubicBezTo>
                  <a:pt x="1063774" y="2732891"/>
                  <a:pt x="1129514" y="2798512"/>
                  <a:pt x="1129514" y="2879553"/>
                </a:cubicBezTo>
                <a:moveTo>
                  <a:pt x="1050590" y="2585511"/>
                </a:moveTo>
                <a:cubicBezTo>
                  <a:pt x="1050590" y="2666552"/>
                  <a:pt x="984849" y="2732353"/>
                  <a:pt x="903862" y="2732353"/>
                </a:cubicBezTo>
                <a:cubicBezTo>
                  <a:pt x="822786" y="2732353"/>
                  <a:pt x="756956" y="2666552"/>
                  <a:pt x="756956" y="2585511"/>
                </a:cubicBezTo>
                <a:cubicBezTo>
                  <a:pt x="756956" y="2504470"/>
                  <a:pt x="822786" y="2438759"/>
                  <a:pt x="903862" y="2438759"/>
                </a:cubicBezTo>
                <a:cubicBezTo>
                  <a:pt x="984849" y="2438759"/>
                  <a:pt x="1050590" y="2504470"/>
                  <a:pt x="1050590" y="2585511"/>
                </a:cubicBezTo>
                <a:moveTo>
                  <a:pt x="1024042" y="2282145"/>
                </a:moveTo>
                <a:cubicBezTo>
                  <a:pt x="1024042" y="2363186"/>
                  <a:pt x="958302" y="2428987"/>
                  <a:pt x="877315" y="2428987"/>
                </a:cubicBezTo>
                <a:cubicBezTo>
                  <a:pt x="796149" y="2428987"/>
                  <a:pt x="730408" y="2363276"/>
                  <a:pt x="730408" y="2282145"/>
                </a:cubicBezTo>
                <a:cubicBezTo>
                  <a:pt x="730408" y="2201015"/>
                  <a:pt x="796238" y="2135393"/>
                  <a:pt x="877315" y="2135393"/>
                </a:cubicBezTo>
                <a:cubicBezTo>
                  <a:pt x="958302" y="2135303"/>
                  <a:pt x="1024042" y="2201015"/>
                  <a:pt x="1024042" y="2282145"/>
                </a:cubicBezTo>
                <a:moveTo>
                  <a:pt x="1050590" y="1978511"/>
                </a:moveTo>
                <a:cubicBezTo>
                  <a:pt x="1050590" y="2059641"/>
                  <a:pt x="984849" y="2125353"/>
                  <a:pt x="903862" y="2125353"/>
                </a:cubicBezTo>
                <a:cubicBezTo>
                  <a:pt x="822786" y="2125353"/>
                  <a:pt x="756956" y="2059641"/>
                  <a:pt x="756956" y="1978511"/>
                </a:cubicBezTo>
                <a:cubicBezTo>
                  <a:pt x="756956" y="1897470"/>
                  <a:pt x="822786" y="1831759"/>
                  <a:pt x="903862" y="1831759"/>
                </a:cubicBezTo>
                <a:cubicBezTo>
                  <a:pt x="984849" y="1831759"/>
                  <a:pt x="1050590" y="1897470"/>
                  <a:pt x="1050590" y="1978511"/>
                </a:cubicBezTo>
                <a:moveTo>
                  <a:pt x="1129514" y="1684199"/>
                </a:moveTo>
                <a:cubicBezTo>
                  <a:pt x="1129514" y="1765330"/>
                  <a:pt x="1063774" y="1831041"/>
                  <a:pt x="982697" y="1831041"/>
                </a:cubicBezTo>
                <a:cubicBezTo>
                  <a:pt x="901620" y="1831041"/>
                  <a:pt x="835880" y="1765330"/>
                  <a:pt x="835880" y="1684199"/>
                </a:cubicBezTo>
                <a:cubicBezTo>
                  <a:pt x="835880" y="1603159"/>
                  <a:pt x="901620" y="1537447"/>
                  <a:pt x="982697" y="1537447"/>
                </a:cubicBezTo>
                <a:cubicBezTo>
                  <a:pt x="1063774" y="1537447"/>
                  <a:pt x="1129514" y="1603159"/>
                  <a:pt x="1129514" y="1684199"/>
                </a:cubicBezTo>
                <a:moveTo>
                  <a:pt x="1258304" y="1408086"/>
                </a:moveTo>
                <a:cubicBezTo>
                  <a:pt x="1258304" y="1489217"/>
                  <a:pt x="1192564" y="1554928"/>
                  <a:pt x="1111487" y="1554928"/>
                </a:cubicBezTo>
                <a:cubicBezTo>
                  <a:pt x="1030410" y="1554928"/>
                  <a:pt x="964670" y="1489217"/>
                  <a:pt x="964670" y="1408086"/>
                </a:cubicBezTo>
                <a:cubicBezTo>
                  <a:pt x="964670" y="1327046"/>
                  <a:pt x="1030410" y="1261334"/>
                  <a:pt x="1111487" y="1261334"/>
                </a:cubicBezTo>
                <a:cubicBezTo>
                  <a:pt x="1192564" y="1261334"/>
                  <a:pt x="1258304" y="1327046"/>
                  <a:pt x="1258304" y="1408086"/>
                </a:cubicBezTo>
                <a:moveTo>
                  <a:pt x="1433373" y="1158509"/>
                </a:moveTo>
                <a:cubicBezTo>
                  <a:pt x="1433373" y="1239550"/>
                  <a:pt x="1367632" y="1305261"/>
                  <a:pt x="1286555" y="1305261"/>
                </a:cubicBezTo>
                <a:cubicBezTo>
                  <a:pt x="1205479" y="1305261"/>
                  <a:pt x="1139738" y="1239550"/>
                  <a:pt x="1139738" y="1158509"/>
                </a:cubicBezTo>
                <a:cubicBezTo>
                  <a:pt x="1139738" y="1077378"/>
                  <a:pt x="1205479" y="1011757"/>
                  <a:pt x="1286555" y="1011757"/>
                </a:cubicBezTo>
                <a:cubicBezTo>
                  <a:pt x="1367632" y="1011757"/>
                  <a:pt x="1433373" y="1077378"/>
                  <a:pt x="1433373" y="1158509"/>
                </a:cubicBezTo>
                <a:moveTo>
                  <a:pt x="2772933" y="534117"/>
                </a:moveTo>
                <a:cubicBezTo>
                  <a:pt x="2772933" y="615158"/>
                  <a:pt x="2707192" y="680869"/>
                  <a:pt x="2626116" y="680869"/>
                </a:cubicBezTo>
                <a:cubicBezTo>
                  <a:pt x="2545039" y="680869"/>
                  <a:pt x="2479299" y="615158"/>
                  <a:pt x="2479299" y="534117"/>
                </a:cubicBezTo>
                <a:cubicBezTo>
                  <a:pt x="2479299" y="453076"/>
                  <a:pt x="2545129" y="387275"/>
                  <a:pt x="2626116" y="387275"/>
                </a:cubicBezTo>
                <a:cubicBezTo>
                  <a:pt x="2707192" y="387275"/>
                  <a:pt x="2772933" y="452987"/>
                  <a:pt x="2772933" y="534117"/>
                </a:cubicBezTo>
                <a:moveTo>
                  <a:pt x="3076612" y="560384"/>
                </a:moveTo>
                <a:cubicBezTo>
                  <a:pt x="3076612" y="641425"/>
                  <a:pt x="3010872" y="707136"/>
                  <a:pt x="2929705" y="707136"/>
                </a:cubicBezTo>
                <a:cubicBezTo>
                  <a:pt x="2848628" y="707136"/>
                  <a:pt x="2782798" y="641425"/>
                  <a:pt x="2782798" y="560384"/>
                </a:cubicBezTo>
                <a:cubicBezTo>
                  <a:pt x="2782798" y="479343"/>
                  <a:pt x="2848628" y="413542"/>
                  <a:pt x="2929705" y="413542"/>
                </a:cubicBezTo>
                <a:cubicBezTo>
                  <a:pt x="3010872" y="413632"/>
                  <a:pt x="3076612" y="479343"/>
                  <a:pt x="3076612" y="560384"/>
                </a:cubicBezTo>
                <a:moveTo>
                  <a:pt x="3897514" y="942908"/>
                </a:moveTo>
                <a:cubicBezTo>
                  <a:pt x="3897514" y="1023949"/>
                  <a:pt x="3831774" y="1089750"/>
                  <a:pt x="3750607" y="1089750"/>
                </a:cubicBezTo>
                <a:cubicBezTo>
                  <a:pt x="3669620" y="1089750"/>
                  <a:pt x="3603790" y="1024038"/>
                  <a:pt x="3603790" y="942908"/>
                </a:cubicBezTo>
                <a:cubicBezTo>
                  <a:pt x="3603790" y="861867"/>
                  <a:pt x="3669620" y="796066"/>
                  <a:pt x="3750607" y="796066"/>
                </a:cubicBezTo>
                <a:cubicBezTo>
                  <a:pt x="3831774" y="796156"/>
                  <a:pt x="3897514" y="861867"/>
                  <a:pt x="3897514" y="942908"/>
                </a:cubicBezTo>
                <a:moveTo>
                  <a:pt x="4112672" y="1158509"/>
                </a:moveTo>
                <a:cubicBezTo>
                  <a:pt x="4112672" y="1239550"/>
                  <a:pt x="4046932" y="1305261"/>
                  <a:pt x="3965855" y="1305261"/>
                </a:cubicBezTo>
                <a:cubicBezTo>
                  <a:pt x="3884778" y="1305261"/>
                  <a:pt x="3819128" y="1239550"/>
                  <a:pt x="3819128" y="1158509"/>
                </a:cubicBezTo>
                <a:cubicBezTo>
                  <a:pt x="3819128" y="1077378"/>
                  <a:pt x="3884868" y="1011757"/>
                  <a:pt x="3965855" y="1011757"/>
                </a:cubicBezTo>
                <a:cubicBezTo>
                  <a:pt x="4046932" y="1011757"/>
                  <a:pt x="4112672" y="1077378"/>
                  <a:pt x="4112672" y="1158509"/>
                </a:cubicBezTo>
                <a:moveTo>
                  <a:pt x="4286216" y="1408086"/>
                </a:moveTo>
                <a:cubicBezTo>
                  <a:pt x="4286216" y="1489217"/>
                  <a:pt x="4220386" y="1554928"/>
                  <a:pt x="4139399" y="1554928"/>
                </a:cubicBezTo>
                <a:cubicBezTo>
                  <a:pt x="4058322" y="1554928"/>
                  <a:pt x="3992492" y="1489217"/>
                  <a:pt x="3992492" y="1408086"/>
                </a:cubicBezTo>
                <a:cubicBezTo>
                  <a:pt x="3992492" y="1327046"/>
                  <a:pt x="4058322" y="1261334"/>
                  <a:pt x="4139399" y="1261334"/>
                </a:cubicBezTo>
                <a:cubicBezTo>
                  <a:pt x="4220386" y="1261334"/>
                  <a:pt x="4286216" y="1327046"/>
                  <a:pt x="4286216" y="1408086"/>
                </a:cubicBezTo>
                <a:moveTo>
                  <a:pt x="4416441" y="1684199"/>
                </a:moveTo>
                <a:cubicBezTo>
                  <a:pt x="4416441" y="1765330"/>
                  <a:pt x="4350701" y="1831041"/>
                  <a:pt x="4269624" y="1831041"/>
                </a:cubicBezTo>
                <a:cubicBezTo>
                  <a:pt x="4188547" y="1831041"/>
                  <a:pt x="4122896" y="1765330"/>
                  <a:pt x="4122896" y="1684199"/>
                </a:cubicBezTo>
                <a:cubicBezTo>
                  <a:pt x="4122896" y="1603159"/>
                  <a:pt x="4188547" y="1537447"/>
                  <a:pt x="4269624" y="1537447"/>
                </a:cubicBezTo>
                <a:cubicBezTo>
                  <a:pt x="4350701" y="1537447"/>
                  <a:pt x="4416441" y="1603159"/>
                  <a:pt x="4416441" y="1684199"/>
                </a:cubicBezTo>
                <a:moveTo>
                  <a:pt x="4495276" y="1978511"/>
                </a:moveTo>
                <a:cubicBezTo>
                  <a:pt x="4495276" y="2059641"/>
                  <a:pt x="4429535" y="2125353"/>
                  <a:pt x="4348459" y="2125353"/>
                </a:cubicBezTo>
                <a:cubicBezTo>
                  <a:pt x="4267382" y="2125353"/>
                  <a:pt x="4201642" y="2059641"/>
                  <a:pt x="4201642" y="1978511"/>
                </a:cubicBezTo>
                <a:cubicBezTo>
                  <a:pt x="4201642" y="1897470"/>
                  <a:pt x="4267382" y="1831759"/>
                  <a:pt x="4348459" y="1831759"/>
                </a:cubicBezTo>
                <a:cubicBezTo>
                  <a:pt x="4429535" y="1831759"/>
                  <a:pt x="4495276" y="1897470"/>
                  <a:pt x="4495276" y="1978511"/>
                </a:cubicBezTo>
                <a:moveTo>
                  <a:pt x="4521913" y="2282145"/>
                </a:moveTo>
                <a:cubicBezTo>
                  <a:pt x="4521913" y="2363186"/>
                  <a:pt x="4456172" y="2428987"/>
                  <a:pt x="4375006" y="2428987"/>
                </a:cubicBezTo>
                <a:cubicBezTo>
                  <a:pt x="4293929" y="2428987"/>
                  <a:pt x="4228099" y="2363276"/>
                  <a:pt x="4228099" y="2282145"/>
                </a:cubicBezTo>
                <a:cubicBezTo>
                  <a:pt x="4228099" y="2201015"/>
                  <a:pt x="4293929" y="2135393"/>
                  <a:pt x="4375006" y="2135393"/>
                </a:cubicBezTo>
                <a:cubicBezTo>
                  <a:pt x="4456172" y="2135303"/>
                  <a:pt x="4521913" y="2201015"/>
                  <a:pt x="4521913" y="2282145"/>
                </a:cubicBezTo>
                <a:moveTo>
                  <a:pt x="4495276" y="2585511"/>
                </a:moveTo>
                <a:cubicBezTo>
                  <a:pt x="4495276" y="2666552"/>
                  <a:pt x="4429535" y="2732353"/>
                  <a:pt x="4348459" y="2732353"/>
                </a:cubicBezTo>
                <a:cubicBezTo>
                  <a:pt x="4267382" y="2732353"/>
                  <a:pt x="4201642" y="2666552"/>
                  <a:pt x="4201642" y="2585511"/>
                </a:cubicBezTo>
                <a:cubicBezTo>
                  <a:pt x="4201642" y="2504470"/>
                  <a:pt x="4267382" y="2438759"/>
                  <a:pt x="4348459" y="2438759"/>
                </a:cubicBezTo>
                <a:cubicBezTo>
                  <a:pt x="4429535" y="2438759"/>
                  <a:pt x="4495276" y="2504470"/>
                  <a:pt x="4495276" y="2585511"/>
                </a:cubicBezTo>
                <a:moveTo>
                  <a:pt x="4416352" y="2879553"/>
                </a:moveTo>
                <a:cubicBezTo>
                  <a:pt x="4416352" y="2960684"/>
                  <a:pt x="4350611" y="3026395"/>
                  <a:pt x="4269624" y="3026395"/>
                </a:cubicBezTo>
                <a:cubicBezTo>
                  <a:pt x="4188457" y="3026395"/>
                  <a:pt x="4122628" y="2960594"/>
                  <a:pt x="4122628" y="2879553"/>
                </a:cubicBezTo>
                <a:cubicBezTo>
                  <a:pt x="4122628" y="2798512"/>
                  <a:pt x="4188457" y="2732891"/>
                  <a:pt x="4269624" y="2732891"/>
                </a:cubicBezTo>
                <a:cubicBezTo>
                  <a:pt x="4350701" y="2732891"/>
                  <a:pt x="4416352" y="2798512"/>
                  <a:pt x="4416352" y="2879553"/>
                </a:cubicBezTo>
                <a:moveTo>
                  <a:pt x="4287562" y="3155666"/>
                </a:moveTo>
                <a:cubicBezTo>
                  <a:pt x="4287562" y="3236707"/>
                  <a:pt x="4221911" y="3302418"/>
                  <a:pt x="4140744" y="3302418"/>
                </a:cubicBezTo>
                <a:cubicBezTo>
                  <a:pt x="4059757" y="3302418"/>
                  <a:pt x="3993927" y="3236707"/>
                  <a:pt x="3993927" y="3155666"/>
                </a:cubicBezTo>
                <a:cubicBezTo>
                  <a:pt x="3993927" y="3074625"/>
                  <a:pt x="4059757" y="3008824"/>
                  <a:pt x="4140744" y="3008824"/>
                </a:cubicBezTo>
                <a:cubicBezTo>
                  <a:pt x="4221911" y="3008914"/>
                  <a:pt x="4287562" y="3074625"/>
                  <a:pt x="4287562" y="3155666"/>
                </a:cubicBezTo>
                <a:moveTo>
                  <a:pt x="4112672" y="3405244"/>
                </a:moveTo>
                <a:cubicBezTo>
                  <a:pt x="4112672" y="3486285"/>
                  <a:pt x="4046932" y="3551996"/>
                  <a:pt x="3965855" y="3551996"/>
                </a:cubicBezTo>
                <a:cubicBezTo>
                  <a:pt x="3884778" y="3551996"/>
                  <a:pt x="3819038" y="3486285"/>
                  <a:pt x="3819038" y="3405244"/>
                </a:cubicBezTo>
                <a:cubicBezTo>
                  <a:pt x="3819038" y="3324113"/>
                  <a:pt x="3884778" y="3258491"/>
                  <a:pt x="3965855" y="3258491"/>
                </a:cubicBezTo>
                <a:cubicBezTo>
                  <a:pt x="4046932" y="3258491"/>
                  <a:pt x="4112672" y="3324203"/>
                  <a:pt x="4112672" y="3405244"/>
                </a:cubicBezTo>
                <a:moveTo>
                  <a:pt x="3897155" y="3620845"/>
                </a:moveTo>
                <a:cubicBezTo>
                  <a:pt x="3897155" y="3701886"/>
                  <a:pt x="3831415" y="3767687"/>
                  <a:pt x="3750338" y="3767687"/>
                </a:cubicBezTo>
                <a:cubicBezTo>
                  <a:pt x="3669261" y="3767687"/>
                  <a:pt x="3603521" y="3701975"/>
                  <a:pt x="3603521" y="3620845"/>
                </a:cubicBezTo>
                <a:cubicBezTo>
                  <a:pt x="3603521" y="3539804"/>
                  <a:pt x="3669261" y="3474003"/>
                  <a:pt x="3750338" y="3474003"/>
                </a:cubicBezTo>
                <a:cubicBezTo>
                  <a:pt x="3831415" y="3474093"/>
                  <a:pt x="3897155" y="3539804"/>
                  <a:pt x="3897155" y="3620845"/>
                </a:cubicBezTo>
                <a:moveTo>
                  <a:pt x="3647378" y="3795656"/>
                </a:moveTo>
                <a:cubicBezTo>
                  <a:pt x="3647378" y="3876698"/>
                  <a:pt x="3581637" y="3942409"/>
                  <a:pt x="3500650" y="3942409"/>
                </a:cubicBezTo>
                <a:cubicBezTo>
                  <a:pt x="3419484" y="3942409"/>
                  <a:pt x="3353744" y="3876698"/>
                  <a:pt x="3353744" y="3795656"/>
                </a:cubicBezTo>
                <a:cubicBezTo>
                  <a:pt x="3353744" y="3714616"/>
                  <a:pt x="3419574" y="3648904"/>
                  <a:pt x="3500650" y="3648904"/>
                </a:cubicBezTo>
                <a:cubicBezTo>
                  <a:pt x="3581727" y="3648904"/>
                  <a:pt x="3647378" y="3714616"/>
                  <a:pt x="3647378" y="3795656"/>
                </a:cubicBezTo>
                <a:moveTo>
                  <a:pt x="3371143" y="3924390"/>
                </a:moveTo>
                <a:cubicBezTo>
                  <a:pt x="3371143" y="4005521"/>
                  <a:pt x="3305403" y="4071231"/>
                  <a:pt x="3224236" y="4071231"/>
                </a:cubicBezTo>
                <a:cubicBezTo>
                  <a:pt x="3143159" y="4071231"/>
                  <a:pt x="3077419" y="4005521"/>
                  <a:pt x="3077419" y="3924390"/>
                </a:cubicBezTo>
                <a:cubicBezTo>
                  <a:pt x="3077419" y="3843349"/>
                  <a:pt x="3143159" y="3777638"/>
                  <a:pt x="3224236" y="3777638"/>
                </a:cubicBezTo>
                <a:cubicBezTo>
                  <a:pt x="3305313" y="3777638"/>
                  <a:pt x="3371143" y="3843349"/>
                  <a:pt x="3371143" y="3924390"/>
                </a:cubicBezTo>
                <a:moveTo>
                  <a:pt x="2469164" y="560653"/>
                </a:moveTo>
                <a:cubicBezTo>
                  <a:pt x="2469164" y="641694"/>
                  <a:pt x="2403424" y="707495"/>
                  <a:pt x="2322347" y="707495"/>
                </a:cubicBezTo>
                <a:cubicBezTo>
                  <a:pt x="2241270" y="707495"/>
                  <a:pt x="2175530" y="641783"/>
                  <a:pt x="2175530" y="560653"/>
                </a:cubicBezTo>
                <a:cubicBezTo>
                  <a:pt x="2175530" y="479612"/>
                  <a:pt x="2241270" y="413901"/>
                  <a:pt x="2322347" y="413901"/>
                </a:cubicBezTo>
                <a:cubicBezTo>
                  <a:pt x="2403424" y="413901"/>
                  <a:pt x="2469164" y="479522"/>
                  <a:pt x="2469164" y="560653"/>
                </a:cubicBezTo>
                <a:moveTo>
                  <a:pt x="1115433" y="3655000"/>
                </a:moveTo>
                <a:cubicBezTo>
                  <a:pt x="1115433" y="3725015"/>
                  <a:pt x="1058662" y="3781761"/>
                  <a:pt x="988616" y="3781761"/>
                </a:cubicBezTo>
                <a:cubicBezTo>
                  <a:pt x="918571" y="3781761"/>
                  <a:pt x="861799" y="3725015"/>
                  <a:pt x="861799" y="3655000"/>
                </a:cubicBezTo>
                <a:cubicBezTo>
                  <a:pt x="861799" y="3584986"/>
                  <a:pt x="918571" y="3528239"/>
                  <a:pt x="988616" y="3528239"/>
                </a:cubicBezTo>
                <a:cubicBezTo>
                  <a:pt x="1058662" y="3528239"/>
                  <a:pt x="1115433" y="3584986"/>
                  <a:pt x="1115433" y="3655000"/>
                </a:cubicBezTo>
                <a:moveTo>
                  <a:pt x="3821729" y="4132102"/>
                </a:moveTo>
                <a:cubicBezTo>
                  <a:pt x="3821729" y="4202206"/>
                  <a:pt x="3765047" y="4258863"/>
                  <a:pt x="3694912" y="4258863"/>
                </a:cubicBezTo>
                <a:cubicBezTo>
                  <a:pt x="3624867" y="4258863"/>
                  <a:pt x="3568095" y="4202206"/>
                  <a:pt x="3568095" y="4132102"/>
                </a:cubicBezTo>
                <a:cubicBezTo>
                  <a:pt x="3568095" y="4062178"/>
                  <a:pt x="3624867" y="4005341"/>
                  <a:pt x="3694912" y="4005341"/>
                </a:cubicBezTo>
                <a:cubicBezTo>
                  <a:pt x="3764957" y="4005341"/>
                  <a:pt x="3821729" y="4062178"/>
                  <a:pt x="3821729" y="4132102"/>
                </a:cubicBezTo>
                <a:moveTo>
                  <a:pt x="4126932" y="3918473"/>
                </a:moveTo>
                <a:cubicBezTo>
                  <a:pt x="4126932" y="3988487"/>
                  <a:pt x="4070161" y="4045234"/>
                  <a:pt x="4000115" y="4045234"/>
                </a:cubicBezTo>
                <a:cubicBezTo>
                  <a:pt x="3930070" y="4045234"/>
                  <a:pt x="3873299" y="3988398"/>
                  <a:pt x="3873299" y="3918473"/>
                </a:cubicBezTo>
                <a:cubicBezTo>
                  <a:pt x="3873299" y="3848459"/>
                  <a:pt x="3930070" y="3791712"/>
                  <a:pt x="4000115" y="3791712"/>
                </a:cubicBezTo>
                <a:cubicBezTo>
                  <a:pt x="4070161" y="3791712"/>
                  <a:pt x="4126932" y="3848459"/>
                  <a:pt x="4126932" y="3918473"/>
                </a:cubicBezTo>
                <a:moveTo>
                  <a:pt x="4390432" y="3655090"/>
                </a:moveTo>
                <a:cubicBezTo>
                  <a:pt x="4390432" y="3725194"/>
                  <a:pt x="4333571" y="3781851"/>
                  <a:pt x="4263526" y="3781851"/>
                </a:cubicBezTo>
                <a:cubicBezTo>
                  <a:pt x="4193480" y="3781851"/>
                  <a:pt x="4136708" y="3725194"/>
                  <a:pt x="4136708" y="3655090"/>
                </a:cubicBezTo>
                <a:cubicBezTo>
                  <a:pt x="4136708" y="3585165"/>
                  <a:pt x="4193480" y="3528329"/>
                  <a:pt x="4263526" y="3528329"/>
                </a:cubicBezTo>
                <a:cubicBezTo>
                  <a:pt x="4333660" y="3528329"/>
                  <a:pt x="4390432" y="3585165"/>
                  <a:pt x="4390432" y="3655090"/>
                </a:cubicBezTo>
                <a:moveTo>
                  <a:pt x="4604155" y="3350021"/>
                </a:moveTo>
                <a:cubicBezTo>
                  <a:pt x="4604155" y="3420035"/>
                  <a:pt x="4547473" y="3476782"/>
                  <a:pt x="4477338" y="3476782"/>
                </a:cubicBezTo>
                <a:cubicBezTo>
                  <a:pt x="4407293" y="3476782"/>
                  <a:pt x="4350521" y="3420035"/>
                  <a:pt x="4350521" y="3350021"/>
                </a:cubicBezTo>
                <a:cubicBezTo>
                  <a:pt x="4350521" y="3280007"/>
                  <a:pt x="4407293" y="3223350"/>
                  <a:pt x="4477338" y="3223350"/>
                </a:cubicBezTo>
                <a:cubicBezTo>
                  <a:pt x="4547384" y="3223350"/>
                  <a:pt x="4604155" y="3280007"/>
                  <a:pt x="4604155" y="3350021"/>
                </a:cubicBezTo>
                <a:moveTo>
                  <a:pt x="4761555" y="3012500"/>
                </a:moveTo>
                <a:cubicBezTo>
                  <a:pt x="4761555" y="3082604"/>
                  <a:pt x="4704873" y="3139261"/>
                  <a:pt x="4634828" y="3139261"/>
                </a:cubicBezTo>
                <a:cubicBezTo>
                  <a:pt x="4564783" y="3139261"/>
                  <a:pt x="4508011" y="3082604"/>
                  <a:pt x="4508011" y="3012500"/>
                </a:cubicBezTo>
                <a:cubicBezTo>
                  <a:pt x="4508011" y="2942575"/>
                  <a:pt x="4564783" y="2885739"/>
                  <a:pt x="4634828" y="2885739"/>
                </a:cubicBezTo>
                <a:cubicBezTo>
                  <a:pt x="4704873" y="2885649"/>
                  <a:pt x="4761555" y="2942486"/>
                  <a:pt x="4761555" y="3012500"/>
                </a:cubicBezTo>
                <a:moveTo>
                  <a:pt x="4857969" y="2652926"/>
                </a:moveTo>
                <a:cubicBezTo>
                  <a:pt x="4857969" y="2722940"/>
                  <a:pt x="4801197" y="2779686"/>
                  <a:pt x="4731241" y="2779686"/>
                </a:cubicBezTo>
                <a:cubicBezTo>
                  <a:pt x="4661196" y="2779686"/>
                  <a:pt x="4604335" y="2722940"/>
                  <a:pt x="4604335" y="2652926"/>
                </a:cubicBezTo>
                <a:cubicBezTo>
                  <a:pt x="4604335" y="2582911"/>
                  <a:pt x="4661196" y="2526165"/>
                  <a:pt x="4731241" y="2526165"/>
                </a:cubicBezTo>
                <a:cubicBezTo>
                  <a:pt x="4801197" y="2526165"/>
                  <a:pt x="4857969" y="2582911"/>
                  <a:pt x="4857969" y="2652926"/>
                </a:cubicBezTo>
                <a:moveTo>
                  <a:pt x="4890525" y="2282145"/>
                </a:moveTo>
                <a:cubicBezTo>
                  <a:pt x="4890525" y="2352160"/>
                  <a:pt x="4833753" y="2408906"/>
                  <a:pt x="4763708" y="2408906"/>
                </a:cubicBezTo>
                <a:cubicBezTo>
                  <a:pt x="4693573" y="2408906"/>
                  <a:pt x="4636802" y="2352160"/>
                  <a:pt x="4636802" y="2282145"/>
                </a:cubicBezTo>
                <a:cubicBezTo>
                  <a:pt x="4636802" y="2212131"/>
                  <a:pt x="4693663" y="2155384"/>
                  <a:pt x="4763708" y="2155384"/>
                </a:cubicBezTo>
                <a:cubicBezTo>
                  <a:pt x="4833753" y="2155295"/>
                  <a:pt x="4890525" y="2212131"/>
                  <a:pt x="4890525" y="2282145"/>
                </a:cubicBezTo>
                <a:moveTo>
                  <a:pt x="4857969" y="1911006"/>
                </a:moveTo>
                <a:cubicBezTo>
                  <a:pt x="4857969" y="1981021"/>
                  <a:pt x="4801197" y="2037767"/>
                  <a:pt x="4731241" y="2037767"/>
                </a:cubicBezTo>
                <a:cubicBezTo>
                  <a:pt x="4661196" y="2037767"/>
                  <a:pt x="4604335" y="1981021"/>
                  <a:pt x="4604335" y="1911006"/>
                </a:cubicBezTo>
                <a:cubicBezTo>
                  <a:pt x="4604335" y="1840992"/>
                  <a:pt x="4661196" y="1784245"/>
                  <a:pt x="4731241" y="1784245"/>
                </a:cubicBezTo>
                <a:cubicBezTo>
                  <a:pt x="4801197" y="1784335"/>
                  <a:pt x="4857969" y="1840992"/>
                  <a:pt x="4857969" y="1911006"/>
                </a:cubicBezTo>
                <a:moveTo>
                  <a:pt x="4761645" y="1551253"/>
                </a:moveTo>
                <a:cubicBezTo>
                  <a:pt x="4761645" y="1621357"/>
                  <a:pt x="4704873" y="1678014"/>
                  <a:pt x="4634828" y="1678014"/>
                </a:cubicBezTo>
                <a:cubicBezTo>
                  <a:pt x="4564783" y="1678014"/>
                  <a:pt x="4508011" y="1621357"/>
                  <a:pt x="4508011" y="1551253"/>
                </a:cubicBezTo>
                <a:cubicBezTo>
                  <a:pt x="4508011" y="1481238"/>
                  <a:pt x="4564783" y="1424492"/>
                  <a:pt x="4634828" y="1424492"/>
                </a:cubicBezTo>
                <a:cubicBezTo>
                  <a:pt x="4704873" y="1424492"/>
                  <a:pt x="4761645" y="1481328"/>
                  <a:pt x="4761645" y="1551253"/>
                </a:cubicBezTo>
                <a:moveTo>
                  <a:pt x="4604155" y="1213732"/>
                </a:moveTo>
                <a:cubicBezTo>
                  <a:pt x="4604155" y="1283746"/>
                  <a:pt x="4547384" y="1340493"/>
                  <a:pt x="4477338" y="1340493"/>
                </a:cubicBezTo>
                <a:cubicBezTo>
                  <a:pt x="4407293" y="1340493"/>
                  <a:pt x="4350432" y="1283746"/>
                  <a:pt x="4350432" y="1213732"/>
                </a:cubicBezTo>
                <a:cubicBezTo>
                  <a:pt x="4350432" y="1143717"/>
                  <a:pt x="4407293" y="1086971"/>
                  <a:pt x="4477338" y="1086971"/>
                </a:cubicBezTo>
                <a:cubicBezTo>
                  <a:pt x="4547384" y="1087060"/>
                  <a:pt x="4604155" y="1143717"/>
                  <a:pt x="4604155" y="1213732"/>
                </a:cubicBezTo>
                <a:moveTo>
                  <a:pt x="4390432" y="908663"/>
                </a:moveTo>
                <a:cubicBezTo>
                  <a:pt x="4390432" y="978677"/>
                  <a:pt x="4333660" y="1035424"/>
                  <a:pt x="4263615" y="1035424"/>
                </a:cubicBezTo>
                <a:cubicBezTo>
                  <a:pt x="4193659" y="1035424"/>
                  <a:pt x="4136798" y="978677"/>
                  <a:pt x="4136798" y="908663"/>
                </a:cubicBezTo>
                <a:cubicBezTo>
                  <a:pt x="4136798" y="838559"/>
                  <a:pt x="4193659" y="781902"/>
                  <a:pt x="4263615" y="781902"/>
                </a:cubicBezTo>
                <a:cubicBezTo>
                  <a:pt x="4333660" y="781902"/>
                  <a:pt x="4390432" y="838648"/>
                  <a:pt x="4390432" y="908663"/>
                </a:cubicBezTo>
                <a:moveTo>
                  <a:pt x="4127022" y="645369"/>
                </a:moveTo>
                <a:cubicBezTo>
                  <a:pt x="4127022" y="715384"/>
                  <a:pt x="4070340" y="772130"/>
                  <a:pt x="4000205" y="772130"/>
                </a:cubicBezTo>
                <a:cubicBezTo>
                  <a:pt x="3930250" y="772130"/>
                  <a:pt x="3873299" y="715384"/>
                  <a:pt x="3873299" y="645369"/>
                </a:cubicBezTo>
                <a:cubicBezTo>
                  <a:pt x="3873299" y="575355"/>
                  <a:pt x="3930160" y="518608"/>
                  <a:pt x="4000205" y="518608"/>
                </a:cubicBezTo>
                <a:cubicBezTo>
                  <a:pt x="4070340" y="518519"/>
                  <a:pt x="4127022" y="575355"/>
                  <a:pt x="4127022" y="645369"/>
                </a:cubicBezTo>
                <a:moveTo>
                  <a:pt x="3821729" y="431740"/>
                </a:moveTo>
                <a:cubicBezTo>
                  <a:pt x="3821729" y="501755"/>
                  <a:pt x="3765047" y="558501"/>
                  <a:pt x="3694912" y="558501"/>
                </a:cubicBezTo>
                <a:cubicBezTo>
                  <a:pt x="3624867" y="558501"/>
                  <a:pt x="3568095" y="501755"/>
                  <a:pt x="3568095" y="431740"/>
                </a:cubicBezTo>
                <a:cubicBezTo>
                  <a:pt x="3568095" y="361636"/>
                  <a:pt x="3624867" y="304979"/>
                  <a:pt x="3694912" y="304979"/>
                </a:cubicBezTo>
                <a:cubicBezTo>
                  <a:pt x="3764957" y="304890"/>
                  <a:pt x="3821729" y="361636"/>
                  <a:pt x="3821729" y="431740"/>
                </a:cubicBezTo>
                <a:moveTo>
                  <a:pt x="901710" y="3349932"/>
                </a:moveTo>
                <a:cubicBezTo>
                  <a:pt x="901710" y="3419856"/>
                  <a:pt x="845028" y="3476692"/>
                  <a:pt x="774983" y="3476692"/>
                </a:cubicBezTo>
                <a:cubicBezTo>
                  <a:pt x="704937" y="3476692"/>
                  <a:pt x="648076" y="3419856"/>
                  <a:pt x="648076" y="3349932"/>
                </a:cubicBezTo>
                <a:cubicBezTo>
                  <a:pt x="648076" y="3279827"/>
                  <a:pt x="704937" y="3223170"/>
                  <a:pt x="774983" y="3223170"/>
                </a:cubicBezTo>
                <a:cubicBezTo>
                  <a:pt x="845028" y="3223170"/>
                  <a:pt x="901710" y="3279917"/>
                  <a:pt x="901710" y="3349932"/>
                </a:cubicBezTo>
                <a:moveTo>
                  <a:pt x="744310" y="3012321"/>
                </a:moveTo>
                <a:cubicBezTo>
                  <a:pt x="744310" y="3082424"/>
                  <a:pt x="687628" y="3139171"/>
                  <a:pt x="617493" y="3139171"/>
                </a:cubicBezTo>
                <a:cubicBezTo>
                  <a:pt x="547448" y="3139171"/>
                  <a:pt x="490676" y="3082424"/>
                  <a:pt x="490676" y="3012321"/>
                </a:cubicBezTo>
                <a:cubicBezTo>
                  <a:pt x="490676" y="2942306"/>
                  <a:pt x="547358" y="2885560"/>
                  <a:pt x="617493" y="2885560"/>
                </a:cubicBezTo>
                <a:cubicBezTo>
                  <a:pt x="687538" y="2885560"/>
                  <a:pt x="744310" y="2942306"/>
                  <a:pt x="744310" y="3012321"/>
                </a:cubicBezTo>
                <a:moveTo>
                  <a:pt x="647807" y="2652836"/>
                </a:moveTo>
                <a:cubicBezTo>
                  <a:pt x="647807" y="2722850"/>
                  <a:pt x="591035" y="2779686"/>
                  <a:pt x="520990" y="2779686"/>
                </a:cubicBezTo>
                <a:cubicBezTo>
                  <a:pt x="450855" y="2779686"/>
                  <a:pt x="394083" y="2722850"/>
                  <a:pt x="394083" y="2652836"/>
                </a:cubicBezTo>
                <a:cubicBezTo>
                  <a:pt x="394083" y="2582822"/>
                  <a:pt x="450855" y="2526075"/>
                  <a:pt x="520990" y="2526075"/>
                </a:cubicBezTo>
                <a:cubicBezTo>
                  <a:pt x="591035" y="2526075"/>
                  <a:pt x="647807" y="2582822"/>
                  <a:pt x="647807" y="2652836"/>
                </a:cubicBezTo>
                <a:moveTo>
                  <a:pt x="615340" y="2282145"/>
                </a:moveTo>
                <a:cubicBezTo>
                  <a:pt x="615340" y="2352160"/>
                  <a:pt x="558658" y="2408906"/>
                  <a:pt x="488613" y="2408906"/>
                </a:cubicBezTo>
                <a:cubicBezTo>
                  <a:pt x="418568" y="2408906"/>
                  <a:pt x="361796" y="2352160"/>
                  <a:pt x="361796" y="2282145"/>
                </a:cubicBezTo>
                <a:cubicBezTo>
                  <a:pt x="361796" y="2212131"/>
                  <a:pt x="418568" y="2155384"/>
                  <a:pt x="488613" y="2155384"/>
                </a:cubicBezTo>
                <a:cubicBezTo>
                  <a:pt x="558658" y="2155384"/>
                  <a:pt x="615340" y="2212131"/>
                  <a:pt x="615340" y="2282145"/>
                </a:cubicBezTo>
                <a:moveTo>
                  <a:pt x="647807" y="1911096"/>
                </a:moveTo>
                <a:cubicBezTo>
                  <a:pt x="647807" y="1981111"/>
                  <a:pt x="591035" y="2037857"/>
                  <a:pt x="520990" y="2037857"/>
                </a:cubicBezTo>
                <a:cubicBezTo>
                  <a:pt x="450855" y="2037857"/>
                  <a:pt x="394083" y="1981111"/>
                  <a:pt x="394083" y="1911096"/>
                </a:cubicBezTo>
                <a:cubicBezTo>
                  <a:pt x="394083" y="1840992"/>
                  <a:pt x="450855" y="1784335"/>
                  <a:pt x="520990" y="1784335"/>
                </a:cubicBezTo>
                <a:cubicBezTo>
                  <a:pt x="591035" y="1784335"/>
                  <a:pt x="647807" y="1840992"/>
                  <a:pt x="647807" y="1911096"/>
                </a:cubicBezTo>
                <a:moveTo>
                  <a:pt x="744310" y="1551343"/>
                </a:moveTo>
                <a:cubicBezTo>
                  <a:pt x="744310" y="1621357"/>
                  <a:pt x="687628" y="1678103"/>
                  <a:pt x="617493" y="1678103"/>
                </a:cubicBezTo>
                <a:cubicBezTo>
                  <a:pt x="547448" y="1678103"/>
                  <a:pt x="490676" y="1621267"/>
                  <a:pt x="490676" y="1551343"/>
                </a:cubicBezTo>
                <a:cubicBezTo>
                  <a:pt x="490676" y="1481328"/>
                  <a:pt x="547358" y="1424581"/>
                  <a:pt x="617493" y="1424581"/>
                </a:cubicBezTo>
                <a:cubicBezTo>
                  <a:pt x="687538" y="1424581"/>
                  <a:pt x="744310" y="1481328"/>
                  <a:pt x="744310" y="1551343"/>
                </a:cubicBezTo>
                <a:moveTo>
                  <a:pt x="4471060" y="5013422"/>
                </a:moveTo>
                <a:cubicBezTo>
                  <a:pt x="4471060" y="5054212"/>
                  <a:pt x="4438056" y="5087292"/>
                  <a:pt x="4397158" y="5087292"/>
                </a:cubicBezTo>
                <a:cubicBezTo>
                  <a:pt x="4356351" y="5087292"/>
                  <a:pt x="4323257" y="5054212"/>
                  <a:pt x="4323257" y="5013422"/>
                </a:cubicBezTo>
                <a:cubicBezTo>
                  <a:pt x="4323257" y="4972633"/>
                  <a:pt x="4356351" y="4939553"/>
                  <a:pt x="4397158" y="4939553"/>
                </a:cubicBezTo>
                <a:cubicBezTo>
                  <a:pt x="4438056" y="4939553"/>
                  <a:pt x="4471060" y="4972633"/>
                  <a:pt x="4471060" y="5013422"/>
                </a:cubicBezTo>
                <a:moveTo>
                  <a:pt x="4176170" y="5013422"/>
                </a:moveTo>
                <a:cubicBezTo>
                  <a:pt x="4176170" y="5054212"/>
                  <a:pt x="4143076" y="5087292"/>
                  <a:pt x="4102269" y="5087292"/>
                </a:cubicBezTo>
                <a:cubicBezTo>
                  <a:pt x="4061461" y="5087292"/>
                  <a:pt x="4028277" y="5054212"/>
                  <a:pt x="4028277" y="5013422"/>
                </a:cubicBezTo>
                <a:cubicBezTo>
                  <a:pt x="4028277" y="4972633"/>
                  <a:pt x="4061371" y="4939553"/>
                  <a:pt x="4102269" y="4939553"/>
                </a:cubicBezTo>
                <a:cubicBezTo>
                  <a:pt x="4143076" y="4939553"/>
                  <a:pt x="4176170" y="4972633"/>
                  <a:pt x="4176170" y="5013422"/>
                </a:cubicBezTo>
                <a:moveTo>
                  <a:pt x="4359759" y="5256904"/>
                </a:moveTo>
                <a:cubicBezTo>
                  <a:pt x="4359759" y="5297693"/>
                  <a:pt x="4326575" y="5330773"/>
                  <a:pt x="4285858" y="5330773"/>
                </a:cubicBezTo>
                <a:cubicBezTo>
                  <a:pt x="4244960" y="5330773"/>
                  <a:pt x="4211866" y="5297693"/>
                  <a:pt x="4211866" y="5256904"/>
                </a:cubicBezTo>
                <a:cubicBezTo>
                  <a:pt x="4211866" y="5216025"/>
                  <a:pt x="4244960" y="5183035"/>
                  <a:pt x="4285858" y="5183035"/>
                </a:cubicBezTo>
                <a:cubicBezTo>
                  <a:pt x="4326575" y="5183035"/>
                  <a:pt x="4359759" y="5216025"/>
                  <a:pt x="4359759" y="5256904"/>
                </a:cubicBezTo>
                <a:moveTo>
                  <a:pt x="4535007" y="4475092"/>
                </a:moveTo>
                <a:cubicBezTo>
                  <a:pt x="4535007" y="4515881"/>
                  <a:pt x="4502002" y="4548961"/>
                  <a:pt x="4461105" y="4548961"/>
                </a:cubicBezTo>
                <a:cubicBezTo>
                  <a:pt x="4420298" y="4548961"/>
                  <a:pt x="4387203" y="4515881"/>
                  <a:pt x="4387203" y="4475092"/>
                </a:cubicBezTo>
                <a:cubicBezTo>
                  <a:pt x="4387203" y="4434302"/>
                  <a:pt x="4420298" y="4401222"/>
                  <a:pt x="4461105" y="4401222"/>
                </a:cubicBezTo>
                <a:cubicBezTo>
                  <a:pt x="4502002" y="4401222"/>
                  <a:pt x="4535007" y="4434302"/>
                  <a:pt x="4535007" y="4475092"/>
                </a:cubicBezTo>
                <a:moveTo>
                  <a:pt x="4894381" y="4115966"/>
                </a:moveTo>
                <a:cubicBezTo>
                  <a:pt x="4894381" y="4156755"/>
                  <a:pt x="4861287" y="4189925"/>
                  <a:pt x="4820480" y="4189925"/>
                </a:cubicBezTo>
                <a:cubicBezTo>
                  <a:pt x="4779672" y="4189925"/>
                  <a:pt x="4746488" y="4156845"/>
                  <a:pt x="4746488" y="4115966"/>
                </a:cubicBezTo>
                <a:cubicBezTo>
                  <a:pt x="4746488" y="4075176"/>
                  <a:pt x="4779583" y="4042096"/>
                  <a:pt x="4820480" y="4042096"/>
                </a:cubicBezTo>
                <a:cubicBezTo>
                  <a:pt x="4861287" y="4042096"/>
                  <a:pt x="4894381" y="4075176"/>
                  <a:pt x="4894381" y="4115966"/>
                </a:cubicBezTo>
                <a:moveTo>
                  <a:pt x="5185773" y="3699913"/>
                </a:moveTo>
                <a:cubicBezTo>
                  <a:pt x="5185773" y="3740703"/>
                  <a:pt x="5152589" y="3773783"/>
                  <a:pt x="5111872" y="3773783"/>
                </a:cubicBezTo>
                <a:cubicBezTo>
                  <a:pt x="5071064" y="3773783"/>
                  <a:pt x="5037970" y="3740703"/>
                  <a:pt x="5037970" y="3699913"/>
                </a:cubicBezTo>
                <a:cubicBezTo>
                  <a:pt x="5037970" y="3659034"/>
                  <a:pt x="5071064" y="3626044"/>
                  <a:pt x="5111872" y="3626044"/>
                </a:cubicBezTo>
                <a:cubicBezTo>
                  <a:pt x="5152679" y="3626044"/>
                  <a:pt x="5185773" y="3659034"/>
                  <a:pt x="5185773" y="3699913"/>
                </a:cubicBezTo>
                <a:moveTo>
                  <a:pt x="5381201" y="3258940"/>
                </a:moveTo>
                <a:cubicBezTo>
                  <a:pt x="5381201" y="3299729"/>
                  <a:pt x="5348107" y="3332809"/>
                  <a:pt x="5307299" y="3332809"/>
                </a:cubicBezTo>
                <a:cubicBezTo>
                  <a:pt x="5266491" y="3332809"/>
                  <a:pt x="5233397" y="3299639"/>
                  <a:pt x="5233397" y="3258940"/>
                </a:cubicBezTo>
                <a:cubicBezTo>
                  <a:pt x="5233397" y="3218150"/>
                  <a:pt x="5266491" y="3185070"/>
                  <a:pt x="5307299" y="3185070"/>
                </a:cubicBezTo>
                <a:cubicBezTo>
                  <a:pt x="5348107" y="3185070"/>
                  <a:pt x="5381201" y="3218150"/>
                  <a:pt x="5381201" y="3258940"/>
                </a:cubicBezTo>
                <a:moveTo>
                  <a:pt x="790767" y="3904668"/>
                </a:moveTo>
                <a:cubicBezTo>
                  <a:pt x="790767" y="3959890"/>
                  <a:pt x="746103" y="4004534"/>
                  <a:pt x="690857" y="4004534"/>
                </a:cubicBezTo>
                <a:cubicBezTo>
                  <a:pt x="635610" y="4004534"/>
                  <a:pt x="590946" y="3959890"/>
                  <a:pt x="590946" y="3904668"/>
                </a:cubicBezTo>
                <a:cubicBezTo>
                  <a:pt x="590946" y="3849624"/>
                  <a:pt x="635610" y="3804890"/>
                  <a:pt x="690857" y="3804890"/>
                </a:cubicBezTo>
                <a:cubicBezTo>
                  <a:pt x="746103" y="3804890"/>
                  <a:pt x="790767" y="3849624"/>
                  <a:pt x="790767" y="3904668"/>
                </a:cubicBezTo>
                <a:moveTo>
                  <a:pt x="538210" y="3544197"/>
                </a:moveTo>
                <a:cubicBezTo>
                  <a:pt x="538210" y="3599419"/>
                  <a:pt x="493456" y="3644064"/>
                  <a:pt x="438299" y="3644064"/>
                </a:cubicBezTo>
                <a:cubicBezTo>
                  <a:pt x="383052" y="3644064"/>
                  <a:pt x="338478" y="3599419"/>
                  <a:pt x="338478" y="3544197"/>
                </a:cubicBezTo>
                <a:cubicBezTo>
                  <a:pt x="338478" y="3489153"/>
                  <a:pt x="383142" y="3444419"/>
                  <a:pt x="438299" y="3444419"/>
                </a:cubicBezTo>
                <a:cubicBezTo>
                  <a:pt x="493456" y="3444419"/>
                  <a:pt x="538210" y="3489064"/>
                  <a:pt x="538210" y="3544197"/>
                </a:cubicBezTo>
                <a:moveTo>
                  <a:pt x="352110" y="3145267"/>
                </a:moveTo>
                <a:cubicBezTo>
                  <a:pt x="352110" y="3200400"/>
                  <a:pt x="307446" y="3245134"/>
                  <a:pt x="252199" y="3245134"/>
                </a:cubicBezTo>
                <a:cubicBezTo>
                  <a:pt x="197042" y="3245134"/>
                  <a:pt x="152288" y="3200400"/>
                  <a:pt x="152288" y="3145267"/>
                </a:cubicBezTo>
                <a:cubicBezTo>
                  <a:pt x="152288" y="3090134"/>
                  <a:pt x="197042" y="3045490"/>
                  <a:pt x="252199" y="3045490"/>
                </a:cubicBezTo>
                <a:cubicBezTo>
                  <a:pt x="307446" y="3045490"/>
                  <a:pt x="352110" y="3090134"/>
                  <a:pt x="352110" y="3145267"/>
                </a:cubicBezTo>
                <a:moveTo>
                  <a:pt x="238118" y="2720430"/>
                </a:moveTo>
                <a:cubicBezTo>
                  <a:pt x="238118" y="2775563"/>
                  <a:pt x="193454" y="2820207"/>
                  <a:pt x="138297" y="2820207"/>
                </a:cubicBezTo>
                <a:cubicBezTo>
                  <a:pt x="83140" y="2820207"/>
                  <a:pt x="38386" y="2775563"/>
                  <a:pt x="38386" y="2720430"/>
                </a:cubicBezTo>
                <a:cubicBezTo>
                  <a:pt x="38386" y="2665207"/>
                  <a:pt x="83140" y="2620563"/>
                  <a:pt x="138297" y="2620563"/>
                </a:cubicBezTo>
                <a:cubicBezTo>
                  <a:pt x="193364" y="2620563"/>
                  <a:pt x="238118" y="2665207"/>
                  <a:pt x="238118" y="2720430"/>
                </a:cubicBezTo>
                <a:moveTo>
                  <a:pt x="199732" y="2282145"/>
                </a:moveTo>
                <a:cubicBezTo>
                  <a:pt x="199732" y="2337278"/>
                  <a:pt x="154979" y="2382012"/>
                  <a:pt x="99911" y="2382012"/>
                </a:cubicBezTo>
                <a:cubicBezTo>
                  <a:pt x="44664" y="2382012"/>
                  <a:pt x="0" y="2337278"/>
                  <a:pt x="0" y="2282145"/>
                </a:cubicBezTo>
                <a:cubicBezTo>
                  <a:pt x="0" y="2227012"/>
                  <a:pt x="44664" y="2182368"/>
                  <a:pt x="99911" y="2182368"/>
                </a:cubicBezTo>
                <a:cubicBezTo>
                  <a:pt x="154979" y="2182279"/>
                  <a:pt x="199732" y="2226923"/>
                  <a:pt x="199732" y="2282145"/>
                </a:cubicBezTo>
                <a:moveTo>
                  <a:pt x="238118" y="1843592"/>
                </a:moveTo>
                <a:cubicBezTo>
                  <a:pt x="238118" y="1898725"/>
                  <a:pt x="193454" y="1943369"/>
                  <a:pt x="138297" y="1943369"/>
                </a:cubicBezTo>
                <a:cubicBezTo>
                  <a:pt x="83140" y="1943369"/>
                  <a:pt x="38386" y="1898725"/>
                  <a:pt x="38386" y="1843592"/>
                </a:cubicBezTo>
                <a:cubicBezTo>
                  <a:pt x="38386" y="1788459"/>
                  <a:pt x="83140" y="1743725"/>
                  <a:pt x="138297" y="1743725"/>
                </a:cubicBezTo>
                <a:cubicBezTo>
                  <a:pt x="193364" y="1743815"/>
                  <a:pt x="238118" y="1788459"/>
                  <a:pt x="238118" y="1843592"/>
                </a:cubicBezTo>
                <a:moveTo>
                  <a:pt x="4349535" y="351506"/>
                </a:moveTo>
                <a:cubicBezTo>
                  <a:pt x="4349535" y="406729"/>
                  <a:pt x="4304781" y="451373"/>
                  <a:pt x="4249714" y="451373"/>
                </a:cubicBezTo>
                <a:cubicBezTo>
                  <a:pt x="4194557" y="451373"/>
                  <a:pt x="4149802" y="406729"/>
                  <a:pt x="4149802" y="351506"/>
                </a:cubicBezTo>
                <a:cubicBezTo>
                  <a:pt x="4149802" y="296373"/>
                  <a:pt x="4194557" y="251729"/>
                  <a:pt x="4249714" y="251729"/>
                </a:cubicBezTo>
                <a:cubicBezTo>
                  <a:pt x="4304781" y="251729"/>
                  <a:pt x="4349535" y="296373"/>
                  <a:pt x="4349535" y="351506"/>
                </a:cubicBezTo>
                <a:moveTo>
                  <a:pt x="5250348" y="2281966"/>
                </a:moveTo>
                <a:cubicBezTo>
                  <a:pt x="5250348" y="2337099"/>
                  <a:pt x="5205684" y="2381833"/>
                  <a:pt x="5150527" y="2381833"/>
                </a:cubicBezTo>
                <a:cubicBezTo>
                  <a:pt x="5095280" y="2381833"/>
                  <a:pt x="5050615" y="2337099"/>
                  <a:pt x="5050615" y="2281966"/>
                </a:cubicBezTo>
                <a:cubicBezTo>
                  <a:pt x="5050615" y="2226833"/>
                  <a:pt x="5095370" y="2182189"/>
                  <a:pt x="5150527" y="2182189"/>
                </a:cubicBezTo>
                <a:cubicBezTo>
                  <a:pt x="5205684" y="2182189"/>
                  <a:pt x="5250348" y="2226833"/>
                  <a:pt x="5250348" y="2281966"/>
                </a:cubicBezTo>
                <a:moveTo>
                  <a:pt x="5213935" y="2720430"/>
                </a:moveTo>
                <a:cubicBezTo>
                  <a:pt x="5213935" y="2775563"/>
                  <a:pt x="5169271" y="2820297"/>
                  <a:pt x="5114114" y="2820297"/>
                </a:cubicBezTo>
                <a:cubicBezTo>
                  <a:pt x="5058867" y="2820297"/>
                  <a:pt x="5014203" y="2775563"/>
                  <a:pt x="5014203" y="2720430"/>
                </a:cubicBezTo>
                <a:cubicBezTo>
                  <a:pt x="5014203" y="2665207"/>
                  <a:pt x="5058867" y="2620563"/>
                  <a:pt x="5114114" y="2620563"/>
                </a:cubicBezTo>
                <a:cubicBezTo>
                  <a:pt x="5169182" y="2620563"/>
                  <a:pt x="5213935" y="2665207"/>
                  <a:pt x="5213935" y="2720430"/>
                </a:cubicBezTo>
                <a:moveTo>
                  <a:pt x="5099854" y="3145357"/>
                </a:moveTo>
                <a:cubicBezTo>
                  <a:pt x="5099854" y="3200580"/>
                  <a:pt x="5055190" y="3245224"/>
                  <a:pt x="5000033" y="3245224"/>
                </a:cubicBezTo>
                <a:cubicBezTo>
                  <a:pt x="4944875" y="3245224"/>
                  <a:pt x="4900122" y="3200580"/>
                  <a:pt x="4900122" y="3145357"/>
                </a:cubicBezTo>
                <a:cubicBezTo>
                  <a:pt x="4900122" y="3090313"/>
                  <a:pt x="4944875" y="3045580"/>
                  <a:pt x="5000033" y="3045580"/>
                </a:cubicBezTo>
                <a:cubicBezTo>
                  <a:pt x="5055190" y="3045490"/>
                  <a:pt x="5099854" y="3090224"/>
                  <a:pt x="5099854" y="3145357"/>
                </a:cubicBezTo>
                <a:moveTo>
                  <a:pt x="4913843" y="3544286"/>
                </a:moveTo>
                <a:cubicBezTo>
                  <a:pt x="4913843" y="3599509"/>
                  <a:pt x="4869090" y="3644153"/>
                  <a:pt x="4813933" y="3644153"/>
                </a:cubicBezTo>
                <a:cubicBezTo>
                  <a:pt x="4758685" y="3644153"/>
                  <a:pt x="4714022" y="3599509"/>
                  <a:pt x="4714022" y="3544286"/>
                </a:cubicBezTo>
                <a:cubicBezTo>
                  <a:pt x="4714022" y="3489243"/>
                  <a:pt x="4758685" y="3444509"/>
                  <a:pt x="4813933" y="3444509"/>
                </a:cubicBezTo>
                <a:cubicBezTo>
                  <a:pt x="4869090" y="3444509"/>
                  <a:pt x="4913843" y="3489153"/>
                  <a:pt x="4913843" y="3544286"/>
                </a:cubicBezTo>
                <a:moveTo>
                  <a:pt x="4661196" y="3904757"/>
                </a:moveTo>
                <a:cubicBezTo>
                  <a:pt x="4661196" y="3959890"/>
                  <a:pt x="4616443" y="4004624"/>
                  <a:pt x="4561285" y="4004624"/>
                </a:cubicBezTo>
                <a:cubicBezTo>
                  <a:pt x="4506128" y="4004624"/>
                  <a:pt x="4461374" y="3959980"/>
                  <a:pt x="4461374" y="3904757"/>
                </a:cubicBezTo>
                <a:cubicBezTo>
                  <a:pt x="4461374" y="3849624"/>
                  <a:pt x="4506128" y="3804980"/>
                  <a:pt x="4561285" y="3804980"/>
                </a:cubicBezTo>
                <a:cubicBezTo>
                  <a:pt x="4616443" y="3804980"/>
                  <a:pt x="4661196" y="3849714"/>
                  <a:pt x="4661196" y="3904757"/>
                </a:cubicBezTo>
                <a:moveTo>
                  <a:pt x="4349804" y="4216102"/>
                </a:moveTo>
                <a:cubicBezTo>
                  <a:pt x="4349804" y="4271234"/>
                  <a:pt x="4305050" y="4315968"/>
                  <a:pt x="4249893" y="4315968"/>
                </a:cubicBezTo>
                <a:cubicBezTo>
                  <a:pt x="4194736" y="4315968"/>
                  <a:pt x="4149982" y="4271234"/>
                  <a:pt x="4149982" y="4216102"/>
                </a:cubicBezTo>
                <a:cubicBezTo>
                  <a:pt x="4149982" y="4160968"/>
                  <a:pt x="4194646" y="4116234"/>
                  <a:pt x="4249893" y="4116234"/>
                </a:cubicBezTo>
                <a:cubicBezTo>
                  <a:pt x="4305050" y="4116234"/>
                  <a:pt x="4349804" y="4160968"/>
                  <a:pt x="4349804" y="4216102"/>
                </a:cubicBezTo>
                <a:moveTo>
                  <a:pt x="3989084" y="4468547"/>
                </a:moveTo>
                <a:cubicBezTo>
                  <a:pt x="3989084" y="4523681"/>
                  <a:pt x="3944420" y="4568414"/>
                  <a:pt x="3889263" y="4568414"/>
                </a:cubicBezTo>
                <a:cubicBezTo>
                  <a:pt x="3834106" y="4568414"/>
                  <a:pt x="3789442" y="4523681"/>
                  <a:pt x="3789442" y="4468547"/>
                </a:cubicBezTo>
                <a:cubicBezTo>
                  <a:pt x="3789442" y="4413505"/>
                  <a:pt x="3834106" y="4368770"/>
                  <a:pt x="3889263" y="4368770"/>
                </a:cubicBezTo>
                <a:cubicBezTo>
                  <a:pt x="3944420" y="4368681"/>
                  <a:pt x="3989084" y="4413415"/>
                  <a:pt x="3989084" y="4468547"/>
                </a:cubicBezTo>
                <a:moveTo>
                  <a:pt x="3991595" y="99777"/>
                </a:moveTo>
                <a:cubicBezTo>
                  <a:pt x="3991595" y="154910"/>
                  <a:pt x="3946842" y="199644"/>
                  <a:pt x="3891684" y="199644"/>
                </a:cubicBezTo>
                <a:cubicBezTo>
                  <a:pt x="3836527" y="199644"/>
                  <a:pt x="3791773" y="154910"/>
                  <a:pt x="3791773" y="99777"/>
                </a:cubicBezTo>
                <a:cubicBezTo>
                  <a:pt x="3791773" y="44644"/>
                  <a:pt x="3836437" y="0"/>
                  <a:pt x="3891684" y="0"/>
                </a:cubicBezTo>
                <a:cubicBezTo>
                  <a:pt x="3946931" y="0"/>
                  <a:pt x="3991595" y="44644"/>
                  <a:pt x="3991595" y="99777"/>
                </a:cubicBezTo>
              </a:path>
            </a:pathLst>
          </a:custGeom>
          <a:solidFill>
            <a:schemeClr val="tx1"/>
          </a:solidFill>
          <a:ln w="8968" cap="flat">
            <a:noFill/>
            <a:prstDash val="solid"/>
            <a:miter/>
          </a:ln>
        </p:spPr>
        <p:txBody>
          <a:bodyPr rtlCol="0" anchor="ctr"/>
          <a:lstStyle/>
          <a:p>
            <a:endParaRPr lang="en-US"/>
          </a:p>
        </p:txBody>
      </p:sp>
    </p:spTree>
    <p:extLst>
      <p:ext uri="{BB962C8B-B14F-4D97-AF65-F5344CB8AC3E}">
        <p14:creationId xmlns:p14="http://schemas.microsoft.com/office/powerpoint/2010/main" val="21116347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losing Slide 02 - White BG">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5EEE8-FF85-7216-E1D3-A064CC954F9F}"/>
              </a:ext>
            </a:extLst>
          </p:cNvPr>
          <p:cNvSpPr>
            <a:spLocks noGrp="1"/>
          </p:cNvSpPr>
          <p:nvPr>
            <p:ph type="ctrTitle"/>
          </p:nvPr>
        </p:nvSpPr>
        <p:spPr>
          <a:xfrm>
            <a:off x="274003" y="2944367"/>
            <a:ext cx="4980749" cy="1648969"/>
          </a:xfrm>
        </p:spPr>
        <p:txBody>
          <a:bodyPr anchor="t" anchorCtr="0"/>
          <a:lstStyle>
            <a:lvl1pPr algn="l">
              <a:lnSpc>
                <a:spcPct val="100000"/>
              </a:lnSpc>
              <a:defRPr sz="7000" cap="none" baseline="0">
                <a:solidFill>
                  <a:schemeClr val="tx1"/>
                </a:solidFill>
                <a:latin typeface="+mj-lt"/>
                <a:cs typeface="Aptos Black" panose="020F0502020204030204" pitchFamily="34" charset="0"/>
              </a:defRPr>
            </a:lvl1pPr>
          </a:lstStyle>
          <a:p>
            <a:r>
              <a:rPr lang="en-US"/>
              <a:t>Click to edit Master title style</a:t>
            </a:r>
          </a:p>
        </p:txBody>
      </p:sp>
      <p:grpSp>
        <p:nvGrpSpPr>
          <p:cNvPr id="12" name="Group 11">
            <a:extLst>
              <a:ext uri="{FF2B5EF4-FFF2-40B4-BE49-F238E27FC236}">
                <a16:creationId xmlns:a16="http://schemas.microsoft.com/office/drawing/2014/main" id="{90ED4420-F1F6-26E0-DCD9-1CBC35211347}"/>
              </a:ext>
            </a:extLst>
          </p:cNvPr>
          <p:cNvGrpSpPr/>
          <p:nvPr/>
        </p:nvGrpSpPr>
        <p:grpSpPr>
          <a:xfrm>
            <a:off x="0" y="1677075"/>
            <a:ext cx="12192000" cy="3527298"/>
            <a:chOff x="48487" y="1445427"/>
            <a:chExt cx="7668555" cy="2218609"/>
          </a:xfrm>
        </p:grpSpPr>
        <p:sp>
          <p:nvSpPr>
            <p:cNvPr id="8" name="Freeform 7">
              <a:extLst>
                <a:ext uri="{FF2B5EF4-FFF2-40B4-BE49-F238E27FC236}">
                  <a16:creationId xmlns:a16="http://schemas.microsoft.com/office/drawing/2014/main" id="{DCA109B1-3DF7-FBCC-3FF9-F51C3072A488}"/>
                </a:ext>
              </a:extLst>
            </p:cNvPr>
            <p:cNvSpPr/>
            <p:nvPr/>
          </p:nvSpPr>
          <p:spPr>
            <a:xfrm>
              <a:off x="5347978" y="1445467"/>
              <a:ext cx="2217850" cy="2218569"/>
            </a:xfrm>
            <a:custGeom>
              <a:avLst/>
              <a:gdLst>
                <a:gd name="connsiteX0" fmla="*/ 0 w 2217850"/>
                <a:gd name="connsiteY0" fmla="*/ 1109285 h 2218569"/>
                <a:gd name="connsiteX1" fmla="*/ 1108905 w 2217850"/>
                <a:gd name="connsiteY1" fmla="*/ 2218570 h 2218569"/>
                <a:gd name="connsiteX2" fmla="*/ 2217850 w 2217850"/>
                <a:gd name="connsiteY2" fmla="*/ 1109285 h 2218569"/>
                <a:gd name="connsiteX3" fmla="*/ 1108905 w 2217850"/>
                <a:gd name="connsiteY3" fmla="*/ 0 h 2218569"/>
                <a:gd name="connsiteX4" fmla="*/ 0 w 2217850"/>
                <a:gd name="connsiteY4" fmla="*/ 1109285 h 2218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7850" h="2218569">
                  <a:moveTo>
                    <a:pt x="0" y="1109285"/>
                  </a:moveTo>
                  <a:cubicBezTo>
                    <a:pt x="0" y="1721941"/>
                    <a:pt x="496499" y="2218570"/>
                    <a:pt x="1108905" y="2218570"/>
                  </a:cubicBezTo>
                  <a:cubicBezTo>
                    <a:pt x="1721351" y="2218570"/>
                    <a:pt x="2217850" y="1721901"/>
                    <a:pt x="2217850" y="1109285"/>
                  </a:cubicBezTo>
                  <a:cubicBezTo>
                    <a:pt x="2217850" y="496669"/>
                    <a:pt x="1721351" y="0"/>
                    <a:pt x="1108905" y="0"/>
                  </a:cubicBezTo>
                  <a:cubicBezTo>
                    <a:pt x="496499" y="-40"/>
                    <a:pt x="0" y="496629"/>
                    <a:pt x="0" y="1109285"/>
                  </a:cubicBezTo>
                </a:path>
              </a:pathLst>
            </a:custGeom>
            <a:solidFill>
              <a:schemeClr val="accent1">
                <a:alpha val="30000"/>
              </a:schemeClr>
            </a:solidFill>
            <a:ln w="3994" cap="flat">
              <a:noFill/>
              <a:prstDash val="solid"/>
              <a:miter/>
            </a:ln>
          </p:spPr>
          <p:txBody>
            <a:bodyPr rtlCol="0" anchor="ctr"/>
            <a:lstStyle/>
            <a:p>
              <a:endParaRPr lang="en-US">
                <a:solidFill>
                  <a:schemeClr val="tx1"/>
                </a:solidFill>
              </a:endParaRPr>
            </a:p>
          </p:txBody>
        </p:sp>
        <p:sp>
          <p:nvSpPr>
            <p:cNvPr id="9" name="Freeform 8">
              <a:extLst>
                <a:ext uri="{FF2B5EF4-FFF2-40B4-BE49-F238E27FC236}">
                  <a16:creationId xmlns:a16="http://schemas.microsoft.com/office/drawing/2014/main" id="{B9D8EE7F-C7D2-CB2D-BD93-B3F3148B0B77}"/>
                </a:ext>
              </a:extLst>
            </p:cNvPr>
            <p:cNvSpPr/>
            <p:nvPr/>
          </p:nvSpPr>
          <p:spPr>
            <a:xfrm>
              <a:off x="48487" y="1445427"/>
              <a:ext cx="1108904" cy="2218609"/>
            </a:xfrm>
            <a:custGeom>
              <a:avLst/>
              <a:gdLst>
                <a:gd name="connsiteX0" fmla="*/ 0 w 1108904"/>
                <a:gd name="connsiteY0" fmla="*/ 0 h 2218609"/>
                <a:gd name="connsiteX1" fmla="*/ 0 w 1108904"/>
                <a:gd name="connsiteY1" fmla="*/ 2218610 h 2218609"/>
                <a:gd name="connsiteX2" fmla="*/ 1108905 w 1108904"/>
                <a:gd name="connsiteY2" fmla="*/ 1109325 h 2218609"/>
                <a:gd name="connsiteX3" fmla="*/ 0 w 1108904"/>
                <a:gd name="connsiteY3" fmla="*/ 0 h 2218609"/>
              </a:gdLst>
              <a:ahLst/>
              <a:cxnLst>
                <a:cxn ang="0">
                  <a:pos x="connsiteX0" y="connsiteY0"/>
                </a:cxn>
                <a:cxn ang="0">
                  <a:pos x="connsiteX1" y="connsiteY1"/>
                </a:cxn>
                <a:cxn ang="0">
                  <a:pos x="connsiteX2" y="connsiteY2"/>
                </a:cxn>
                <a:cxn ang="0">
                  <a:pos x="connsiteX3" y="connsiteY3"/>
                </a:cxn>
              </a:cxnLst>
              <a:rect l="l" t="t" r="r" b="b"/>
              <a:pathLst>
                <a:path w="1108904" h="2218609">
                  <a:moveTo>
                    <a:pt x="0" y="0"/>
                  </a:moveTo>
                  <a:lnTo>
                    <a:pt x="0" y="2218610"/>
                  </a:lnTo>
                  <a:cubicBezTo>
                    <a:pt x="612446" y="2218610"/>
                    <a:pt x="1108905" y="1721941"/>
                    <a:pt x="1108905" y="1109325"/>
                  </a:cubicBezTo>
                  <a:cubicBezTo>
                    <a:pt x="1108905" y="496709"/>
                    <a:pt x="612446" y="0"/>
                    <a:pt x="0" y="0"/>
                  </a:cubicBezTo>
                  <a:close/>
                </a:path>
              </a:pathLst>
            </a:custGeom>
            <a:solidFill>
              <a:schemeClr val="accent1">
                <a:alpha val="12000"/>
              </a:schemeClr>
            </a:solidFill>
            <a:ln w="3994" cap="flat">
              <a:noFill/>
              <a:prstDash val="solid"/>
              <a:miter/>
            </a:ln>
          </p:spPr>
          <p:txBody>
            <a:bodyPr rtlCol="0" anchor="ctr"/>
            <a:lstStyle/>
            <a:p>
              <a:endParaRPr lang="en-US">
                <a:solidFill>
                  <a:schemeClr val="tx1"/>
                </a:solidFill>
              </a:endParaRPr>
            </a:p>
          </p:txBody>
        </p:sp>
        <p:sp>
          <p:nvSpPr>
            <p:cNvPr id="11" name="Freeform 10">
              <a:extLst>
                <a:ext uri="{FF2B5EF4-FFF2-40B4-BE49-F238E27FC236}">
                  <a16:creationId xmlns:a16="http://schemas.microsoft.com/office/drawing/2014/main" id="{248F90F1-AB3D-BF32-2C83-F59F1B9391C0}"/>
                </a:ext>
              </a:extLst>
            </p:cNvPr>
            <p:cNvSpPr/>
            <p:nvPr/>
          </p:nvSpPr>
          <p:spPr>
            <a:xfrm>
              <a:off x="6608137" y="1445427"/>
              <a:ext cx="1108905" cy="2218569"/>
            </a:xfrm>
            <a:custGeom>
              <a:avLst/>
              <a:gdLst>
                <a:gd name="connsiteX0" fmla="*/ 1108905 w 1108905"/>
                <a:gd name="connsiteY0" fmla="*/ 0 h 2218569"/>
                <a:gd name="connsiteX1" fmla="*/ 1108905 w 1108905"/>
                <a:gd name="connsiteY1" fmla="*/ 0 h 2218569"/>
                <a:gd name="connsiteX2" fmla="*/ 0 w 1108905"/>
                <a:gd name="connsiteY2" fmla="*/ 1109285 h 2218569"/>
                <a:gd name="connsiteX3" fmla="*/ 1108905 w 1108905"/>
                <a:gd name="connsiteY3" fmla="*/ 2218570 h 2218569"/>
                <a:gd name="connsiteX4" fmla="*/ 1108905 w 1108905"/>
                <a:gd name="connsiteY4" fmla="*/ 2218570 h 2218569"/>
                <a:gd name="connsiteX5" fmla="*/ 1108905 w 1108905"/>
                <a:gd name="connsiteY5" fmla="*/ 0 h 221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8905" h="2218569">
                  <a:moveTo>
                    <a:pt x="1108905" y="0"/>
                  </a:moveTo>
                  <a:cubicBezTo>
                    <a:pt x="1108905" y="0"/>
                    <a:pt x="1108905" y="0"/>
                    <a:pt x="1108905" y="0"/>
                  </a:cubicBezTo>
                  <a:cubicBezTo>
                    <a:pt x="496459" y="0"/>
                    <a:pt x="0" y="496669"/>
                    <a:pt x="0" y="1109285"/>
                  </a:cubicBezTo>
                  <a:cubicBezTo>
                    <a:pt x="0" y="1721901"/>
                    <a:pt x="496499" y="2218570"/>
                    <a:pt x="1108905" y="2218570"/>
                  </a:cubicBezTo>
                  <a:cubicBezTo>
                    <a:pt x="1108905" y="2218570"/>
                    <a:pt x="1108905" y="2218570"/>
                    <a:pt x="1108905" y="2218570"/>
                  </a:cubicBezTo>
                  <a:lnTo>
                    <a:pt x="1108905" y="0"/>
                  </a:lnTo>
                  <a:close/>
                </a:path>
              </a:pathLst>
            </a:custGeom>
            <a:solidFill>
              <a:schemeClr val="accent1"/>
            </a:solidFill>
            <a:ln w="3994" cap="flat">
              <a:noFill/>
              <a:prstDash val="solid"/>
              <a:miter/>
            </a:ln>
          </p:spPr>
          <p:txBody>
            <a:bodyPr rtlCol="0" anchor="ctr"/>
            <a:lstStyle/>
            <a:p>
              <a:endParaRPr lang="en-US">
                <a:solidFill>
                  <a:schemeClr val="tx1"/>
                </a:solidFill>
              </a:endParaRPr>
            </a:p>
          </p:txBody>
        </p:sp>
      </p:grpSp>
      <p:sp>
        <p:nvSpPr>
          <p:cNvPr id="16" name="Graphic 11">
            <a:extLst>
              <a:ext uri="{FF2B5EF4-FFF2-40B4-BE49-F238E27FC236}">
                <a16:creationId xmlns:a16="http://schemas.microsoft.com/office/drawing/2014/main" id="{7135EA7C-9031-1ECB-E619-3D8339BEA9C4}"/>
              </a:ext>
            </a:extLst>
          </p:cNvPr>
          <p:cNvSpPr/>
          <p:nvPr userDrawn="1"/>
        </p:nvSpPr>
        <p:spPr>
          <a:xfrm>
            <a:off x="334963" y="382312"/>
            <a:ext cx="1094377" cy="450106"/>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A8C6C123-A6D5-57C4-B299-15AB723E6AFA}"/>
              </a:ext>
            </a:extLst>
          </p:cNvPr>
          <p:cNvSpPr/>
          <p:nvPr userDrawn="1"/>
        </p:nvSpPr>
        <p:spPr>
          <a:xfrm>
            <a:off x="10941742" y="227296"/>
            <a:ext cx="915296" cy="907821"/>
          </a:xfrm>
          <a:custGeom>
            <a:avLst/>
            <a:gdLst>
              <a:gd name="connsiteX0" fmla="*/ 3825502 w 4803292"/>
              <a:gd name="connsiteY0" fmla="*/ 4632114 h 4764066"/>
              <a:gd name="connsiteX1" fmla="*/ 3891547 w 4803292"/>
              <a:gd name="connsiteY1" fmla="*/ 4698050 h 4764066"/>
              <a:gd name="connsiteX2" fmla="*/ 3825502 w 4803292"/>
              <a:gd name="connsiteY2" fmla="*/ 4764066 h 4764066"/>
              <a:gd name="connsiteX3" fmla="*/ 3759537 w 4803292"/>
              <a:gd name="connsiteY3" fmla="*/ 4698050 h 4764066"/>
              <a:gd name="connsiteX4" fmla="*/ 3825502 w 4803292"/>
              <a:gd name="connsiteY4" fmla="*/ 4632114 h 4764066"/>
              <a:gd name="connsiteX5" fmla="*/ 3925010 w 4803292"/>
              <a:gd name="connsiteY5" fmla="*/ 4414517 h 4764066"/>
              <a:gd name="connsiteX6" fmla="*/ 3990895 w 4803292"/>
              <a:gd name="connsiteY6" fmla="*/ 4480453 h 4764066"/>
              <a:gd name="connsiteX7" fmla="*/ 3925010 w 4803292"/>
              <a:gd name="connsiteY7" fmla="*/ 4546710 h 4764066"/>
              <a:gd name="connsiteX8" fmla="*/ 3858965 w 4803292"/>
              <a:gd name="connsiteY8" fmla="*/ 4480453 h 4764066"/>
              <a:gd name="connsiteX9" fmla="*/ 3925010 w 4803292"/>
              <a:gd name="connsiteY9" fmla="*/ 4414517 h 4764066"/>
              <a:gd name="connsiteX10" fmla="*/ 3661709 w 4803292"/>
              <a:gd name="connsiteY10" fmla="*/ 4414517 h 4764066"/>
              <a:gd name="connsiteX11" fmla="*/ 3727595 w 4803292"/>
              <a:gd name="connsiteY11" fmla="*/ 4480453 h 4764066"/>
              <a:gd name="connsiteX12" fmla="*/ 3661709 w 4803292"/>
              <a:gd name="connsiteY12" fmla="*/ 4546710 h 4764066"/>
              <a:gd name="connsiteX13" fmla="*/ 3595664 w 4803292"/>
              <a:gd name="connsiteY13" fmla="*/ 4480453 h 4764066"/>
              <a:gd name="connsiteX14" fmla="*/ 3661709 w 4803292"/>
              <a:gd name="connsiteY14" fmla="*/ 4414517 h 4764066"/>
              <a:gd name="connsiteX15" fmla="*/ 3982170 w 4803292"/>
              <a:gd name="connsiteY15" fmla="*/ 3933336 h 4764066"/>
              <a:gd name="connsiteX16" fmla="*/ 4048055 w 4803292"/>
              <a:gd name="connsiteY16" fmla="*/ 3999352 h 4764066"/>
              <a:gd name="connsiteX17" fmla="*/ 3982170 w 4803292"/>
              <a:gd name="connsiteY17" fmla="*/ 4065288 h 4764066"/>
              <a:gd name="connsiteX18" fmla="*/ 3915964 w 4803292"/>
              <a:gd name="connsiteY18" fmla="*/ 3999352 h 4764066"/>
              <a:gd name="connsiteX19" fmla="*/ 3982170 w 4803292"/>
              <a:gd name="connsiteY19" fmla="*/ 3933336 h 4764066"/>
              <a:gd name="connsiteX20" fmla="*/ 3471579 w 4803292"/>
              <a:gd name="connsiteY20" fmla="*/ 3904333 h 4764066"/>
              <a:gd name="connsiteX21" fmla="*/ 3560680 w 4803292"/>
              <a:gd name="connsiteY21" fmla="*/ 3993503 h 4764066"/>
              <a:gd name="connsiteX22" fmla="*/ 3471579 w 4803292"/>
              <a:gd name="connsiteY22" fmla="*/ 4082753 h 4764066"/>
              <a:gd name="connsiteX23" fmla="*/ 3382558 w 4803292"/>
              <a:gd name="connsiteY23" fmla="*/ 3993503 h 4764066"/>
              <a:gd name="connsiteX24" fmla="*/ 3471579 w 4803292"/>
              <a:gd name="connsiteY24" fmla="*/ 3904333 h 4764066"/>
              <a:gd name="connsiteX25" fmla="*/ 3793560 w 4803292"/>
              <a:gd name="connsiteY25" fmla="*/ 3678564 h 4764066"/>
              <a:gd name="connsiteX26" fmla="*/ 3882661 w 4803292"/>
              <a:gd name="connsiteY26" fmla="*/ 3767975 h 4764066"/>
              <a:gd name="connsiteX27" fmla="*/ 3793560 w 4803292"/>
              <a:gd name="connsiteY27" fmla="*/ 3857145 h 4764066"/>
              <a:gd name="connsiteX28" fmla="*/ 3704379 w 4803292"/>
              <a:gd name="connsiteY28" fmla="*/ 3767975 h 4764066"/>
              <a:gd name="connsiteX29" fmla="*/ 3793560 w 4803292"/>
              <a:gd name="connsiteY29" fmla="*/ 3678564 h 4764066"/>
              <a:gd name="connsiteX30" fmla="*/ 4302789 w 4803292"/>
              <a:gd name="connsiteY30" fmla="*/ 3612387 h 4764066"/>
              <a:gd name="connsiteX31" fmla="*/ 4368674 w 4803292"/>
              <a:gd name="connsiteY31" fmla="*/ 3678323 h 4764066"/>
              <a:gd name="connsiteX32" fmla="*/ 4302789 w 4803292"/>
              <a:gd name="connsiteY32" fmla="*/ 3744580 h 4764066"/>
              <a:gd name="connsiteX33" fmla="*/ 4236744 w 4803292"/>
              <a:gd name="connsiteY33" fmla="*/ 3678323 h 4764066"/>
              <a:gd name="connsiteX34" fmla="*/ 4302789 w 4803292"/>
              <a:gd name="connsiteY34" fmla="*/ 3612387 h 4764066"/>
              <a:gd name="connsiteX35" fmla="*/ 3298021 w 4803292"/>
              <a:gd name="connsiteY35" fmla="*/ 3579620 h 4764066"/>
              <a:gd name="connsiteX36" fmla="*/ 3411218 w 4803292"/>
              <a:gd name="connsiteY36" fmla="*/ 3692745 h 4764066"/>
              <a:gd name="connsiteX37" fmla="*/ 3298021 w 4803292"/>
              <a:gd name="connsiteY37" fmla="*/ 3806190 h 4764066"/>
              <a:gd name="connsiteX38" fmla="*/ 3184823 w 4803292"/>
              <a:gd name="connsiteY38" fmla="*/ 3692745 h 4764066"/>
              <a:gd name="connsiteX39" fmla="*/ 3298021 w 4803292"/>
              <a:gd name="connsiteY39" fmla="*/ 3579620 h 4764066"/>
              <a:gd name="connsiteX40" fmla="*/ 4071430 w 4803292"/>
              <a:gd name="connsiteY40" fmla="*/ 3400478 h 4764066"/>
              <a:gd name="connsiteX41" fmla="*/ 4160611 w 4803292"/>
              <a:gd name="connsiteY41" fmla="*/ 3489648 h 4764066"/>
              <a:gd name="connsiteX42" fmla="*/ 4071430 w 4803292"/>
              <a:gd name="connsiteY42" fmla="*/ 3578898 h 4764066"/>
              <a:gd name="connsiteX43" fmla="*/ 3982249 w 4803292"/>
              <a:gd name="connsiteY43" fmla="*/ 3489648 h 4764066"/>
              <a:gd name="connsiteX44" fmla="*/ 4071430 w 4803292"/>
              <a:gd name="connsiteY44" fmla="*/ 3400478 h 4764066"/>
              <a:gd name="connsiteX45" fmla="*/ 616663 w 4803292"/>
              <a:gd name="connsiteY45" fmla="*/ 3400318 h 4764066"/>
              <a:gd name="connsiteX46" fmla="*/ 705844 w 4803292"/>
              <a:gd name="connsiteY46" fmla="*/ 3489568 h 4764066"/>
              <a:gd name="connsiteX47" fmla="*/ 616663 w 4803292"/>
              <a:gd name="connsiteY47" fmla="*/ 3578738 h 4764066"/>
              <a:gd name="connsiteX48" fmla="*/ 527482 w 4803292"/>
              <a:gd name="connsiteY48" fmla="*/ 3489568 h 4764066"/>
              <a:gd name="connsiteX49" fmla="*/ 616663 w 4803292"/>
              <a:gd name="connsiteY49" fmla="*/ 3400318 h 4764066"/>
              <a:gd name="connsiteX50" fmla="*/ 3570447 w 4803292"/>
              <a:gd name="connsiteY50" fmla="*/ 3388461 h 4764066"/>
              <a:gd name="connsiteX51" fmla="*/ 3683805 w 4803292"/>
              <a:gd name="connsiteY51" fmla="*/ 3501906 h 4764066"/>
              <a:gd name="connsiteX52" fmla="*/ 3570447 w 4803292"/>
              <a:gd name="connsiteY52" fmla="*/ 3615192 h 4764066"/>
              <a:gd name="connsiteX53" fmla="*/ 3457410 w 4803292"/>
              <a:gd name="connsiteY53" fmla="*/ 3501906 h 4764066"/>
              <a:gd name="connsiteX54" fmla="*/ 3570447 w 4803292"/>
              <a:gd name="connsiteY54" fmla="*/ 3388461 h 4764066"/>
              <a:gd name="connsiteX55" fmla="*/ 2878053 w 4803292"/>
              <a:gd name="connsiteY55" fmla="*/ 3376042 h 4764066"/>
              <a:gd name="connsiteX56" fmla="*/ 3009023 w 4803292"/>
              <a:gd name="connsiteY56" fmla="*/ 3507194 h 4764066"/>
              <a:gd name="connsiteX57" fmla="*/ 2878053 w 4803292"/>
              <a:gd name="connsiteY57" fmla="*/ 3638345 h 4764066"/>
              <a:gd name="connsiteX58" fmla="*/ 2746843 w 4803292"/>
              <a:gd name="connsiteY58" fmla="*/ 3507194 h 4764066"/>
              <a:gd name="connsiteX59" fmla="*/ 2878053 w 4803292"/>
              <a:gd name="connsiteY59" fmla="*/ 3376042 h 4764066"/>
              <a:gd name="connsiteX60" fmla="*/ 3124542 w 4803292"/>
              <a:gd name="connsiteY60" fmla="*/ 3260995 h 4764066"/>
              <a:gd name="connsiteX61" fmla="*/ 3255752 w 4803292"/>
              <a:gd name="connsiteY61" fmla="*/ 3392146 h 4764066"/>
              <a:gd name="connsiteX62" fmla="*/ 3124542 w 4803292"/>
              <a:gd name="connsiteY62" fmla="*/ 3523297 h 4764066"/>
              <a:gd name="connsiteX63" fmla="*/ 2993572 w 4803292"/>
              <a:gd name="connsiteY63" fmla="*/ 3392146 h 4764066"/>
              <a:gd name="connsiteX64" fmla="*/ 3124542 w 4803292"/>
              <a:gd name="connsiteY64" fmla="*/ 3260995 h 4764066"/>
              <a:gd name="connsiteX65" fmla="*/ 4562807 w 4803292"/>
              <a:gd name="connsiteY65" fmla="*/ 3240485 h 4764066"/>
              <a:gd name="connsiteX66" fmla="*/ 4628852 w 4803292"/>
              <a:gd name="connsiteY66" fmla="*/ 3306421 h 4764066"/>
              <a:gd name="connsiteX67" fmla="*/ 4562807 w 4803292"/>
              <a:gd name="connsiteY67" fmla="*/ 3372678 h 4764066"/>
              <a:gd name="connsiteX68" fmla="*/ 4496922 w 4803292"/>
              <a:gd name="connsiteY68" fmla="*/ 3306421 h 4764066"/>
              <a:gd name="connsiteX69" fmla="*/ 4562807 w 4803292"/>
              <a:gd name="connsiteY69" fmla="*/ 3240485 h 4764066"/>
              <a:gd name="connsiteX70" fmla="*/ 3805568 w 4803292"/>
              <a:gd name="connsiteY70" fmla="*/ 3153318 h 4764066"/>
              <a:gd name="connsiteX71" fmla="*/ 3918926 w 4803292"/>
              <a:gd name="connsiteY71" fmla="*/ 3266443 h 4764066"/>
              <a:gd name="connsiteX72" fmla="*/ 3805568 w 4803292"/>
              <a:gd name="connsiteY72" fmla="*/ 3379889 h 4764066"/>
              <a:gd name="connsiteX73" fmla="*/ 3692531 w 4803292"/>
              <a:gd name="connsiteY73" fmla="*/ 3266443 h 4764066"/>
              <a:gd name="connsiteX74" fmla="*/ 3805568 w 4803292"/>
              <a:gd name="connsiteY74" fmla="*/ 3153318 h 4764066"/>
              <a:gd name="connsiteX75" fmla="*/ 882365 w 4803292"/>
              <a:gd name="connsiteY75" fmla="*/ 3152997 h 4764066"/>
              <a:gd name="connsiteX76" fmla="*/ 995722 w 4803292"/>
              <a:gd name="connsiteY76" fmla="*/ 3266442 h 4764066"/>
              <a:gd name="connsiteX77" fmla="*/ 882365 w 4803292"/>
              <a:gd name="connsiteY77" fmla="*/ 3379728 h 4764066"/>
              <a:gd name="connsiteX78" fmla="*/ 769327 w 4803292"/>
              <a:gd name="connsiteY78" fmla="*/ 3266442 h 4764066"/>
              <a:gd name="connsiteX79" fmla="*/ 882365 w 4803292"/>
              <a:gd name="connsiteY79" fmla="*/ 3152997 h 4764066"/>
              <a:gd name="connsiteX80" fmla="*/ 3347574 w 4803292"/>
              <a:gd name="connsiteY80" fmla="*/ 3104847 h 4764066"/>
              <a:gd name="connsiteX81" fmla="*/ 3478544 w 4803292"/>
              <a:gd name="connsiteY81" fmla="*/ 3235998 h 4764066"/>
              <a:gd name="connsiteX82" fmla="*/ 3347574 w 4803292"/>
              <a:gd name="connsiteY82" fmla="*/ 3367069 h 4764066"/>
              <a:gd name="connsiteX83" fmla="*/ 3216364 w 4803292"/>
              <a:gd name="connsiteY83" fmla="*/ 3235998 h 4764066"/>
              <a:gd name="connsiteX84" fmla="*/ 3347574 w 4803292"/>
              <a:gd name="connsiteY84" fmla="*/ 3104847 h 4764066"/>
              <a:gd name="connsiteX85" fmla="*/ 1340279 w 4803292"/>
              <a:gd name="connsiteY85" fmla="*/ 3104687 h 4764066"/>
              <a:gd name="connsiteX86" fmla="*/ 1471329 w 4803292"/>
              <a:gd name="connsiteY86" fmla="*/ 3235838 h 4764066"/>
              <a:gd name="connsiteX87" fmla="*/ 1340279 w 4803292"/>
              <a:gd name="connsiteY87" fmla="*/ 3366910 h 4764066"/>
              <a:gd name="connsiteX88" fmla="*/ 1209229 w 4803292"/>
              <a:gd name="connsiteY88" fmla="*/ 3235838 h 4764066"/>
              <a:gd name="connsiteX89" fmla="*/ 1340279 w 4803292"/>
              <a:gd name="connsiteY89" fmla="*/ 3104687 h 4764066"/>
              <a:gd name="connsiteX90" fmla="*/ 4296945 w 4803292"/>
              <a:gd name="connsiteY90" fmla="*/ 3078329 h 4764066"/>
              <a:gd name="connsiteX91" fmla="*/ 4386046 w 4803292"/>
              <a:gd name="connsiteY91" fmla="*/ 3167499 h 4764066"/>
              <a:gd name="connsiteX92" fmla="*/ 4296945 w 4803292"/>
              <a:gd name="connsiteY92" fmla="*/ 3256669 h 4764066"/>
              <a:gd name="connsiteX93" fmla="*/ 4207924 w 4803292"/>
              <a:gd name="connsiteY93" fmla="*/ 3167499 h 4764066"/>
              <a:gd name="connsiteX94" fmla="*/ 4296945 w 4803292"/>
              <a:gd name="connsiteY94" fmla="*/ 3078329 h 4764066"/>
              <a:gd name="connsiteX95" fmla="*/ 391148 w 4803292"/>
              <a:gd name="connsiteY95" fmla="*/ 3078168 h 4764066"/>
              <a:gd name="connsiteX96" fmla="*/ 480329 w 4803292"/>
              <a:gd name="connsiteY96" fmla="*/ 3167258 h 4764066"/>
              <a:gd name="connsiteX97" fmla="*/ 391148 w 4803292"/>
              <a:gd name="connsiteY97" fmla="*/ 3256508 h 4764066"/>
              <a:gd name="connsiteX98" fmla="*/ 302127 w 4803292"/>
              <a:gd name="connsiteY98" fmla="*/ 3167258 h 4764066"/>
              <a:gd name="connsiteX99" fmla="*/ 391148 w 4803292"/>
              <a:gd name="connsiteY99" fmla="*/ 3078168 h 4764066"/>
              <a:gd name="connsiteX100" fmla="*/ 1148227 w 4803292"/>
              <a:gd name="connsiteY100" fmla="*/ 2912647 h 4764066"/>
              <a:gd name="connsiteX101" fmla="*/ 1279437 w 4803292"/>
              <a:gd name="connsiteY101" fmla="*/ 3043798 h 4764066"/>
              <a:gd name="connsiteX102" fmla="*/ 1148227 w 4803292"/>
              <a:gd name="connsiteY102" fmla="*/ 3174869 h 4764066"/>
              <a:gd name="connsiteX103" fmla="*/ 1017257 w 4803292"/>
              <a:gd name="connsiteY103" fmla="*/ 3043798 h 4764066"/>
              <a:gd name="connsiteX104" fmla="*/ 1148227 w 4803292"/>
              <a:gd name="connsiteY104" fmla="*/ 2912647 h 4764066"/>
              <a:gd name="connsiteX105" fmla="*/ 3540026 w 4803292"/>
              <a:gd name="connsiteY105" fmla="*/ 2912086 h 4764066"/>
              <a:gd name="connsiteX106" fmla="*/ 3670996 w 4803292"/>
              <a:gd name="connsiteY106" fmla="*/ 3043237 h 4764066"/>
              <a:gd name="connsiteX107" fmla="*/ 3540026 w 4803292"/>
              <a:gd name="connsiteY107" fmla="*/ 3174388 h 4764066"/>
              <a:gd name="connsiteX108" fmla="*/ 3408816 w 4803292"/>
              <a:gd name="connsiteY108" fmla="*/ 3043237 h 4764066"/>
              <a:gd name="connsiteX109" fmla="*/ 3540026 w 4803292"/>
              <a:gd name="connsiteY109" fmla="*/ 2912086 h 4764066"/>
              <a:gd name="connsiteX110" fmla="*/ 3996499 w 4803292"/>
              <a:gd name="connsiteY110" fmla="*/ 2880680 h 4764066"/>
              <a:gd name="connsiteX111" fmla="*/ 4109696 w 4803292"/>
              <a:gd name="connsiteY111" fmla="*/ 2993805 h 4764066"/>
              <a:gd name="connsiteX112" fmla="*/ 3996499 w 4803292"/>
              <a:gd name="connsiteY112" fmla="*/ 3107250 h 4764066"/>
              <a:gd name="connsiteX113" fmla="*/ 3883301 w 4803292"/>
              <a:gd name="connsiteY113" fmla="*/ 2993805 h 4764066"/>
              <a:gd name="connsiteX114" fmla="*/ 3996499 w 4803292"/>
              <a:gd name="connsiteY114" fmla="*/ 2880680 h 4764066"/>
              <a:gd name="connsiteX115" fmla="*/ 691675 w 4803292"/>
              <a:gd name="connsiteY115" fmla="*/ 2880600 h 4764066"/>
              <a:gd name="connsiteX116" fmla="*/ 804872 w 4803292"/>
              <a:gd name="connsiteY116" fmla="*/ 2993885 h 4764066"/>
              <a:gd name="connsiteX117" fmla="*/ 691675 w 4803292"/>
              <a:gd name="connsiteY117" fmla="*/ 3107170 h 4764066"/>
              <a:gd name="connsiteX118" fmla="*/ 578477 w 4803292"/>
              <a:gd name="connsiteY118" fmla="*/ 2993885 h 4764066"/>
              <a:gd name="connsiteX119" fmla="*/ 691675 w 4803292"/>
              <a:gd name="connsiteY119" fmla="*/ 2880600 h 4764066"/>
              <a:gd name="connsiteX120" fmla="*/ 4737247 w 4803292"/>
              <a:gd name="connsiteY120" fmla="*/ 2846390 h 4764066"/>
              <a:gd name="connsiteX121" fmla="*/ 4803292 w 4803292"/>
              <a:gd name="connsiteY121" fmla="*/ 2912326 h 4764066"/>
              <a:gd name="connsiteX122" fmla="*/ 4737247 w 4803292"/>
              <a:gd name="connsiteY122" fmla="*/ 2978583 h 4764066"/>
              <a:gd name="connsiteX123" fmla="*/ 4671282 w 4803292"/>
              <a:gd name="connsiteY123" fmla="*/ 2912326 h 4764066"/>
              <a:gd name="connsiteX124" fmla="*/ 4737247 w 4803292"/>
              <a:gd name="connsiteY124" fmla="*/ 2846390 h 4764066"/>
              <a:gd name="connsiteX125" fmla="*/ 4463140 w 4803292"/>
              <a:gd name="connsiteY125" fmla="*/ 2721728 h 4764066"/>
              <a:gd name="connsiteX126" fmla="*/ 4552160 w 4803292"/>
              <a:gd name="connsiteY126" fmla="*/ 2810898 h 4764066"/>
              <a:gd name="connsiteX127" fmla="*/ 4463140 w 4803292"/>
              <a:gd name="connsiteY127" fmla="*/ 2900068 h 4764066"/>
              <a:gd name="connsiteX128" fmla="*/ 4373798 w 4803292"/>
              <a:gd name="connsiteY128" fmla="*/ 2810898 h 4764066"/>
              <a:gd name="connsiteX129" fmla="*/ 4463140 w 4803292"/>
              <a:gd name="connsiteY129" fmla="*/ 2721728 h 4764066"/>
              <a:gd name="connsiteX130" fmla="*/ 225114 w 4803292"/>
              <a:gd name="connsiteY130" fmla="*/ 2721728 h 4764066"/>
              <a:gd name="connsiteX131" fmla="*/ 314215 w 4803292"/>
              <a:gd name="connsiteY131" fmla="*/ 2810898 h 4764066"/>
              <a:gd name="connsiteX132" fmla="*/ 225114 w 4803292"/>
              <a:gd name="connsiteY132" fmla="*/ 2900068 h 4764066"/>
              <a:gd name="connsiteX133" fmla="*/ 135933 w 4803292"/>
              <a:gd name="connsiteY133" fmla="*/ 2810898 h 4764066"/>
              <a:gd name="connsiteX134" fmla="*/ 225114 w 4803292"/>
              <a:gd name="connsiteY134" fmla="*/ 2721728 h 4764066"/>
              <a:gd name="connsiteX135" fmla="*/ 3695973 w 4803292"/>
              <a:gd name="connsiteY135" fmla="*/ 2689041 h 4764066"/>
              <a:gd name="connsiteX136" fmla="*/ 3827023 w 4803292"/>
              <a:gd name="connsiteY136" fmla="*/ 2820192 h 4764066"/>
              <a:gd name="connsiteX137" fmla="*/ 3695973 w 4803292"/>
              <a:gd name="connsiteY137" fmla="*/ 2951263 h 4764066"/>
              <a:gd name="connsiteX138" fmla="*/ 3564923 w 4803292"/>
              <a:gd name="connsiteY138" fmla="*/ 2820192 h 4764066"/>
              <a:gd name="connsiteX139" fmla="*/ 3695973 w 4803292"/>
              <a:gd name="connsiteY139" fmla="*/ 2689041 h 4764066"/>
              <a:gd name="connsiteX140" fmla="*/ 992200 w 4803292"/>
              <a:gd name="connsiteY140" fmla="*/ 2689041 h 4764066"/>
              <a:gd name="connsiteX141" fmla="*/ 1123170 w 4803292"/>
              <a:gd name="connsiteY141" fmla="*/ 2820192 h 4764066"/>
              <a:gd name="connsiteX142" fmla="*/ 992200 w 4803292"/>
              <a:gd name="connsiteY142" fmla="*/ 2951264 h 4764066"/>
              <a:gd name="connsiteX143" fmla="*/ 860990 w 4803292"/>
              <a:gd name="connsiteY143" fmla="*/ 2820192 h 4764066"/>
              <a:gd name="connsiteX144" fmla="*/ 992200 w 4803292"/>
              <a:gd name="connsiteY144" fmla="*/ 2689041 h 4764066"/>
              <a:gd name="connsiteX145" fmla="*/ 4137075 w 4803292"/>
              <a:gd name="connsiteY145" fmla="*/ 2579040 h 4764066"/>
              <a:gd name="connsiteX146" fmla="*/ 4250113 w 4803292"/>
              <a:gd name="connsiteY146" fmla="*/ 2692165 h 4764066"/>
              <a:gd name="connsiteX147" fmla="*/ 4137075 w 4803292"/>
              <a:gd name="connsiteY147" fmla="*/ 2805450 h 4764066"/>
              <a:gd name="connsiteX148" fmla="*/ 4023718 w 4803292"/>
              <a:gd name="connsiteY148" fmla="*/ 2692165 h 4764066"/>
              <a:gd name="connsiteX149" fmla="*/ 4137075 w 4803292"/>
              <a:gd name="connsiteY149" fmla="*/ 2579040 h 4764066"/>
              <a:gd name="connsiteX150" fmla="*/ 551018 w 4803292"/>
              <a:gd name="connsiteY150" fmla="*/ 2578880 h 4764066"/>
              <a:gd name="connsiteX151" fmla="*/ 664375 w 4803292"/>
              <a:gd name="connsiteY151" fmla="*/ 2692005 h 4764066"/>
              <a:gd name="connsiteX152" fmla="*/ 551018 w 4803292"/>
              <a:gd name="connsiteY152" fmla="*/ 2805450 h 4764066"/>
              <a:gd name="connsiteX153" fmla="*/ 437980 w 4803292"/>
              <a:gd name="connsiteY153" fmla="*/ 2692005 h 4764066"/>
              <a:gd name="connsiteX154" fmla="*/ 551018 w 4803292"/>
              <a:gd name="connsiteY154" fmla="*/ 2578880 h 4764066"/>
              <a:gd name="connsiteX155" fmla="*/ 3811092 w 4803292"/>
              <a:gd name="connsiteY155" fmla="*/ 2442281 h 4764066"/>
              <a:gd name="connsiteX156" fmla="*/ 3942062 w 4803292"/>
              <a:gd name="connsiteY156" fmla="*/ 2573432 h 4764066"/>
              <a:gd name="connsiteX157" fmla="*/ 3811092 w 4803292"/>
              <a:gd name="connsiteY157" fmla="*/ 2704583 h 4764066"/>
              <a:gd name="connsiteX158" fmla="*/ 3679882 w 4803292"/>
              <a:gd name="connsiteY158" fmla="*/ 2573432 h 4764066"/>
              <a:gd name="connsiteX159" fmla="*/ 3811092 w 4803292"/>
              <a:gd name="connsiteY159" fmla="*/ 2442281 h 4764066"/>
              <a:gd name="connsiteX160" fmla="*/ 877161 w 4803292"/>
              <a:gd name="connsiteY160" fmla="*/ 2442201 h 4764066"/>
              <a:gd name="connsiteX161" fmla="*/ 1008211 w 4803292"/>
              <a:gd name="connsiteY161" fmla="*/ 2573352 h 4764066"/>
              <a:gd name="connsiteX162" fmla="*/ 877161 w 4803292"/>
              <a:gd name="connsiteY162" fmla="*/ 2704503 h 4764066"/>
              <a:gd name="connsiteX163" fmla="*/ 745951 w 4803292"/>
              <a:gd name="connsiteY163" fmla="*/ 2573352 h 4764066"/>
              <a:gd name="connsiteX164" fmla="*/ 877161 w 4803292"/>
              <a:gd name="connsiteY164" fmla="*/ 2442201 h 4764066"/>
              <a:gd name="connsiteX165" fmla="*/ 4564809 w 4803292"/>
              <a:gd name="connsiteY165" fmla="*/ 2341975 h 4764066"/>
              <a:gd name="connsiteX166" fmla="*/ 4653910 w 4803292"/>
              <a:gd name="connsiteY166" fmla="*/ 2431145 h 4764066"/>
              <a:gd name="connsiteX167" fmla="*/ 4564809 w 4803292"/>
              <a:gd name="connsiteY167" fmla="*/ 2520315 h 4764066"/>
              <a:gd name="connsiteX168" fmla="*/ 4475628 w 4803292"/>
              <a:gd name="connsiteY168" fmla="*/ 2431145 h 4764066"/>
              <a:gd name="connsiteX169" fmla="*/ 4564809 w 4803292"/>
              <a:gd name="connsiteY169" fmla="*/ 2341975 h 4764066"/>
              <a:gd name="connsiteX170" fmla="*/ 123365 w 4803292"/>
              <a:gd name="connsiteY170" fmla="*/ 2341975 h 4764066"/>
              <a:gd name="connsiteX171" fmla="*/ 212466 w 4803292"/>
              <a:gd name="connsiteY171" fmla="*/ 2431145 h 4764066"/>
              <a:gd name="connsiteX172" fmla="*/ 123365 w 4803292"/>
              <a:gd name="connsiteY172" fmla="*/ 2520315 h 4764066"/>
              <a:gd name="connsiteX173" fmla="*/ 34184 w 4803292"/>
              <a:gd name="connsiteY173" fmla="*/ 2431145 h 4764066"/>
              <a:gd name="connsiteX174" fmla="*/ 123365 w 4803292"/>
              <a:gd name="connsiteY174" fmla="*/ 2341975 h 4764066"/>
              <a:gd name="connsiteX175" fmla="*/ 4223054 w 4803292"/>
              <a:gd name="connsiteY175" fmla="*/ 2257692 h 4764066"/>
              <a:gd name="connsiteX176" fmla="*/ 4336252 w 4803292"/>
              <a:gd name="connsiteY176" fmla="*/ 2370897 h 4764066"/>
              <a:gd name="connsiteX177" fmla="*/ 4223054 w 4803292"/>
              <a:gd name="connsiteY177" fmla="*/ 2484262 h 4764066"/>
              <a:gd name="connsiteX178" fmla="*/ 4109857 w 4803292"/>
              <a:gd name="connsiteY178" fmla="*/ 2370897 h 4764066"/>
              <a:gd name="connsiteX179" fmla="*/ 4223054 w 4803292"/>
              <a:gd name="connsiteY179" fmla="*/ 2257692 h 4764066"/>
              <a:gd name="connsiteX180" fmla="*/ 464959 w 4803292"/>
              <a:gd name="connsiteY180" fmla="*/ 2257452 h 4764066"/>
              <a:gd name="connsiteX181" fmla="*/ 578156 w 4803292"/>
              <a:gd name="connsiteY181" fmla="*/ 2370817 h 4764066"/>
              <a:gd name="connsiteX182" fmla="*/ 464959 w 4803292"/>
              <a:gd name="connsiteY182" fmla="*/ 2484183 h 4764066"/>
              <a:gd name="connsiteX183" fmla="*/ 351921 w 4803292"/>
              <a:gd name="connsiteY183" fmla="*/ 2370817 h 4764066"/>
              <a:gd name="connsiteX184" fmla="*/ 464959 w 4803292"/>
              <a:gd name="connsiteY184" fmla="*/ 2257452 h 4764066"/>
              <a:gd name="connsiteX185" fmla="*/ 3881460 w 4803292"/>
              <a:gd name="connsiteY185" fmla="*/ 2179498 h 4764066"/>
              <a:gd name="connsiteX186" fmla="*/ 4012510 w 4803292"/>
              <a:gd name="connsiteY186" fmla="*/ 2310569 h 4764066"/>
              <a:gd name="connsiteX187" fmla="*/ 3881460 w 4803292"/>
              <a:gd name="connsiteY187" fmla="*/ 2441800 h 4764066"/>
              <a:gd name="connsiteX188" fmla="*/ 3750330 w 4803292"/>
              <a:gd name="connsiteY188" fmla="*/ 2310569 h 4764066"/>
              <a:gd name="connsiteX189" fmla="*/ 3881460 w 4803292"/>
              <a:gd name="connsiteY189" fmla="*/ 2179498 h 4764066"/>
              <a:gd name="connsiteX190" fmla="*/ 806713 w 4803292"/>
              <a:gd name="connsiteY190" fmla="*/ 2179498 h 4764066"/>
              <a:gd name="connsiteX191" fmla="*/ 937763 w 4803292"/>
              <a:gd name="connsiteY191" fmla="*/ 2310569 h 4764066"/>
              <a:gd name="connsiteX192" fmla="*/ 806713 w 4803292"/>
              <a:gd name="connsiteY192" fmla="*/ 2441800 h 4764066"/>
              <a:gd name="connsiteX193" fmla="*/ 675583 w 4803292"/>
              <a:gd name="connsiteY193" fmla="*/ 2310569 h 4764066"/>
              <a:gd name="connsiteX194" fmla="*/ 806713 w 4803292"/>
              <a:gd name="connsiteY194" fmla="*/ 2179498 h 4764066"/>
              <a:gd name="connsiteX195" fmla="*/ 89181 w 4803292"/>
              <a:gd name="connsiteY195" fmla="*/ 1950284 h 4764066"/>
              <a:gd name="connsiteX196" fmla="*/ 178282 w 4803292"/>
              <a:gd name="connsiteY196" fmla="*/ 2039454 h 4764066"/>
              <a:gd name="connsiteX197" fmla="*/ 89181 w 4803292"/>
              <a:gd name="connsiteY197" fmla="*/ 2128624 h 4764066"/>
              <a:gd name="connsiteX198" fmla="*/ 0 w 4803292"/>
              <a:gd name="connsiteY198" fmla="*/ 2039454 h 4764066"/>
              <a:gd name="connsiteX199" fmla="*/ 89181 w 4803292"/>
              <a:gd name="connsiteY199" fmla="*/ 1950284 h 4764066"/>
              <a:gd name="connsiteX200" fmla="*/ 4597391 w 4803292"/>
              <a:gd name="connsiteY200" fmla="*/ 1950204 h 4764066"/>
              <a:gd name="connsiteX201" fmla="*/ 4686492 w 4803292"/>
              <a:gd name="connsiteY201" fmla="*/ 2039374 h 4764066"/>
              <a:gd name="connsiteX202" fmla="*/ 4597391 w 4803292"/>
              <a:gd name="connsiteY202" fmla="*/ 2128544 h 4764066"/>
              <a:gd name="connsiteX203" fmla="*/ 4508050 w 4803292"/>
              <a:gd name="connsiteY203" fmla="*/ 2039374 h 4764066"/>
              <a:gd name="connsiteX204" fmla="*/ 4597391 w 4803292"/>
              <a:gd name="connsiteY204" fmla="*/ 1950204 h 4764066"/>
              <a:gd name="connsiteX205" fmla="*/ 4252194 w 4803292"/>
              <a:gd name="connsiteY205" fmla="*/ 1926169 h 4764066"/>
              <a:gd name="connsiteX206" fmla="*/ 4365232 w 4803292"/>
              <a:gd name="connsiteY206" fmla="*/ 2039534 h 4764066"/>
              <a:gd name="connsiteX207" fmla="*/ 4252194 w 4803292"/>
              <a:gd name="connsiteY207" fmla="*/ 2152900 h 4764066"/>
              <a:gd name="connsiteX208" fmla="*/ 4138837 w 4803292"/>
              <a:gd name="connsiteY208" fmla="*/ 2039534 h 4764066"/>
              <a:gd name="connsiteX209" fmla="*/ 4252194 w 4803292"/>
              <a:gd name="connsiteY209" fmla="*/ 1926169 h 4764066"/>
              <a:gd name="connsiteX210" fmla="*/ 436060 w 4803292"/>
              <a:gd name="connsiteY210" fmla="*/ 1926088 h 4764066"/>
              <a:gd name="connsiteX211" fmla="*/ 549257 w 4803292"/>
              <a:gd name="connsiteY211" fmla="*/ 2039454 h 4764066"/>
              <a:gd name="connsiteX212" fmla="*/ 436060 w 4803292"/>
              <a:gd name="connsiteY212" fmla="*/ 2152819 h 4764066"/>
              <a:gd name="connsiteX213" fmla="*/ 322862 w 4803292"/>
              <a:gd name="connsiteY213" fmla="*/ 2039454 h 4764066"/>
              <a:gd name="connsiteX214" fmla="*/ 436060 w 4803292"/>
              <a:gd name="connsiteY214" fmla="*/ 1926088 h 4764066"/>
              <a:gd name="connsiteX215" fmla="*/ 3905237 w 4803292"/>
              <a:gd name="connsiteY215" fmla="*/ 1908383 h 4764066"/>
              <a:gd name="connsiteX216" fmla="*/ 4036287 w 4803292"/>
              <a:gd name="connsiteY216" fmla="*/ 2039534 h 4764066"/>
              <a:gd name="connsiteX217" fmla="*/ 3905237 w 4803292"/>
              <a:gd name="connsiteY217" fmla="*/ 2170685 h 4764066"/>
              <a:gd name="connsiteX218" fmla="*/ 3774107 w 4803292"/>
              <a:gd name="connsiteY218" fmla="*/ 2039534 h 4764066"/>
              <a:gd name="connsiteX219" fmla="*/ 3905237 w 4803292"/>
              <a:gd name="connsiteY219" fmla="*/ 1908383 h 4764066"/>
              <a:gd name="connsiteX220" fmla="*/ 783097 w 4803292"/>
              <a:gd name="connsiteY220" fmla="*/ 1908383 h 4764066"/>
              <a:gd name="connsiteX221" fmla="*/ 914067 w 4803292"/>
              <a:gd name="connsiteY221" fmla="*/ 2039534 h 4764066"/>
              <a:gd name="connsiteX222" fmla="*/ 783097 w 4803292"/>
              <a:gd name="connsiteY222" fmla="*/ 2170685 h 4764066"/>
              <a:gd name="connsiteX223" fmla="*/ 651887 w 4803292"/>
              <a:gd name="connsiteY223" fmla="*/ 2039534 h 4764066"/>
              <a:gd name="connsiteX224" fmla="*/ 783097 w 4803292"/>
              <a:gd name="connsiteY224" fmla="*/ 1908383 h 4764066"/>
              <a:gd name="connsiteX225" fmla="*/ 3881460 w 4803292"/>
              <a:gd name="connsiteY225" fmla="*/ 1637027 h 4764066"/>
              <a:gd name="connsiteX226" fmla="*/ 4012510 w 4803292"/>
              <a:gd name="connsiteY226" fmla="*/ 1768178 h 4764066"/>
              <a:gd name="connsiteX227" fmla="*/ 3881460 w 4803292"/>
              <a:gd name="connsiteY227" fmla="*/ 1899329 h 4764066"/>
              <a:gd name="connsiteX228" fmla="*/ 3750330 w 4803292"/>
              <a:gd name="connsiteY228" fmla="*/ 1768178 h 4764066"/>
              <a:gd name="connsiteX229" fmla="*/ 3881460 w 4803292"/>
              <a:gd name="connsiteY229" fmla="*/ 1637027 h 4764066"/>
              <a:gd name="connsiteX230" fmla="*/ 806633 w 4803292"/>
              <a:gd name="connsiteY230" fmla="*/ 1637027 h 4764066"/>
              <a:gd name="connsiteX231" fmla="*/ 937683 w 4803292"/>
              <a:gd name="connsiteY231" fmla="*/ 1768178 h 4764066"/>
              <a:gd name="connsiteX232" fmla="*/ 806633 w 4803292"/>
              <a:gd name="connsiteY232" fmla="*/ 1899329 h 4764066"/>
              <a:gd name="connsiteX233" fmla="*/ 675503 w 4803292"/>
              <a:gd name="connsiteY233" fmla="*/ 1768178 h 4764066"/>
              <a:gd name="connsiteX234" fmla="*/ 806633 w 4803292"/>
              <a:gd name="connsiteY234" fmla="*/ 1637027 h 4764066"/>
              <a:gd name="connsiteX235" fmla="*/ 4222975 w 4803292"/>
              <a:gd name="connsiteY235" fmla="*/ 1594645 h 4764066"/>
              <a:gd name="connsiteX236" fmla="*/ 4336172 w 4803292"/>
              <a:gd name="connsiteY236" fmla="*/ 1707850 h 4764066"/>
              <a:gd name="connsiteX237" fmla="*/ 4222975 w 4803292"/>
              <a:gd name="connsiteY237" fmla="*/ 1821215 h 4764066"/>
              <a:gd name="connsiteX238" fmla="*/ 4109777 w 4803292"/>
              <a:gd name="connsiteY238" fmla="*/ 1707850 h 4764066"/>
              <a:gd name="connsiteX239" fmla="*/ 4222975 w 4803292"/>
              <a:gd name="connsiteY239" fmla="*/ 1594645 h 4764066"/>
              <a:gd name="connsiteX240" fmla="*/ 464959 w 4803292"/>
              <a:gd name="connsiteY240" fmla="*/ 1594645 h 4764066"/>
              <a:gd name="connsiteX241" fmla="*/ 578156 w 4803292"/>
              <a:gd name="connsiteY241" fmla="*/ 1707850 h 4764066"/>
              <a:gd name="connsiteX242" fmla="*/ 464959 w 4803292"/>
              <a:gd name="connsiteY242" fmla="*/ 1821215 h 4764066"/>
              <a:gd name="connsiteX243" fmla="*/ 351921 w 4803292"/>
              <a:gd name="connsiteY243" fmla="*/ 1707850 h 4764066"/>
              <a:gd name="connsiteX244" fmla="*/ 464959 w 4803292"/>
              <a:gd name="connsiteY244" fmla="*/ 1594645 h 4764066"/>
              <a:gd name="connsiteX245" fmla="*/ 123365 w 4803292"/>
              <a:gd name="connsiteY245" fmla="*/ 1558432 h 4764066"/>
              <a:gd name="connsiteX246" fmla="*/ 212466 w 4803292"/>
              <a:gd name="connsiteY246" fmla="*/ 1647602 h 4764066"/>
              <a:gd name="connsiteX247" fmla="*/ 123365 w 4803292"/>
              <a:gd name="connsiteY247" fmla="*/ 1736772 h 4764066"/>
              <a:gd name="connsiteX248" fmla="*/ 34184 w 4803292"/>
              <a:gd name="connsiteY248" fmla="*/ 1647602 h 4764066"/>
              <a:gd name="connsiteX249" fmla="*/ 123365 w 4803292"/>
              <a:gd name="connsiteY249" fmla="*/ 1558432 h 4764066"/>
              <a:gd name="connsiteX250" fmla="*/ 2354654 w 4803292"/>
              <a:gd name="connsiteY250" fmla="*/ 1508840 h 4764066"/>
              <a:gd name="connsiteX251" fmla="*/ 2878293 w 4803292"/>
              <a:gd name="connsiteY251" fmla="*/ 2032884 h 4764066"/>
              <a:gd name="connsiteX252" fmla="*/ 2354654 w 4803292"/>
              <a:gd name="connsiteY252" fmla="*/ 2556928 h 4764066"/>
              <a:gd name="connsiteX253" fmla="*/ 1831015 w 4803292"/>
              <a:gd name="connsiteY253" fmla="*/ 2032884 h 4764066"/>
              <a:gd name="connsiteX254" fmla="*/ 2354654 w 4803292"/>
              <a:gd name="connsiteY254" fmla="*/ 1508840 h 4764066"/>
              <a:gd name="connsiteX255" fmla="*/ 3811092 w 4803292"/>
              <a:gd name="connsiteY255" fmla="*/ 1374003 h 4764066"/>
              <a:gd name="connsiteX256" fmla="*/ 3942142 w 4803292"/>
              <a:gd name="connsiteY256" fmla="*/ 1505074 h 4764066"/>
              <a:gd name="connsiteX257" fmla="*/ 3811092 w 4803292"/>
              <a:gd name="connsiteY257" fmla="*/ 1636306 h 4764066"/>
              <a:gd name="connsiteX258" fmla="*/ 3679962 w 4803292"/>
              <a:gd name="connsiteY258" fmla="*/ 1505074 h 4764066"/>
              <a:gd name="connsiteX259" fmla="*/ 3811092 w 4803292"/>
              <a:gd name="connsiteY259" fmla="*/ 1374003 h 4764066"/>
              <a:gd name="connsiteX260" fmla="*/ 877161 w 4803292"/>
              <a:gd name="connsiteY260" fmla="*/ 1374003 h 4764066"/>
              <a:gd name="connsiteX261" fmla="*/ 1008211 w 4803292"/>
              <a:gd name="connsiteY261" fmla="*/ 1505074 h 4764066"/>
              <a:gd name="connsiteX262" fmla="*/ 877161 w 4803292"/>
              <a:gd name="connsiteY262" fmla="*/ 1636306 h 4764066"/>
              <a:gd name="connsiteX263" fmla="*/ 745951 w 4803292"/>
              <a:gd name="connsiteY263" fmla="*/ 1505074 h 4764066"/>
              <a:gd name="connsiteX264" fmla="*/ 877161 w 4803292"/>
              <a:gd name="connsiteY264" fmla="*/ 1374003 h 4764066"/>
              <a:gd name="connsiteX265" fmla="*/ 2232810 w 4803292"/>
              <a:gd name="connsiteY265" fmla="*/ 1301498 h 4764066"/>
              <a:gd name="connsiteX266" fmla="*/ 2098078 w 4803292"/>
              <a:gd name="connsiteY266" fmla="*/ 1401804 h 4764066"/>
              <a:gd name="connsiteX267" fmla="*/ 2001611 w 4803292"/>
              <a:gd name="connsiteY267" fmla="*/ 1363027 h 4764066"/>
              <a:gd name="connsiteX268" fmla="*/ 2004734 w 4803292"/>
              <a:gd name="connsiteY268" fmla="*/ 1378650 h 4764066"/>
              <a:gd name="connsiteX269" fmla="*/ 1861195 w 4803292"/>
              <a:gd name="connsiteY269" fmla="*/ 1522220 h 4764066"/>
              <a:gd name="connsiteX270" fmla="*/ 1814443 w 4803292"/>
              <a:gd name="connsiteY270" fmla="*/ 1514288 h 4764066"/>
              <a:gd name="connsiteX271" fmla="*/ 1817806 w 4803292"/>
              <a:gd name="connsiteY271" fmla="*/ 1544973 h 4764066"/>
              <a:gd name="connsiteX272" fmla="*/ 1686356 w 4803292"/>
              <a:gd name="connsiteY272" fmla="*/ 1687901 h 4764066"/>
              <a:gd name="connsiteX273" fmla="*/ 1718057 w 4803292"/>
              <a:gd name="connsiteY273" fmla="*/ 1777712 h 4764066"/>
              <a:gd name="connsiteX274" fmla="*/ 1595974 w 4803292"/>
              <a:gd name="connsiteY274" fmla="*/ 1916955 h 4764066"/>
              <a:gd name="connsiteX275" fmla="*/ 1668663 w 4803292"/>
              <a:gd name="connsiteY275" fmla="*/ 2039374 h 4764066"/>
              <a:gd name="connsiteX276" fmla="*/ 1595974 w 4803292"/>
              <a:gd name="connsiteY276" fmla="*/ 2161712 h 4764066"/>
              <a:gd name="connsiteX277" fmla="*/ 1718057 w 4803292"/>
              <a:gd name="connsiteY277" fmla="*/ 2300955 h 4764066"/>
              <a:gd name="connsiteX278" fmla="*/ 1683153 w 4803292"/>
              <a:gd name="connsiteY278" fmla="*/ 2391888 h 4764066"/>
              <a:gd name="connsiteX279" fmla="*/ 1817806 w 4803292"/>
              <a:gd name="connsiteY279" fmla="*/ 2533614 h 4764066"/>
              <a:gd name="connsiteX280" fmla="*/ 1811241 w 4803292"/>
              <a:gd name="connsiteY280" fmla="*/ 2566542 h 4764066"/>
              <a:gd name="connsiteX281" fmla="*/ 1861195 w 4803292"/>
              <a:gd name="connsiteY281" fmla="*/ 2556448 h 4764066"/>
              <a:gd name="connsiteX282" fmla="*/ 2004734 w 4803292"/>
              <a:gd name="connsiteY282" fmla="*/ 2700097 h 4764066"/>
              <a:gd name="connsiteX283" fmla="*/ 2001611 w 4803292"/>
              <a:gd name="connsiteY283" fmla="*/ 2715800 h 4764066"/>
              <a:gd name="connsiteX284" fmla="*/ 2098078 w 4803292"/>
              <a:gd name="connsiteY284" fmla="*/ 2677184 h 4764066"/>
              <a:gd name="connsiteX285" fmla="*/ 2232810 w 4803292"/>
              <a:gd name="connsiteY285" fmla="*/ 2777250 h 4764066"/>
              <a:gd name="connsiteX286" fmla="*/ 2344006 w 4803292"/>
              <a:gd name="connsiteY286" fmla="*/ 2720847 h 4764066"/>
              <a:gd name="connsiteX287" fmla="*/ 2455202 w 4803292"/>
              <a:gd name="connsiteY287" fmla="*/ 2777330 h 4764066"/>
              <a:gd name="connsiteX288" fmla="*/ 2589855 w 4803292"/>
              <a:gd name="connsiteY288" fmla="*/ 2677104 h 4764066"/>
              <a:gd name="connsiteX289" fmla="*/ 2686401 w 4803292"/>
              <a:gd name="connsiteY289" fmla="*/ 2715720 h 4764066"/>
              <a:gd name="connsiteX290" fmla="*/ 2683119 w 4803292"/>
              <a:gd name="connsiteY290" fmla="*/ 2700017 h 4764066"/>
              <a:gd name="connsiteX291" fmla="*/ 2826737 w 4803292"/>
              <a:gd name="connsiteY291" fmla="*/ 2556528 h 4764066"/>
              <a:gd name="connsiteX292" fmla="*/ 2876771 w 4803292"/>
              <a:gd name="connsiteY292" fmla="*/ 2566623 h 4764066"/>
              <a:gd name="connsiteX293" fmla="*/ 2870207 w 4803292"/>
              <a:gd name="connsiteY293" fmla="*/ 2533694 h 4764066"/>
              <a:gd name="connsiteX294" fmla="*/ 3004859 w 4803292"/>
              <a:gd name="connsiteY294" fmla="*/ 2391968 h 4764066"/>
              <a:gd name="connsiteX295" fmla="*/ 2969795 w 4803292"/>
              <a:gd name="connsiteY295" fmla="*/ 2301035 h 4764066"/>
              <a:gd name="connsiteX296" fmla="*/ 3092039 w 4803292"/>
              <a:gd name="connsiteY296" fmla="*/ 2161792 h 4764066"/>
              <a:gd name="connsiteX297" fmla="*/ 3019109 w 4803292"/>
              <a:gd name="connsiteY297" fmla="*/ 2039454 h 4764066"/>
              <a:gd name="connsiteX298" fmla="*/ 3092039 w 4803292"/>
              <a:gd name="connsiteY298" fmla="*/ 1917035 h 4764066"/>
              <a:gd name="connsiteX299" fmla="*/ 2969795 w 4803292"/>
              <a:gd name="connsiteY299" fmla="*/ 1777792 h 4764066"/>
              <a:gd name="connsiteX300" fmla="*/ 3004859 w 4803292"/>
              <a:gd name="connsiteY300" fmla="*/ 1686860 h 4764066"/>
              <a:gd name="connsiteX301" fmla="*/ 2870207 w 4803292"/>
              <a:gd name="connsiteY301" fmla="*/ 1545053 h 4764066"/>
              <a:gd name="connsiteX302" fmla="*/ 2876771 w 4803292"/>
              <a:gd name="connsiteY302" fmla="*/ 1512205 h 4764066"/>
              <a:gd name="connsiteX303" fmla="*/ 2826737 w 4803292"/>
              <a:gd name="connsiteY303" fmla="*/ 1522220 h 4764066"/>
              <a:gd name="connsiteX304" fmla="*/ 2683119 w 4803292"/>
              <a:gd name="connsiteY304" fmla="*/ 1378650 h 4764066"/>
              <a:gd name="connsiteX305" fmla="*/ 2686401 w 4803292"/>
              <a:gd name="connsiteY305" fmla="*/ 1363027 h 4764066"/>
              <a:gd name="connsiteX306" fmla="*/ 2589855 w 4803292"/>
              <a:gd name="connsiteY306" fmla="*/ 1401804 h 4764066"/>
              <a:gd name="connsiteX307" fmla="*/ 2455202 w 4803292"/>
              <a:gd name="connsiteY307" fmla="*/ 1301578 h 4764066"/>
              <a:gd name="connsiteX308" fmla="*/ 2344006 w 4803292"/>
              <a:gd name="connsiteY308" fmla="*/ 1357900 h 4764066"/>
              <a:gd name="connsiteX309" fmla="*/ 2232810 w 4803292"/>
              <a:gd name="connsiteY309" fmla="*/ 1301498 h 4764066"/>
              <a:gd name="connsiteX310" fmla="*/ 551018 w 4803292"/>
              <a:gd name="connsiteY310" fmla="*/ 1273136 h 4764066"/>
              <a:gd name="connsiteX311" fmla="*/ 664375 w 4803292"/>
              <a:gd name="connsiteY311" fmla="*/ 1386502 h 4764066"/>
              <a:gd name="connsiteX312" fmla="*/ 551018 w 4803292"/>
              <a:gd name="connsiteY312" fmla="*/ 1499787 h 4764066"/>
              <a:gd name="connsiteX313" fmla="*/ 437980 w 4803292"/>
              <a:gd name="connsiteY313" fmla="*/ 1386502 h 4764066"/>
              <a:gd name="connsiteX314" fmla="*/ 551018 w 4803292"/>
              <a:gd name="connsiteY314" fmla="*/ 1273136 h 4764066"/>
              <a:gd name="connsiteX315" fmla="*/ 4137076 w 4803292"/>
              <a:gd name="connsiteY315" fmla="*/ 1273056 h 4764066"/>
              <a:gd name="connsiteX316" fmla="*/ 4250273 w 4803292"/>
              <a:gd name="connsiteY316" fmla="*/ 1386261 h 4764066"/>
              <a:gd name="connsiteX317" fmla="*/ 4137076 w 4803292"/>
              <a:gd name="connsiteY317" fmla="*/ 1499626 h 4764066"/>
              <a:gd name="connsiteX318" fmla="*/ 4023878 w 4803292"/>
              <a:gd name="connsiteY318" fmla="*/ 1386261 h 4764066"/>
              <a:gd name="connsiteX319" fmla="*/ 4137076 w 4803292"/>
              <a:gd name="connsiteY319" fmla="*/ 1273056 h 4764066"/>
              <a:gd name="connsiteX320" fmla="*/ 3694852 w 4803292"/>
              <a:gd name="connsiteY320" fmla="*/ 1127163 h 4764066"/>
              <a:gd name="connsiteX321" fmla="*/ 3825821 w 4803292"/>
              <a:gd name="connsiteY321" fmla="*/ 1258314 h 4764066"/>
              <a:gd name="connsiteX322" fmla="*/ 3694852 w 4803292"/>
              <a:gd name="connsiteY322" fmla="*/ 1389546 h 4764066"/>
              <a:gd name="connsiteX323" fmla="*/ 3563802 w 4803292"/>
              <a:gd name="connsiteY323" fmla="*/ 1258314 h 4764066"/>
              <a:gd name="connsiteX324" fmla="*/ 3694852 w 4803292"/>
              <a:gd name="connsiteY324" fmla="*/ 1127163 h 4764066"/>
              <a:gd name="connsiteX325" fmla="*/ 992120 w 4803292"/>
              <a:gd name="connsiteY325" fmla="*/ 1127163 h 4764066"/>
              <a:gd name="connsiteX326" fmla="*/ 1123090 w 4803292"/>
              <a:gd name="connsiteY326" fmla="*/ 1258314 h 4764066"/>
              <a:gd name="connsiteX327" fmla="*/ 992120 w 4803292"/>
              <a:gd name="connsiteY327" fmla="*/ 1389546 h 4764066"/>
              <a:gd name="connsiteX328" fmla="*/ 860910 w 4803292"/>
              <a:gd name="connsiteY328" fmla="*/ 1258314 h 4764066"/>
              <a:gd name="connsiteX329" fmla="*/ 992120 w 4803292"/>
              <a:gd name="connsiteY329" fmla="*/ 1127163 h 4764066"/>
              <a:gd name="connsiteX330" fmla="*/ 2344006 w 4803292"/>
              <a:gd name="connsiteY330" fmla="*/ 1070601 h 4764066"/>
              <a:gd name="connsiteX331" fmla="*/ 2478739 w 4803292"/>
              <a:gd name="connsiteY331" fmla="*/ 1170827 h 4764066"/>
              <a:gd name="connsiteX332" fmla="*/ 2589775 w 4803292"/>
              <a:gd name="connsiteY332" fmla="*/ 1114345 h 4764066"/>
              <a:gd name="connsiteX333" fmla="*/ 2733393 w 4803292"/>
              <a:gd name="connsiteY333" fmla="*/ 1258074 h 4764066"/>
              <a:gd name="connsiteX334" fmla="*/ 2730271 w 4803292"/>
              <a:gd name="connsiteY334" fmla="*/ 1273617 h 4764066"/>
              <a:gd name="connsiteX335" fmla="*/ 2826737 w 4803292"/>
              <a:gd name="connsiteY335" fmla="*/ 1235081 h 4764066"/>
              <a:gd name="connsiteX336" fmla="*/ 2970275 w 4803292"/>
              <a:gd name="connsiteY336" fmla="*/ 1378570 h 4764066"/>
              <a:gd name="connsiteX337" fmla="*/ 2963711 w 4803292"/>
              <a:gd name="connsiteY337" fmla="*/ 1411418 h 4764066"/>
              <a:gd name="connsiteX338" fmla="*/ 3013665 w 4803292"/>
              <a:gd name="connsiteY338" fmla="*/ 1401243 h 4764066"/>
              <a:gd name="connsiteX339" fmla="*/ 3157204 w 4803292"/>
              <a:gd name="connsiteY339" fmla="*/ 1544893 h 4764066"/>
              <a:gd name="connsiteX340" fmla="*/ 3122299 w 4803292"/>
              <a:gd name="connsiteY340" fmla="*/ 1635745 h 4764066"/>
              <a:gd name="connsiteX341" fmla="*/ 3256952 w 4803292"/>
              <a:gd name="connsiteY341" fmla="*/ 1777632 h 4764066"/>
              <a:gd name="connsiteX342" fmla="*/ 3184102 w 4803292"/>
              <a:gd name="connsiteY342" fmla="*/ 1899971 h 4764066"/>
              <a:gd name="connsiteX343" fmla="*/ 3306186 w 4803292"/>
              <a:gd name="connsiteY343" fmla="*/ 2039374 h 4764066"/>
              <a:gd name="connsiteX344" fmla="*/ 3184102 w 4803292"/>
              <a:gd name="connsiteY344" fmla="*/ 2178617 h 4764066"/>
              <a:gd name="connsiteX345" fmla="*/ 3256952 w 4803292"/>
              <a:gd name="connsiteY345" fmla="*/ 2300955 h 4764066"/>
              <a:gd name="connsiteX346" fmla="*/ 3122299 w 4803292"/>
              <a:gd name="connsiteY346" fmla="*/ 2442842 h 4764066"/>
              <a:gd name="connsiteX347" fmla="*/ 3157204 w 4803292"/>
              <a:gd name="connsiteY347" fmla="*/ 2533614 h 4764066"/>
              <a:gd name="connsiteX348" fmla="*/ 3013665 w 4803292"/>
              <a:gd name="connsiteY348" fmla="*/ 2677344 h 4764066"/>
              <a:gd name="connsiteX349" fmla="*/ 2963711 w 4803292"/>
              <a:gd name="connsiteY349" fmla="*/ 2667249 h 4764066"/>
              <a:gd name="connsiteX350" fmla="*/ 2970275 w 4803292"/>
              <a:gd name="connsiteY350" fmla="*/ 2700017 h 4764066"/>
              <a:gd name="connsiteX351" fmla="*/ 2826817 w 4803292"/>
              <a:gd name="connsiteY351" fmla="*/ 2843827 h 4764066"/>
              <a:gd name="connsiteX352" fmla="*/ 2730351 w 4803292"/>
              <a:gd name="connsiteY352" fmla="*/ 2805050 h 4764066"/>
              <a:gd name="connsiteX353" fmla="*/ 2733473 w 4803292"/>
              <a:gd name="connsiteY353" fmla="*/ 2820593 h 4764066"/>
              <a:gd name="connsiteX354" fmla="*/ 2589855 w 4803292"/>
              <a:gd name="connsiteY354" fmla="*/ 2964242 h 4764066"/>
              <a:gd name="connsiteX355" fmla="*/ 2478819 w 4803292"/>
              <a:gd name="connsiteY355" fmla="*/ 2907840 h 4764066"/>
              <a:gd name="connsiteX356" fmla="*/ 2344086 w 4803292"/>
              <a:gd name="connsiteY356" fmla="*/ 3008146 h 4764066"/>
              <a:gd name="connsiteX357" fmla="*/ 2209354 w 4803292"/>
              <a:gd name="connsiteY357" fmla="*/ 2907840 h 4764066"/>
              <a:gd name="connsiteX358" fmla="*/ 2098158 w 4803292"/>
              <a:gd name="connsiteY358" fmla="*/ 2964242 h 4764066"/>
              <a:gd name="connsiteX359" fmla="*/ 1954699 w 4803292"/>
              <a:gd name="connsiteY359" fmla="*/ 2820593 h 4764066"/>
              <a:gd name="connsiteX360" fmla="*/ 1957822 w 4803292"/>
              <a:gd name="connsiteY360" fmla="*/ 2805050 h 4764066"/>
              <a:gd name="connsiteX361" fmla="*/ 1861355 w 4803292"/>
              <a:gd name="connsiteY361" fmla="*/ 2843827 h 4764066"/>
              <a:gd name="connsiteX362" fmla="*/ 1717977 w 4803292"/>
              <a:gd name="connsiteY362" fmla="*/ 2700097 h 4764066"/>
              <a:gd name="connsiteX363" fmla="*/ 1724542 w 4803292"/>
              <a:gd name="connsiteY363" fmla="*/ 2667329 h 4764066"/>
              <a:gd name="connsiteX364" fmla="*/ 1674507 w 4803292"/>
              <a:gd name="connsiteY364" fmla="*/ 2677424 h 4764066"/>
              <a:gd name="connsiteX365" fmla="*/ 1530889 w 4803292"/>
              <a:gd name="connsiteY365" fmla="*/ 2533694 h 4764066"/>
              <a:gd name="connsiteX366" fmla="*/ 1565793 w 4803292"/>
              <a:gd name="connsiteY366" fmla="*/ 2442922 h 4764066"/>
              <a:gd name="connsiteX367" fmla="*/ 1431301 w 4803292"/>
              <a:gd name="connsiteY367" fmla="*/ 2301035 h 4764066"/>
              <a:gd name="connsiteX368" fmla="*/ 1504151 w 4803292"/>
              <a:gd name="connsiteY368" fmla="*/ 2178697 h 4764066"/>
              <a:gd name="connsiteX369" fmla="*/ 1382067 w 4803292"/>
              <a:gd name="connsiteY369" fmla="*/ 2039454 h 4764066"/>
              <a:gd name="connsiteX370" fmla="*/ 1504151 w 4803292"/>
              <a:gd name="connsiteY370" fmla="*/ 1900050 h 4764066"/>
              <a:gd name="connsiteX371" fmla="*/ 1431301 w 4803292"/>
              <a:gd name="connsiteY371" fmla="*/ 1777712 h 4764066"/>
              <a:gd name="connsiteX372" fmla="*/ 1562671 w 4803292"/>
              <a:gd name="connsiteY372" fmla="*/ 1634784 h 4764066"/>
              <a:gd name="connsiteX373" fmla="*/ 1530969 w 4803292"/>
              <a:gd name="connsiteY373" fmla="*/ 1544973 h 4764066"/>
              <a:gd name="connsiteX374" fmla="*/ 1674267 w 4803292"/>
              <a:gd name="connsiteY374" fmla="*/ 1401323 h 4764066"/>
              <a:gd name="connsiteX375" fmla="*/ 1721259 w 4803292"/>
              <a:gd name="connsiteY375" fmla="*/ 1409335 h 4764066"/>
              <a:gd name="connsiteX376" fmla="*/ 1717897 w 4803292"/>
              <a:gd name="connsiteY376" fmla="*/ 1378570 h 4764066"/>
              <a:gd name="connsiteX377" fmla="*/ 1861275 w 4803292"/>
              <a:gd name="connsiteY377" fmla="*/ 1235081 h 4764066"/>
              <a:gd name="connsiteX378" fmla="*/ 1957742 w 4803292"/>
              <a:gd name="connsiteY378" fmla="*/ 1273617 h 4764066"/>
              <a:gd name="connsiteX379" fmla="*/ 1954619 w 4803292"/>
              <a:gd name="connsiteY379" fmla="*/ 1258074 h 4764066"/>
              <a:gd name="connsiteX380" fmla="*/ 2098078 w 4803292"/>
              <a:gd name="connsiteY380" fmla="*/ 1114345 h 4764066"/>
              <a:gd name="connsiteX381" fmla="*/ 2209274 w 4803292"/>
              <a:gd name="connsiteY381" fmla="*/ 1170827 h 4764066"/>
              <a:gd name="connsiteX382" fmla="*/ 2344006 w 4803292"/>
              <a:gd name="connsiteY382" fmla="*/ 1070601 h 4764066"/>
              <a:gd name="connsiteX383" fmla="*/ 3996579 w 4803292"/>
              <a:gd name="connsiteY383" fmla="*/ 971336 h 4764066"/>
              <a:gd name="connsiteX384" fmla="*/ 4109616 w 4803292"/>
              <a:gd name="connsiteY384" fmla="*/ 1084701 h 4764066"/>
              <a:gd name="connsiteX385" fmla="*/ 3996579 w 4803292"/>
              <a:gd name="connsiteY385" fmla="*/ 1198067 h 4764066"/>
              <a:gd name="connsiteX386" fmla="*/ 3883061 w 4803292"/>
              <a:gd name="connsiteY386" fmla="*/ 1084701 h 4764066"/>
              <a:gd name="connsiteX387" fmla="*/ 3996579 w 4803292"/>
              <a:gd name="connsiteY387" fmla="*/ 971336 h 4764066"/>
              <a:gd name="connsiteX388" fmla="*/ 2245699 w 4803292"/>
              <a:gd name="connsiteY388" fmla="*/ 915014 h 4764066"/>
              <a:gd name="connsiteX389" fmla="*/ 2156758 w 4803292"/>
              <a:gd name="connsiteY389" fmla="*/ 977826 h 4764066"/>
              <a:gd name="connsiteX390" fmla="*/ 2051966 w 4803292"/>
              <a:gd name="connsiteY390" fmla="*/ 949304 h 4764066"/>
              <a:gd name="connsiteX391" fmla="*/ 1975434 w 4803292"/>
              <a:gd name="connsiteY391" fmla="*/ 1026537 h 4764066"/>
              <a:gd name="connsiteX392" fmla="*/ 1867280 w 4803292"/>
              <a:gd name="connsiteY392" fmla="*/ 1016522 h 4764066"/>
              <a:gd name="connsiteX393" fmla="*/ 1805237 w 4803292"/>
              <a:gd name="connsiteY393" fmla="*/ 1105852 h 4764066"/>
              <a:gd name="connsiteX394" fmla="*/ 1696763 w 4803292"/>
              <a:gd name="connsiteY394" fmla="*/ 1114986 h 4764066"/>
              <a:gd name="connsiteX395" fmla="*/ 1651212 w 4803292"/>
              <a:gd name="connsiteY395" fmla="*/ 1213770 h 4764066"/>
              <a:gd name="connsiteX396" fmla="*/ 1546020 w 4803292"/>
              <a:gd name="connsiteY396" fmla="*/ 1241490 h 4764066"/>
              <a:gd name="connsiteX397" fmla="*/ 1518481 w 4803292"/>
              <a:gd name="connsiteY397" fmla="*/ 1346604 h 4764066"/>
              <a:gd name="connsiteX398" fmla="*/ 1419853 w 4803292"/>
              <a:gd name="connsiteY398" fmla="*/ 1392110 h 4764066"/>
              <a:gd name="connsiteX399" fmla="*/ 1410727 w 4803292"/>
              <a:gd name="connsiteY399" fmla="*/ 1500588 h 4764066"/>
              <a:gd name="connsiteX400" fmla="*/ 1321546 w 4803292"/>
              <a:gd name="connsiteY400" fmla="*/ 1562518 h 4764066"/>
              <a:gd name="connsiteX401" fmla="*/ 1331393 w 4803292"/>
              <a:gd name="connsiteY401" fmla="*/ 1670996 h 4764066"/>
              <a:gd name="connsiteX402" fmla="*/ 1254220 w 4803292"/>
              <a:gd name="connsiteY402" fmla="*/ 1747588 h 4764066"/>
              <a:gd name="connsiteX403" fmla="*/ 1282879 w 4803292"/>
              <a:gd name="connsiteY403" fmla="*/ 1852541 h 4764066"/>
              <a:gd name="connsiteX404" fmla="*/ 1220116 w 4803292"/>
              <a:gd name="connsiteY404" fmla="*/ 1941391 h 4764066"/>
              <a:gd name="connsiteX405" fmla="*/ 1266308 w 4803292"/>
              <a:gd name="connsiteY405" fmla="*/ 2039774 h 4764066"/>
              <a:gd name="connsiteX406" fmla="*/ 1220116 w 4803292"/>
              <a:gd name="connsiteY406" fmla="*/ 2138238 h 4764066"/>
              <a:gd name="connsiteX407" fmla="*/ 1282719 w 4803292"/>
              <a:gd name="connsiteY407" fmla="*/ 2227087 h 4764066"/>
              <a:gd name="connsiteX408" fmla="*/ 1254220 w 4803292"/>
              <a:gd name="connsiteY408" fmla="*/ 2332041 h 4764066"/>
              <a:gd name="connsiteX409" fmla="*/ 1331313 w 4803292"/>
              <a:gd name="connsiteY409" fmla="*/ 2408472 h 4764066"/>
              <a:gd name="connsiteX410" fmla="*/ 1321626 w 4803292"/>
              <a:gd name="connsiteY410" fmla="*/ 2516469 h 4764066"/>
              <a:gd name="connsiteX411" fmla="*/ 1410807 w 4803292"/>
              <a:gd name="connsiteY411" fmla="*/ 2578560 h 4764066"/>
              <a:gd name="connsiteX412" fmla="*/ 1419933 w 4803292"/>
              <a:gd name="connsiteY412" fmla="*/ 2686958 h 4764066"/>
              <a:gd name="connsiteX413" fmla="*/ 1518401 w 4803292"/>
              <a:gd name="connsiteY413" fmla="*/ 2732544 h 4764066"/>
              <a:gd name="connsiteX414" fmla="*/ 1546100 w 4803292"/>
              <a:gd name="connsiteY414" fmla="*/ 2837658 h 4764066"/>
              <a:gd name="connsiteX415" fmla="*/ 1651292 w 4803292"/>
              <a:gd name="connsiteY415" fmla="*/ 2865538 h 4764066"/>
              <a:gd name="connsiteX416" fmla="*/ 1696843 w 4803292"/>
              <a:gd name="connsiteY416" fmla="*/ 2964162 h 4764066"/>
              <a:gd name="connsiteX417" fmla="*/ 1805157 w 4803292"/>
              <a:gd name="connsiteY417" fmla="*/ 2973296 h 4764066"/>
              <a:gd name="connsiteX418" fmla="*/ 1867120 w 4803292"/>
              <a:gd name="connsiteY418" fmla="*/ 3062546 h 4764066"/>
              <a:gd name="connsiteX419" fmla="*/ 1975434 w 4803292"/>
              <a:gd name="connsiteY419" fmla="*/ 3052691 h 4764066"/>
              <a:gd name="connsiteX420" fmla="*/ 2052047 w 4803292"/>
              <a:gd name="connsiteY420" fmla="*/ 3129924 h 4764066"/>
              <a:gd name="connsiteX421" fmla="*/ 2156838 w 4803292"/>
              <a:gd name="connsiteY421" fmla="*/ 3101402 h 4764066"/>
              <a:gd name="connsiteX422" fmla="*/ 2245859 w 4803292"/>
              <a:gd name="connsiteY422" fmla="*/ 3163893 h 4764066"/>
              <a:gd name="connsiteX423" fmla="*/ 2344087 w 4803292"/>
              <a:gd name="connsiteY423" fmla="*/ 3117666 h 4764066"/>
              <a:gd name="connsiteX424" fmla="*/ 2442314 w 4803292"/>
              <a:gd name="connsiteY424" fmla="*/ 3164054 h 4764066"/>
              <a:gd name="connsiteX425" fmla="*/ 2531255 w 4803292"/>
              <a:gd name="connsiteY425" fmla="*/ 3101402 h 4764066"/>
              <a:gd name="connsiteX426" fmla="*/ 2636127 w 4803292"/>
              <a:gd name="connsiteY426" fmla="*/ 3129924 h 4764066"/>
              <a:gd name="connsiteX427" fmla="*/ 2712659 w 4803292"/>
              <a:gd name="connsiteY427" fmla="*/ 3052691 h 4764066"/>
              <a:gd name="connsiteX428" fmla="*/ 2820733 w 4803292"/>
              <a:gd name="connsiteY428" fmla="*/ 3062706 h 4764066"/>
              <a:gd name="connsiteX429" fmla="*/ 2882856 w 4803292"/>
              <a:gd name="connsiteY429" fmla="*/ 2973296 h 4764066"/>
              <a:gd name="connsiteX430" fmla="*/ 2991250 w 4803292"/>
              <a:gd name="connsiteY430" fmla="*/ 2964322 h 4764066"/>
              <a:gd name="connsiteX431" fmla="*/ 3036641 w 4803292"/>
              <a:gd name="connsiteY431" fmla="*/ 2865538 h 4764066"/>
              <a:gd name="connsiteX432" fmla="*/ 3141913 w 4803292"/>
              <a:gd name="connsiteY432" fmla="*/ 2837658 h 4764066"/>
              <a:gd name="connsiteX433" fmla="*/ 3169532 w 4803292"/>
              <a:gd name="connsiteY433" fmla="*/ 2732544 h 4764066"/>
              <a:gd name="connsiteX434" fmla="*/ 3268240 w 4803292"/>
              <a:gd name="connsiteY434" fmla="*/ 2686958 h 4764066"/>
              <a:gd name="connsiteX435" fmla="*/ 3277286 w 4803292"/>
              <a:gd name="connsiteY435" fmla="*/ 2578560 h 4764066"/>
              <a:gd name="connsiteX436" fmla="*/ 3366547 w 4803292"/>
              <a:gd name="connsiteY436" fmla="*/ 2516550 h 4764066"/>
              <a:gd name="connsiteX437" fmla="*/ 3356621 w 4803292"/>
              <a:gd name="connsiteY437" fmla="*/ 2408232 h 4764066"/>
              <a:gd name="connsiteX438" fmla="*/ 3433794 w 4803292"/>
              <a:gd name="connsiteY438" fmla="*/ 2331960 h 4764066"/>
              <a:gd name="connsiteX439" fmla="*/ 3405134 w 4803292"/>
              <a:gd name="connsiteY439" fmla="*/ 2227007 h 4764066"/>
              <a:gd name="connsiteX440" fmla="*/ 3468057 w 4803292"/>
              <a:gd name="connsiteY440" fmla="*/ 2138158 h 4764066"/>
              <a:gd name="connsiteX441" fmla="*/ 3421545 w 4803292"/>
              <a:gd name="connsiteY441" fmla="*/ 2039694 h 4764066"/>
              <a:gd name="connsiteX442" fmla="*/ 3467897 w 4803292"/>
              <a:gd name="connsiteY442" fmla="*/ 1941311 h 4764066"/>
              <a:gd name="connsiteX443" fmla="*/ 3405134 w 4803292"/>
              <a:gd name="connsiteY443" fmla="*/ 1852461 h 4764066"/>
              <a:gd name="connsiteX444" fmla="*/ 3433794 w 4803292"/>
              <a:gd name="connsiteY444" fmla="*/ 1747508 h 4764066"/>
              <a:gd name="connsiteX445" fmla="*/ 3356621 w 4803292"/>
              <a:gd name="connsiteY445" fmla="*/ 1670756 h 4764066"/>
              <a:gd name="connsiteX446" fmla="*/ 3366547 w 4803292"/>
              <a:gd name="connsiteY446" fmla="*/ 1562438 h 4764066"/>
              <a:gd name="connsiteX447" fmla="*/ 3277286 w 4803292"/>
              <a:gd name="connsiteY447" fmla="*/ 1500508 h 4764066"/>
              <a:gd name="connsiteX448" fmla="*/ 3268240 w 4803292"/>
              <a:gd name="connsiteY448" fmla="*/ 1392030 h 4764066"/>
              <a:gd name="connsiteX449" fmla="*/ 3169532 w 4803292"/>
              <a:gd name="connsiteY449" fmla="*/ 1346523 h 4764066"/>
              <a:gd name="connsiteX450" fmla="*/ 3141913 w 4803292"/>
              <a:gd name="connsiteY450" fmla="*/ 1241250 h 4764066"/>
              <a:gd name="connsiteX451" fmla="*/ 3036641 w 4803292"/>
              <a:gd name="connsiteY451" fmla="*/ 1213610 h 4764066"/>
              <a:gd name="connsiteX452" fmla="*/ 2991250 w 4803292"/>
              <a:gd name="connsiteY452" fmla="*/ 1114745 h 4764066"/>
              <a:gd name="connsiteX453" fmla="*/ 2882856 w 4803292"/>
              <a:gd name="connsiteY453" fmla="*/ 1105692 h 4764066"/>
              <a:gd name="connsiteX454" fmla="*/ 2820733 w 4803292"/>
              <a:gd name="connsiteY454" fmla="*/ 1016362 h 4764066"/>
              <a:gd name="connsiteX455" fmla="*/ 2712579 w 4803292"/>
              <a:gd name="connsiteY455" fmla="*/ 1026457 h 4764066"/>
              <a:gd name="connsiteX456" fmla="*/ 2636047 w 4803292"/>
              <a:gd name="connsiteY456" fmla="*/ 948984 h 4764066"/>
              <a:gd name="connsiteX457" fmla="*/ 2531175 w 4803292"/>
              <a:gd name="connsiteY457" fmla="*/ 977666 h 4764066"/>
              <a:gd name="connsiteX458" fmla="*/ 2442234 w 4803292"/>
              <a:gd name="connsiteY458" fmla="*/ 915014 h 4764066"/>
              <a:gd name="connsiteX459" fmla="*/ 2344007 w 4803292"/>
              <a:gd name="connsiteY459" fmla="*/ 961402 h 4764066"/>
              <a:gd name="connsiteX460" fmla="*/ 2245699 w 4803292"/>
              <a:gd name="connsiteY460" fmla="*/ 915014 h 4764066"/>
              <a:gd name="connsiteX461" fmla="*/ 3539946 w 4803292"/>
              <a:gd name="connsiteY461" fmla="*/ 904118 h 4764066"/>
              <a:gd name="connsiteX462" fmla="*/ 3670996 w 4803292"/>
              <a:gd name="connsiteY462" fmla="*/ 1035349 h 4764066"/>
              <a:gd name="connsiteX463" fmla="*/ 3539946 w 4803292"/>
              <a:gd name="connsiteY463" fmla="*/ 1166501 h 4764066"/>
              <a:gd name="connsiteX464" fmla="*/ 3408816 w 4803292"/>
              <a:gd name="connsiteY464" fmla="*/ 1035349 h 4764066"/>
              <a:gd name="connsiteX465" fmla="*/ 3539946 w 4803292"/>
              <a:gd name="connsiteY465" fmla="*/ 904118 h 4764066"/>
              <a:gd name="connsiteX466" fmla="*/ 1148147 w 4803292"/>
              <a:gd name="connsiteY466" fmla="*/ 904118 h 4764066"/>
              <a:gd name="connsiteX467" fmla="*/ 1279357 w 4803292"/>
              <a:gd name="connsiteY467" fmla="*/ 1035349 h 4764066"/>
              <a:gd name="connsiteX468" fmla="*/ 1148147 w 4803292"/>
              <a:gd name="connsiteY468" fmla="*/ 1166501 h 4764066"/>
              <a:gd name="connsiteX469" fmla="*/ 1017177 w 4803292"/>
              <a:gd name="connsiteY469" fmla="*/ 1035349 h 4764066"/>
              <a:gd name="connsiteX470" fmla="*/ 1148147 w 4803292"/>
              <a:gd name="connsiteY470" fmla="*/ 904118 h 4764066"/>
              <a:gd name="connsiteX471" fmla="*/ 3347895 w 4803292"/>
              <a:gd name="connsiteY471" fmla="*/ 711517 h 4764066"/>
              <a:gd name="connsiteX472" fmla="*/ 3478945 w 4803292"/>
              <a:gd name="connsiteY472" fmla="*/ 842668 h 4764066"/>
              <a:gd name="connsiteX473" fmla="*/ 3347895 w 4803292"/>
              <a:gd name="connsiteY473" fmla="*/ 973820 h 4764066"/>
              <a:gd name="connsiteX474" fmla="*/ 3216765 w 4803292"/>
              <a:gd name="connsiteY474" fmla="*/ 842668 h 4764066"/>
              <a:gd name="connsiteX475" fmla="*/ 3347895 w 4803292"/>
              <a:gd name="connsiteY475" fmla="*/ 711517 h 4764066"/>
              <a:gd name="connsiteX476" fmla="*/ 3805808 w 4803292"/>
              <a:gd name="connsiteY476" fmla="*/ 698699 h 4764066"/>
              <a:gd name="connsiteX477" fmla="*/ 3919006 w 4803292"/>
              <a:gd name="connsiteY477" fmla="*/ 812064 h 4764066"/>
              <a:gd name="connsiteX478" fmla="*/ 3805808 w 4803292"/>
              <a:gd name="connsiteY478" fmla="*/ 925430 h 4764066"/>
              <a:gd name="connsiteX479" fmla="*/ 3692611 w 4803292"/>
              <a:gd name="connsiteY479" fmla="*/ 812064 h 4764066"/>
              <a:gd name="connsiteX480" fmla="*/ 3805808 w 4803292"/>
              <a:gd name="connsiteY480" fmla="*/ 698699 h 4764066"/>
              <a:gd name="connsiteX481" fmla="*/ 2344247 w 4803292"/>
              <a:gd name="connsiteY481" fmla="*/ 687883 h 4764066"/>
              <a:gd name="connsiteX482" fmla="*/ 2456484 w 4803292"/>
              <a:gd name="connsiteY482" fmla="*/ 754220 h 4764066"/>
              <a:gd name="connsiteX483" fmla="*/ 2578807 w 4803292"/>
              <a:gd name="connsiteY483" fmla="*/ 708313 h 4764066"/>
              <a:gd name="connsiteX484" fmla="*/ 2677835 w 4803292"/>
              <a:gd name="connsiteY484" fmla="*/ 793477 h 4764066"/>
              <a:gd name="connsiteX485" fmla="*/ 2806243 w 4803292"/>
              <a:gd name="connsiteY485" fmla="*/ 769202 h 4764066"/>
              <a:gd name="connsiteX486" fmla="*/ 2888860 w 4803292"/>
              <a:gd name="connsiteY486" fmla="*/ 870149 h 4764066"/>
              <a:gd name="connsiteX487" fmla="*/ 3019349 w 4803292"/>
              <a:gd name="connsiteY487" fmla="*/ 868947 h 4764066"/>
              <a:gd name="connsiteX488" fmla="*/ 3083473 w 4803292"/>
              <a:gd name="connsiteY488" fmla="*/ 982713 h 4764066"/>
              <a:gd name="connsiteX489" fmla="*/ 3212522 w 4803292"/>
              <a:gd name="connsiteY489" fmla="*/ 1003944 h 4764066"/>
              <a:gd name="connsiteX490" fmla="*/ 3255591 w 4803292"/>
              <a:gd name="connsiteY490" fmla="*/ 1127244 h 4764066"/>
              <a:gd name="connsiteX491" fmla="*/ 3378796 w 4803292"/>
              <a:gd name="connsiteY491" fmla="*/ 1170667 h 4764066"/>
              <a:gd name="connsiteX492" fmla="*/ 3400090 w 4803292"/>
              <a:gd name="connsiteY492" fmla="*/ 1299655 h 4764066"/>
              <a:gd name="connsiteX493" fmla="*/ 3513848 w 4803292"/>
              <a:gd name="connsiteY493" fmla="*/ 1363668 h 4764066"/>
              <a:gd name="connsiteX494" fmla="*/ 3512488 w 4803292"/>
              <a:gd name="connsiteY494" fmla="*/ 1494259 h 4764066"/>
              <a:gd name="connsiteX495" fmla="*/ 3613596 w 4803292"/>
              <a:gd name="connsiteY495" fmla="*/ 1577180 h 4764066"/>
              <a:gd name="connsiteX496" fmla="*/ 3589260 w 4803292"/>
              <a:gd name="connsiteY496" fmla="*/ 1705527 h 4764066"/>
              <a:gd name="connsiteX497" fmla="*/ 3674438 w 4803292"/>
              <a:gd name="connsiteY497" fmla="*/ 1804792 h 4764066"/>
              <a:gd name="connsiteX498" fmla="*/ 3628487 w 4803292"/>
              <a:gd name="connsiteY498" fmla="*/ 1927130 h 4764066"/>
              <a:gd name="connsiteX499" fmla="*/ 3695093 w 4803292"/>
              <a:gd name="connsiteY499" fmla="*/ 2039694 h 4764066"/>
              <a:gd name="connsiteX500" fmla="*/ 3628487 w 4803292"/>
              <a:gd name="connsiteY500" fmla="*/ 2151858 h 4764066"/>
              <a:gd name="connsiteX501" fmla="*/ 3674438 w 4803292"/>
              <a:gd name="connsiteY501" fmla="*/ 2274276 h 4764066"/>
              <a:gd name="connsiteX502" fmla="*/ 3589260 w 4803292"/>
              <a:gd name="connsiteY502" fmla="*/ 2373301 h 4764066"/>
              <a:gd name="connsiteX503" fmla="*/ 3613596 w 4803292"/>
              <a:gd name="connsiteY503" fmla="*/ 2501648 h 4764066"/>
              <a:gd name="connsiteX504" fmla="*/ 3512488 w 4803292"/>
              <a:gd name="connsiteY504" fmla="*/ 2584408 h 4764066"/>
              <a:gd name="connsiteX505" fmla="*/ 3513848 w 4803292"/>
              <a:gd name="connsiteY505" fmla="*/ 2715239 h 4764066"/>
              <a:gd name="connsiteX506" fmla="*/ 3400090 w 4803292"/>
              <a:gd name="connsiteY506" fmla="*/ 2779092 h 4764066"/>
              <a:gd name="connsiteX507" fmla="*/ 3378796 w 4803292"/>
              <a:gd name="connsiteY507" fmla="*/ 2908161 h 4764066"/>
              <a:gd name="connsiteX508" fmla="*/ 3255591 w 4803292"/>
              <a:gd name="connsiteY508" fmla="*/ 2951584 h 4764066"/>
              <a:gd name="connsiteX509" fmla="*/ 3212362 w 4803292"/>
              <a:gd name="connsiteY509" fmla="*/ 3074804 h 4764066"/>
              <a:gd name="connsiteX510" fmla="*/ 3083393 w 4803292"/>
              <a:gd name="connsiteY510" fmla="*/ 3096115 h 4764066"/>
              <a:gd name="connsiteX511" fmla="*/ 3019269 w 4803292"/>
              <a:gd name="connsiteY511" fmla="*/ 3209961 h 4764066"/>
              <a:gd name="connsiteX512" fmla="*/ 2888860 w 4803292"/>
              <a:gd name="connsiteY512" fmla="*/ 3208438 h 4764066"/>
              <a:gd name="connsiteX513" fmla="*/ 2805923 w 4803292"/>
              <a:gd name="connsiteY513" fmla="*/ 3309546 h 4764066"/>
              <a:gd name="connsiteX514" fmla="*/ 2678075 w 4803292"/>
              <a:gd name="connsiteY514" fmla="*/ 3285351 h 4764066"/>
              <a:gd name="connsiteX515" fmla="*/ 2578888 w 4803292"/>
              <a:gd name="connsiteY515" fmla="*/ 3370675 h 4764066"/>
              <a:gd name="connsiteX516" fmla="*/ 2456644 w 4803292"/>
              <a:gd name="connsiteY516" fmla="*/ 3324368 h 4764066"/>
              <a:gd name="connsiteX517" fmla="*/ 2344407 w 4803292"/>
              <a:gd name="connsiteY517" fmla="*/ 3391025 h 4764066"/>
              <a:gd name="connsiteX518" fmla="*/ 2232010 w 4803292"/>
              <a:gd name="connsiteY518" fmla="*/ 3324368 h 4764066"/>
              <a:gd name="connsiteX519" fmla="*/ 2109766 w 4803292"/>
              <a:gd name="connsiteY519" fmla="*/ 3370355 h 4764066"/>
              <a:gd name="connsiteX520" fmla="*/ 2010578 w 4803292"/>
              <a:gd name="connsiteY520" fmla="*/ 3285190 h 4764066"/>
              <a:gd name="connsiteX521" fmla="*/ 1882330 w 4803292"/>
              <a:gd name="connsiteY521" fmla="*/ 3309386 h 4764066"/>
              <a:gd name="connsiteX522" fmla="*/ 1799393 w 4803292"/>
              <a:gd name="connsiteY522" fmla="*/ 3208519 h 4764066"/>
              <a:gd name="connsiteX523" fmla="*/ 1668904 w 4803292"/>
              <a:gd name="connsiteY523" fmla="*/ 3209721 h 4764066"/>
              <a:gd name="connsiteX524" fmla="*/ 1604940 w 4803292"/>
              <a:gd name="connsiteY524" fmla="*/ 3095874 h 4764066"/>
              <a:gd name="connsiteX525" fmla="*/ 1476052 w 4803292"/>
              <a:gd name="connsiteY525" fmla="*/ 3074723 h 4764066"/>
              <a:gd name="connsiteX526" fmla="*/ 1432902 w 4803292"/>
              <a:gd name="connsiteY526" fmla="*/ 2951424 h 4764066"/>
              <a:gd name="connsiteX527" fmla="*/ 1309698 w 4803292"/>
              <a:gd name="connsiteY527" fmla="*/ 2908000 h 4764066"/>
              <a:gd name="connsiteX528" fmla="*/ 1288403 w 4803292"/>
              <a:gd name="connsiteY528" fmla="*/ 2779012 h 4764066"/>
              <a:gd name="connsiteX529" fmla="*/ 1174405 w 4803292"/>
              <a:gd name="connsiteY529" fmla="*/ 2715079 h 4764066"/>
              <a:gd name="connsiteX530" fmla="*/ 1176006 w 4803292"/>
              <a:gd name="connsiteY530" fmla="*/ 2584328 h 4764066"/>
              <a:gd name="connsiteX531" fmla="*/ 1075057 w 4803292"/>
              <a:gd name="connsiteY531" fmla="*/ 2501568 h 4764066"/>
              <a:gd name="connsiteX532" fmla="*/ 1099073 w 4803292"/>
              <a:gd name="connsiteY532" fmla="*/ 2373220 h 4764066"/>
              <a:gd name="connsiteX533" fmla="*/ 1013895 w 4803292"/>
              <a:gd name="connsiteY533" fmla="*/ 2274196 h 4764066"/>
              <a:gd name="connsiteX534" fmla="*/ 1060167 w 4803292"/>
              <a:gd name="connsiteY534" fmla="*/ 2151858 h 4764066"/>
              <a:gd name="connsiteX535" fmla="*/ 993481 w 4803292"/>
              <a:gd name="connsiteY535" fmla="*/ 2039534 h 4764066"/>
              <a:gd name="connsiteX536" fmla="*/ 1060167 w 4803292"/>
              <a:gd name="connsiteY536" fmla="*/ 1927130 h 4764066"/>
              <a:gd name="connsiteX537" fmla="*/ 1013895 w 4803292"/>
              <a:gd name="connsiteY537" fmla="*/ 1804792 h 4764066"/>
              <a:gd name="connsiteX538" fmla="*/ 1099073 w 4803292"/>
              <a:gd name="connsiteY538" fmla="*/ 1705527 h 4764066"/>
              <a:gd name="connsiteX539" fmla="*/ 1075057 w 4803292"/>
              <a:gd name="connsiteY539" fmla="*/ 1577180 h 4764066"/>
              <a:gd name="connsiteX540" fmla="*/ 1176166 w 4803292"/>
              <a:gd name="connsiteY540" fmla="*/ 1494259 h 4764066"/>
              <a:gd name="connsiteX541" fmla="*/ 1174325 w 4803292"/>
              <a:gd name="connsiteY541" fmla="*/ 1363668 h 4764066"/>
              <a:gd name="connsiteX542" fmla="*/ 1288323 w 4803292"/>
              <a:gd name="connsiteY542" fmla="*/ 1299655 h 4764066"/>
              <a:gd name="connsiteX543" fmla="*/ 1309618 w 4803292"/>
              <a:gd name="connsiteY543" fmla="*/ 1170667 h 4764066"/>
              <a:gd name="connsiteX544" fmla="*/ 1432822 w 4803292"/>
              <a:gd name="connsiteY544" fmla="*/ 1127324 h 4764066"/>
              <a:gd name="connsiteX545" fmla="*/ 1475972 w 4803292"/>
              <a:gd name="connsiteY545" fmla="*/ 1003944 h 4764066"/>
              <a:gd name="connsiteX546" fmla="*/ 1604860 w 4803292"/>
              <a:gd name="connsiteY546" fmla="*/ 982873 h 4764066"/>
              <a:gd name="connsiteX547" fmla="*/ 1668824 w 4803292"/>
              <a:gd name="connsiteY547" fmla="*/ 868947 h 4764066"/>
              <a:gd name="connsiteX548" fmla="*/ 1799473 w 4803292"/>
              <a:gd name="connsiteY548" fmla="*/ 870309 h 4764066"/>
              <a:gd name="connsiteX549" fmla="*/ 1882250 w 4803292"/>
              <a:gd name="connsiteY549" fmla="*/ 769202 h 4764066"/>
              <a:gd name="connsiteX550" fmla="*/ 2010578 w 4803292"/>
              <a:gd name="connsiteY550" fmla="*/ 793477 h 4764066"/>
              <a:gd name="connsiteX551" fmla="*/ 2109606 w 4803292"/>
              <a:gd name="connsiteY551" fmla="*/ 708313 h 4764066"/>
              <a:gd name="connsiteX552" fmla="*/ 2231850 w 4803292"/>
              <a:gd name="connsiteY552" fmla="*/ 754540 h 4764066"/>
              <a:gd name="connsiteX553" fmla="*/ 2344247 w 4803292"/>
              <a:gd name="connsiteY553" fmla="*/ 687883 h 4764066"/>
              <a:gd name="connsiteX554" fmla="*/ 3570447 w 4803292"/>
              <a:gd name="connsiteY554" fmla="*/ 463396 h 4764066"/>
              <a:gd name="connsiteX555" fmla="*/ 3683805 w 4803292"/>
              <a:gd name="connsiteY555" fmla="*/ 576761 h 4764066"/>
              <a:gd name="connsiteX556" fmla="*/ 3570447 w 4803292"/>
              <a:gd name="connsiteY556" fmla="*/ 690127 h 4764066"/>
              <a:gd name="connsiteX557" fmla="*/ 3457410 w 4803292"/>
              <a:gd name="connsiteY557" fmla="*/ 576761 h 4764066"/>
              <a:gd name="connsiteX558" fmla="*/ 3570447 w 4803292"/>
              <a:gd name="connsiteY558" fmla="*/ 463396 h 4764066"/>
              <a:gd name="connsiteX559" fmla="*/ 2072861 w 4803292"/>
              <a:gd name="connsiteY559" fmla="*/ 369899 h 4764066"/>
              <a:gd name="connsiteX560" fmla="*/ 2203911 w 4803292"/>
              <a:gd name="connsiteY560" fmla="*/ 500970 h 4764066"/>
              <a:gd name="connsiteX561" fmla="*/ 2072861 w 4803292"/>
              <a:gd name="connsiteY561" fmla="*/ 632202 h 4764066"/>
              <a:gd name="connsiteX562" fmla="*/ 1941891 w 4803292"/>
              <a:gd name="connsiteY562" fmla="*/ 500970 h 4764066"/>
              <a:gd name="connsiteX563" fmla="*/ 2072861 w 4803292"/>
              <a:gd name="connsiteY563" fmla="*/ 369899 h 4764066"/>
              <a:gd name="connsiteX564" fmla="*/ 2615072 w 4803292"/>
              <a:gd name="connsiteY564" fmla="*/ 369579 h 4764066"/>
              <a:gd name="connsiteX565" fmla="*/ 2746122 w 4803292"/>
              <a:gd name="connsiteY565" fmla="*/ 500810 h 4764066"/>
              <a:gd name="connsiteX566" fmla="*/ 2615072 w 4803292"/>
              <a:gd name="connsiteY566" fmla="*/ 631962 h 4764066"/>
              <a:gd name="connsiteX567" fmla="*/ 2483942 w 4803292"/>
              <a:gd name="connsiteY567" fmla="*/ 500810 h 4764066"/>
              <a:gd name="connsiteX568" fmla="*/ 2615072 w 4803292"/>
              <a:gd name="connsiteY568" fmla="*/ 369579 h 4764066"/>
              <a:gd name="connsiteX569" fmla="*/ 2344087 w 4803292"/>
              <a:gd name="connsiteY569" fmla="*/ 346024 h 4764066"/>
              <a:gd name="connsiteX570" fmla="*/ 2475137 w 4803292"/>
              <a:gd name="connsiteY570" fmla="*/ 477255 h 4764066"/>
              <a:gd name="connsiteX571" fmla="*/ 2344087 w 4803292"/>
              <a:gd name="connsiteY571" fmla="*/ 608407 h 4764066"/>
              <a:gd name="connsiteX572" fmla="*/ 2213037 w 4803292"/>
              <a:gd name="connsiteY572" fmla="*/ 477255 h 4764066"/>
              <a:gd name="connsiteX573" fmla="*/ 2344087 w 4803292"/>
              <a:gd name="connsiteY573" fmla="*/ 346024 h 4764066"/>
              <a:gd name="connsiteX574" fmla="*/ 3298021 w 4803292"/>
              <a:gd name="connsiteY574" fmla="*/ 272557 h 4764066"/>
              <a:gd name="connsiteX575" fmla="*/ 3411218 w 4803292"/>
              <a:gd name="connsiteY575" fmla="*/ 385762 h 4764066"/>
              <a:gd name="connsiteX576" fmla="*/ 3298021 w 4803292"/>
              <a:gd name="connsiteY576" fmla="*/ 499127 h 4764066"/>
              <a:gd name="connsiteX577" fmla="*/ 3184823 w 4803292"/>
              <a:gd name="connsiteY577" fmla="*/ 385762 h 4764066"/>
              <a:gd name="connsiteX578" fmla="*/ 3298021 w 4803292"/>
              <a:gd name="connsiteY578" fmla="*/ 272557 h 4764066"/>
              <a:gd name="connsiteX579" fmla="*/ 3793320 w 4803292"/>
              <a:gd name="connsiteY579" fmla="*/ 224968 h 4764066"/>
              <a:gd name="connsiteX580" fmla="*/ 3882421 w 4803292"/>
              <a:gd name="connsiteY580" fmla="*/ 314138 h 4764066"/>
              <a:gd name="connsiteX581" fmla="*/ 3793320 w 4803292"/>
              <a:gd name="connsiteY581" fmla="*/ 403468 h 4764066"/>
              <a:gd name="connsiteX582" fmla="*/ 3703979 w 4803292"/>
              <a:gd name="connsiteY582" fmla="*/ 314138 h 4764066"/>
              <a:gd name="connsiteX583" fmla="*/ 3793320 w 4803292"/>
              <a:gd name="connsiteY583" fmla="*/ 224968 h 4764066"/>
              <a:gd name="connsiteX584" fmla="*/ 3473821 w 4803292"/>
              <a:gd name="connsiteY584" fmla="*/ 0 h 4764066"/>
              <a:gd name="connsiteX585" fmla="*/ 3562922 w 4803292"/>
              <a:gd name="connsiteY585" fmla="*/ 89170 h 4764066"/>
              <a:gd name="connsiteX586" fmla="*/ 3473821 w 4803292"/>
              <a:gd name="connsiteY586" fmla="*/ 178340 h 4764066"/>
              <a:gd name="connsiteX587" fmla="*/ 3384560 w 4803292"/>
              <a:gd name="connsiteY587" fmla="*/ 89170 h 4764066"/>
              <a:gd name="connsiteX588" fmla="*/ 3473821 w 4803292"/>
              <a:gd name="connsiteY588" fmla="*/ 0 h 476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Lst>
            <a:rect l="l" t="t" r="r" b="b"/>
            <a:pathLst>
              <a:path w="4803292" h="4764066">
                <a:moveTo>
                  <a:pt x="3825502" y="4632114"/>
                </a:moveTo>
                <a:cubicBezTo>
                  <a:pt x="3861927" y="4632114"/>
                  <a:pt x="3891547" y="4661597"/>
                  <a:pt x="3891547" y="4698050"/>
                </a:cubicBezTo>
                <a:cubicBezTo>
                  <a:pt x="3891547" y="4734583"/>
                  <a:pt x="3861927" y="4764066"/>
                  <a:pt x="3825502" y="4764066"/>
                </a:cubicBezTo>
                <a:cubicBezTo>
                  <a:pt x="3789157" y="4764066"/>
                  <a:pt x="3759537" y="4734663"/>
                  <a:pt x="3759537" y="4698050"/>
                </a:cubicBezTo>
                <a:cubicBezTo>
                  <a:pt x="3759537" y="4661597"/>
                  <a:pt x="3789077" y="4632114"/>
                  <a:pt x="3825502" y="4632114"/>
                </a:cubicBezTo>
                <a:close/>
                <a:moveTo>
                  <a:pt x="3925010" y="4414517"/>
                </a:moveTo>
                <a:cubicBezTo>
                  <a:pt x="3961355" y="4414517"/>
                  <a:pt x="3990816" y="4444000"/>
                  <a:pt x="3990895" y="4480453"/>
                </a:cubicBezTo>
                <a:cubicBezTo>
                  <a:pt x="3990895" y="4517066"/>
                  <a:pt x="3961435" y="4546710"/>
                  <a:pt x="3925010" y="4546710"/>
                </a:cubicBezTo>
                <a:cubicBezTo>
                  <a:pt x="3888585" y="4546710"/>
                  <a:pt x="3858965" y="4517066"/>
                  <a:pt x="3858965" y="4480453"/>
                </a:cubicBezTo>
                <a:cubicBezTo>
                  <a:pt x="3858965" y="4444000"/>
                  <a:pt x="3888585" y="4414517"/>
                  <a:pt x="3925010" y="4414517"/>
                </a:cubicBezTo>
                <a:close/>
                <a:moveTo>
                  <a:pt x="3661709" y="4414517"/>
                </a:moveTo>
                <a:cubicBezTo>
                  <a:pt x="3698135" y="4414517"/>
                  <a:pt x="3727595" y="4444000"/>
                  <a:pt x="3727595" y="4480453"/>
                </a:cubicBezTo>
                <a:cubicBezTo>
                  <a:pt x="3727595" y="4517066"/>
                  <a:pt x="3698135" y="4546710"/>
                  <a:pt x="3661709" y="4546710"/>
                </a:cubicBezTo>
                <a:cubicBezTo>
                  <a:pt x="3625284" y="4546710"/>
                  <a:pt x="3595664" y="4517066"/>
                  <a:pt x="3595664" y="4480453"/>
                </a:cubicBezTo>
                <a:cubicBezTo>
                  <a:pt x="3595664" y="4444000"/>
                  <a:pt x="3625284" y="4414517"/>
                  <a:pt x="3661709" y="4414517"/>
                </a:cubicBezTo>
                <a:close/>
                <a:moveTo>
                  <a:pt x="3982170" y="3933336"/>
                </a:moveTo>
                <a:cubicBezTo>
                  <a:pt x="4018514" y="3933336"/>
                  <a:pt x="4047974" y="3962739"/>
                  <a:pt x="4048055" y="3999352"/>
                </a:cubicBezTo>
                <a:cubicBezTo>
                  <a:pt x="4048055" y="4035805"/>
                  <a:pt x="4018594" y="4065288"/>
                  <a:pt x="3982170" y="4065288"/>
                </a:cubicBezTo>
                <a:cubicBezTo>
                  <a:pt x="3945584" y="4065288"/>
                  <a:pt x="3915964" y="4035805"/>
                  <a:pt x="3915964" y="3999352"/>
                </a:cubicBezTo>
                <a:cubicBezTo>
                  <a:pt x="3915964" y="3962819"/>
                  <a:pt x="3945584" y="3933336"/>
                  <a:pt x="3982170" y="3933336"/>
                </a:cubicBezTo>
                <a:close/>
                <a:moveTo>
                  <a:pt x="3471579" y="3904333"/>
                </a:moveTo>
                <a:cubicBezTo>
                  <a:pt x="3520653" y="3904333"/>
                  <a:pt x="3560600" y="3944312"/>
                  <a:pt x="3560680" y="3993503"/>
                </a:cubicBezTo>
                <a:cubicBezTo>
                  <a:pt x="3560680" y="4042775"/>
                  <a:pt x="3520733" y="4082753"/>
                  <a:pt x="3471579" y="4082753"/>
                </a:cubicBezTo>
                <a:cubicBezTo>
                  <a:pt x="3422426" y="4082753"/>
                  <a:pt x="3382558" y="4042775"/>
                  <a:pt x="3382558" y="3993503"/>
                </a:cubicBezTo>
                <a:cubicBezTo>
                  <a:pt x="3382558" y="3944312"/>
                  <a:pt x="3422346" y="3904333"/>
                  <a:pt x="3471579" y="3904333"/>
                </a:cubicBezTo>
                <a:close/>
                <a:moveTo>
                  <a:pt x="3793560" y="3678564"/>
                </a:moveTo>
                <a:cubicBezTo>
                  <a:pt x="3842714" y="3678564"/>
                  <a:pt x="3882661" y="3718542"/>
                  <a:pt x="3882661" y="3767975"/>
                </a:cubicBezTo>
                <a:cubicBezTo>
                  <a:pt x="3882661" y="3817167"/>
                  <a:pt x="3842714" y="3857145"/>
                  <a:pt x="3793560" y="3857145"/>
                </a:cubicBezTo>
                <a:cubicBezTo>
                  <a:pt x="3744246" y="3857145"/>
                  <a:pt x="3704379" y="3817167"/>
                  <a:pt x="3704379" y="3767975"/>
                </a:cubicBezTo>
                <a:cubicBezTo>
                  <a:pt x="3704379" y="3718542"/>
                  <a:pt x="3744167" y="3678564"/>
                  <a:pt x="3793560" y="3678564"/>
                </a:cubicBezTo>
                <a:close/>
                <a:moveTo>
                  <a:pt x="4302789" y="3612387"/>
                </a:moveTo>
                <a:cubicBezTo>
                  <a:pt x="4339134" y="3612387"/>
                  <a:pt x="4368674" y="3641870"/>
                  <a:pt x="4368674" y="3678323"/>
                </a:cubicBezTo>
                <a:cubicBezTo>
                  <a:pt x="4368674" y="3714937"/>
                  <a:pt x="4339054" y="3744580"/>
                  <a:pt x="4302789" y="3744580"/>
                </a:cubicBezTo>
                <a:cubicBezTo>
                  <a:pt x="4266204" y="3744580"/>
                  <a:pt x="4236744" y="3714937"/>
                  <a:pt x="4236744" y="3678323"/>
                </a:cubicBezTo>
                <a:cubicBezTo>
                  <a:pt x="4236744" y="3641870"/>
                  <a:pt x="4266204" y="3612387"/>
                  <a:pt x="4302789" y="3612387"/>
                </a:cubicBezTo>
                <a:close/>
                <a:moveTo>
                  <a:pt x="3298021" y="3579620"/>
                </a:moveTo>
                <a:cubicBezTo>
                  <a:pt x="3360704" y="3579620"/>
                  <a:pt x="3411299" y="3630254"/>
                  <a:pt x="3411218" y="3692745"/>
                </a:cubicBezTo>
                <a:cubicBezTo>
                  <a:pt x="3411218" y="3755396"/>
                  <a:pt x="3360624" y="3806190"/>
                  <a:pt x="3298021" y="3806190"/>
                </a:cubicBezTo>
                <a:cubicBezTo>
                  <a:pt x="3235578" y="3806190"/>
                  <a:pt x="3184823" y="3755396"/>
                  <a:pt x="3184823" y="3692745"/>
                </a:cubicBezTo>
                <a:cubicBezTo>
                  <a:pt x="3184823" y="3630254"/>
                  <a:pt x="3235578" y="3579620"/>
                  <a:pt x="3298021" y="3579620"/>
                </a:cubicBezTo>
                <a:close/>
                <a:moveTo>
                  <a:pt x="4071430" y="3400478"/>
                </a:moveTo>
                <a:cubicBezTo>
                  <a:pt x="4120744" y="3400478"/>
                  <a:pt x="4160691" y="3440456"/>
                  <a:pt x="4160611" y="3489648"/>
                </a:cubicBezTo>
                <a:cubicBezTo>
                  <a:pt x="4160611" y="3538920"/>
                  <a:pt x="4120664" y="3578898"/>
                  <a:pt x="4071430" y="3578898"/>
                </a:cubicBezTo>
                <a:cubicBezTo>
                  <a:pt x="4022196" y="3578898"/>
                  <a:pt x="3982249" y="3538920"/>
                  <a:pt x="3982249" y="3489648"/>
                </a:cubicBezTo>
                <a:cubicBezTo>
                  <a:pt x="3982249" y="3440456"/>
                  <a:pt x="4022196" y="3400478"/>
                  <a:pt x="4071430" y="3400478"/>
                </a:cubicBezTo>
                <a:close/>
                <a:moveTo>
                  <a:pt x="616663" y="3400318"/>
                </a:moveTo>
                <a:cubicBezTo>
                  <a:pt x="665897" y="3400318"/>
                  <a:pt x="705844" y="3440296"/>
                  <a:pt x="705844" y="3489568"/>
                </a:cubicBezTo>
                <a:cubicBezTo>
                  <a:pt x="705844" y="3538840"/>
                  <a:pt x="665897" y="3578738"/>
                  <a:pt x="616663" y="3578738"/>
                </a:cubicBezTo>
                <a:cubicBezTo>
                  <a:pt x="567429" y="3578738"/>
                  <a:pt x="527482" y="3538840"/>
                  <a:pt x="527482" y="3489568"/>
                </a:cubicBezTo>
                <a:cubicBezTo>
                  <a:pt x="527482" y="3440296"/>
                  <a:pt x="567429" y="3400318"/>
                  <a:pt x="616663" y="3400318"/>
                </a:cubicBezTo>
                <a:close/>
                <a:moveTo>
                  <a:pt x="3570447" y="3388461"/>
                </a:moveTo>
                <a:cubicBezTo>
                  <a:pt x="3633050" y="3388461"/>
                  <a:pt x="3683805" y="3439255"/>
                  <a:pt x="3683805" y="3501906"/>
                </a:cubicBezTo>
                <a:cubicBezTo>
                  <a:pt x="3683805" y="3564397"/>
                  <a:pt x="3633050" y="3615192"/>
                  <a:pt x="3570447" y="3615192"/>
                </a:cubicBezTo>
                <a:cubicBezTo>
                  <a:pt x="3508005" y="3615192"/>
                  <a:pt x="3457410" y="3564397"/>
                  <a:pt x="3457410" y="3501906"/>
                </a:cubicBezTo>
                <a:cubicBezTo>
                  <a:pt x="3457410" y="3439255"/>
                  <a:pt x="3508005" y="3388461"/>
                  <a:pt x="3570447" y="3388461"/>
                </a:cubicBezTo>
                <a:close/>
                <a:moveTo>
                  <a:pt x="2878053" y="3376042"/>
                </a:moveTo>
                <a:cubicBezTo>
                  <a:pt x="2950262" y="3376042"/>
                  <a:pt x="3009023" y="3434768"/>
                  <a:pt x="3009023" y="3507194"/>
                </a:cubicBezTo>
                <a:cubicBezTo>
                  <a:pt x="3009023" y="3579619"/>
                  <a:pt x="2950262" y="3638345"/>
                  <a:pt x="2878053" y="3638345"/>
                </a:cubicBezTo>
                <a:cubicBezTo>
                  <a:pt x="2805523" y="3638345"/>
                  <a:pt x="2746843" y="3579619"/>
                  <a:pt x="2746843" y="3507194"/>
                </a:cubicBezTo>
                <a:cubicBezTo>
                  <a:pt x="2746843" y="3434768"/>
                  <a:pt x="2805523" y="3376042"/>
                  <a:pt x="2878053" y="3376042"/>
                </a:cubicBezTo>
                <a:close/>
                <a:moveTo>
                  <a:pt x="3124542" y="3260995"/>
                </a:moveTo>
                <a:cubicBezTo>
                  <a:pt x="3196831" y="3260995"/>
                  <a:pt x="3255752" y="3319560"/>
                  <a:pt x="3255752" y="3392146"/>
                </a:cubicBezTo>
                <a:cubicBezTo>
                  <a:pt x="3255752" y="3464492"/>
                  <a:pt x="3196831" y="3523297"/>
                  <a:pt x="3124542" y="3523297"/>
                </a:cubicBezTo>
                <a:cubicBezTo>
                  <a:pt x="3052252" y="3523297"/>
                  <a:pt x="2993572" y="3464492"/>
                  <a:pt x="2993572" y="3392146"/>
                </a:cubicBezTo>
                <a:cubicBezTo>
                  <a:pt x="2993572" y="3319560"/>
                  <a:pt x="3052252" y="3260995"/>
                  <a:pt x="3124542" y="3260995"/>
                </a:cubicBezTo>
                <a:close/>
                <a:moveTo>
                  <a:pt x="4562807" y="3240485"/>
                </a:moveTo>
                <a:cubicBezTo>
                  <a:pt x="4599312" y="3240485"/>
                  <a:pt x="4628852" y="3269968"/>
                  <a:pt x="4628852" y="3306421"/>
                </a:cubicBezTo>
                <a:cubicBezTo>
                  <a:pt x="4628852" y="3343034"/>
                  <a:pt x="4599392" y="3372678"/>
                  <a:pt x="4562807" y="3372678"/>
                </a:cubicBezTo>
                <a:cubicBezTo>
                  <a:pt x="4526542" y="3372678"/>
                  <a:pt x="4496922" y="3343034"/>
                  <a:pt x="4496922" y="3306421"/>
                </a:cubicBezTo>
                <a:cubicBezTo>
                  <a:pt x="4496922" y="3269968"/>
                  <a:pt x="4526542" y="3240485"/>
                  <a:pt x="4562807" y="3240485"/>
                </a:cubicBezTo>
                <a:close/>
                <a:moveTo>
                  <a:pt x="3805568" y="3153318"/>
                </a:moveTo>
                <a:cubicBezTo>
                  <a:pt x="3868171" y="3153318"/>
                  <a:pt x="3918926" y="3203952"/>
                  <a:pt x="3918926" y="3266443"/>
                </a:cubicBezTo>
                <a:cubicBezTo>
                  <a:pt x="3918926" y="3329094"/>
                  <a:pt x="3868171" y="3379889"/>
                  <a:pt x="3805568" y="3379889"/>
                </a:cubicBezTo>
                <a:cubicBezTo>
                  <a:pt x="3743126" y="3379889"/>
                  <a:pt x="3692531" y="3329094"/>
                  <a:pt x="3692531" y="3266443"/>
                </a:cubicBezTo>
                <a:cubicBezTo>
                  <a:pt x="3692531" y="3203952"/>
                  <a:pt x="3743126" y="3153318"/>
                  <a:pt x="3805568" y="3153318"/>
                </a:cubicBezTo>
                <a:close/>
                <a:moveTo>
                  <a:pt x="882365" y="3152997"/>
                </a:moveTo>
                <a:cubicBezTo>
                  <a:pt x="944967" y="3152997"/>
                  <a:pt x="995722" y="3203791"/>
                  <a:pt x="995722" y="3266442"/>
                </a:cubicBezTo>
                <a:cubicBezTo>
                  <a:pt x="995722" y="3329094"/>
                  <a:pt x="944967" y="3379728"/>
                  <a:pt x="882365" y="3379728"/>
                </a:cubicBezTo>
                <a:cubicBezTo>
                  <a:pt x="819762" y="3379728"/>
                  <a:pt x="769327" y="3329094"/>
                  <a:pt x="769327" y="3266442"/>
                </a:cubicBezTo>
                <a:cubicBezTo>
                  <a:pt x="769327" y="3203791"/>
                  <a:pt x="819762" y="3152997"/>
                  <a:pt x="882365" y="3152997"/>
                </a:cubicBezTo>
                <a:close/>
                <a:moveTo>
                  <a:pt x="3347574" y="3104847"/>
                </a:moveTo>
                <a:cubicBezTo>
                  <a:pt x="3419864" y="3104847"/>
                  <a:pt x="3478544" y="3163493"/>
                  <a:pt x="3478544" y="3235998"/>
                </a:cubicBezTo>
                <a:cubicBezTo>
                  <a:pt x="3478544" y="3308344"/>
                  <a:pt x="3419864" y="3367069"/>
                  <a:pt x="3347574" y="3367069"/>
                </a:cubicBezTo>
                <a:cubicBezTo>
                  <a:pt x="3275124" y="3367069"/>
                  <a:pt x="3216364" y="3308344"/>
                  <a:pt x="3216364" y="3235998"/>
                </a:cubicBezTo>
                <a:cubicBezTo>
                  <a:pt x="3216364" y="3163573"/>
                  <a:pt x="3275124" y="3104847"/>
                  <a:pt x="3347574" y="3104847"/>
                </a:cubicBezTo>
                <a:close/>
                <a:moveTo>
                  <a:pt x="1340279" y="3104687"/>
                </a:moveTo>
                <a:cubicBezTo>
                  <a:pt x="1412728" y="3104687"/>
                  <a:pt x="1471329" y="3163333"/>
                  <a:pt x="1471329" y="3235838"/>
                </a:cubicBezTo>
                <a:cubicBezTo>
                  <a:pt x="1471329" y="3308344"/>
                  <a:pt x="1412648" y="3366910"/>
                  <a:pt x="1340279" y="3366910"/>
                </a:cubicBezTo>
                <a:cubicBezTo>
                  <a:pt x="1267909" y="3366910"/>
                  <a:pt x="1209229" y="3308264"/>
                  <a:pt x="1209229" y="3235838"/>
                </a:cubicBezTo>
                <a:cubicBezTo>
                  <a:pt x="1209229" y="3163413"/>
                  <a:pt x="1267829" y="3104687"/>
                  <a:pt x="1340279" y="3104687"/>
                </a:cubicBezTo>
                <a:close/>
                <a:moveTo>
                  <a:pt x="4296945" y="3078329"/>
                </a:moveTo>
                <a:cubicBezTo>
                  <a:pt x="4346019" y="3078329"/>
                  <a:pt x="4386046" y="3118147"/>
                  <a:pt x="4386046" y="3167499"/>
                </a:cubicBezTo>
                <a:cubicBezTo>
                  <a:pt x="4386046" y="3216691"/>
                  <a:pt x="4346098" y="3256669"/>
                  <a:pt x="4296945" y="3256669"/>
                </a:cubicBezTo>
                <a:cubicBezTo>
                  <a:pt x="4247791" y="3256669"/>
                  <a:pt x="4207924" y="3216691"/>
                  <a:pt x="4207924" y="3167499"/>
                </a:cubicBezTo>
                <a:cubicBezTo>
                  <a:pt x="4207924" y="3118227"/>
                  <a:pt x="4247711" y="3078329"/>
                  <a:pt x="4296945" y="3078329"/>
                </a:cubicBezTo>
                <a:close/>
                <a:moveTo>
                  <a:pt x="391148" y="3078168"/>
                </a:moveTo>
                <a:cubicBezTo>
                  <a:pt x="440382" y="3078168"/>
                  <a:pt x="480409" y="3118226"/>
                  <a:pt x="480329" y="3167258"/>
                </a:cubicBezTo>
                <a:cubicBezTo>
                  <a:pt x="480329" y="3216610"/>
                  <a:pt x="440382" y="3256508"/>
                  <a:pt x="391148" y="3256508"/>
                </a:cubicBezTo>
                <a:cubicBezTo>
                  <a:pt x="341914" y="3256508"/>
                  <a:pt x="302127" y="3216690"/>
                  <a:pt x="302127" y="3167258"/>
                </a:cubicBezTo>
                <a:cubicBezTo>
                  <a:pt x="302127" y="3118147"/>
                  <a:pt x="341914" y="3078168"/>
                  <a:pt x="391148" y="3078168"/>
                </a:cubicBezTo>
                <a:close/>
                <a:moveTo>
                  <a:pt x="1148227" y="2912647"/>
                </a:moveTo>
                <a:cubicBezTo>
                  <a:pt x="1220757" y="2912647"/>
                  <a:pt x="1279437" y="2971132"/>
                  <a:pt x="1279437" y="3043798"/>
                </a:cubicBezTo>
                <a:cubicBezTo>
                  <a:pt x="1279437" y="3116304"/>
                  <a:pt x="1220757" y="3174869"/>
                  <a:pt x="1148227" y="3174869"/>
                </a:cubicBezTo>
                <a:cubicBezTo>
                  <a:pt x="1075937" y="3174869"/>
                  <a:pt x="1017257" y="3116304"/>
                  <a:pt x="1017257" y="3043798"/>
                </a:cubicBezTo>
                <a:cubicBezTo>
                  <a:pt x="1017257" y="2971212"/>
                  <a:pt x="1075937" y="2912647"/>
                  <a:pt x="1148227" y="2912647"/>
                </a:cubicBezTo>
                <a:close/>
                <a:moveTo>
                  <a:pt x="3540026" y="2912086"/>
                </a:moveTo>
                <a:cubicBezTo>
                  <a:pt x="3612315" y="2912086"/>
                  <a:pt x="3670996" y="2970732"/>
                  <a:pt x="3670996" y="3043237"/>
                </a:cubicBezTo>
                <a:cubicBezTo>
                  <a:pt x="3670996" y="3115583"/>
                  <a:pt x="3612315" y="3174388"/>
                  <a:pt x="3540026" y="3174388"/>
                </a:cubicBezTo>
                <a:cubicBezTo>
                  <a:pt x="3467656" y="3174388"/>
                  <a:pt x="3408816" y="3115583"/>
                  <a:pt x="3408816" y="3043237"/>
                </a:cubicBezTo>
                <a:cubicBezTo>
                  <a:pt x="3408816" y="2970812"/>
                  <a:pt x="3467576" y="2912086"/>
                  <a:pt x="3540026" y="2912086"/>
                </a:cubicBezTo>
                <a:close/>
                <a:moveTo>
                  <a:pt x="3996499" y="2880680"/>
                </a:moveTo>
                <a:cubicBezTo>
                  <a:pt x="4058941" y="2880680"/>
                  <a:pt x="4109696" y="2931314"/>
                  <a:pt x="4109696" y="2993805"/>
                </a:cubicBezTo>
                <a:cubicBezTo>
                  <a:pt x="4109696" y="3056456"/>
                  <a:pt x="4058941" y="3107250"/>
                  <a:pt x="3996499" y="3107250"/>
                </a:cubicBezTo>
                <a:cubicBezTo>
                  <a:pt x="3934056" y="3107250"/>
                  <a:pt x="3883301" y="3056456"/>
                  <a:pt x="3883301" y="2993805"/>
                </a:cubicBezTo>
                <a:cubicBezTo>
                  <a:pt x="3883301" y="2931314"/>
                  <a:pt x="3934056" y="2880680"/>
                  <a:pt x="3996499" y="2880680"/>
                </a:cubicBezTo>
                <a:close/>
                <a:moveTo>
                  <a:pt x="691675" y="2880600"/>
                </a:moveTo>
                <a:cubicBezTo>
                  <a:pt x="754117" y="2880600"/>
                  <a:pt x="804872" y="2931234"/>
                  <a:pt x="804872" y="2993885"/>
                </a:cubicBezTo>
                <a:cubicBezTo>
                  <a:pt x="804872" y="3056376"/>
                  <a:pt x="754117" y="3107170"/>
                  <a:pt x="691675" y="3107170"/>
                </a:cubicBezTo>
                <a:cubicBezTo>
                  <a:pt x="629152" y="3107170"/>
                  <a:pt x="578477" y="3056376"/>
                  <a:pt x="578477" y="2993885"/>
                </a:cubicBezTo>
                <a:cubicBezTo>
                  <a:pt x="578477" y="2931234"/>
                  <a:pt x="629152" y="2880600"/>
                  <a:pt x="691675" y="2880600"/>
                </a:cubicBezTo>
                <a:close/>
                <a:moveTo>
                  <a:pt x="4737247" y="2846390"/>
                </a:moveTo>
                <a:cubicBezTo>
                  <a:pt x="4773832" y="2846390"/>
                  <a:pt x="4803292" y="2875873"/>
                  <a:pt x="4803292" y="2912326"/>
                </a:cubicBezTo>
                <a:cubicBezTo>
                  <a:pt x="4803292" y="2948940"/>
                  <a:pt x="4773832" y="2978583"/>
                  <a:pt x="4737247" y="2978583"/>
                </a:cubicBezTo>
                <a:cubicBezTo>
                  <a:pt x="4700902" y="2978583"/>
                  <a:pt x="4671282" y="2948940"/>
                  <a:pt x="4671282" y="2912326"/>
                </a:cubicBezTo>
                <a:cubicBezTo>
                  <a:pt x="4671282" y="2875873"/>
                  <a:pt x="4700822" y="2846390"/>
                  <a:pt x="4737247" y="2846390"/>
                </a:cubicBezTo>
                <a:close/>
                <a:moveTo>
                  <a:pt x="4463140" y="2721728"/>
                </a:moveTo>
                <a:cubicBezTo>
                  <a:pt x="4512213" y="2721728"/>
                  <a:pt x="4552160" y="2761786"/>
                  <a:pt x="4552160" y="2810898"/>
                </a:cubicBezTo>
                <a:cubicBezTo>
                  <a:pt x="4552160" y="2860170"/>
                  <a:pt x="4512213" y="2900068"/>
                  <a:pt x="4463140" y="2900068"/>
                </a:cubicBezTo>
                <a:cubicBezTo>
                  <a:pt x="4413745" y="2900068"/>
                  <a:pt x="4373798" y="2860170"/>
                  <a:pt x="4373798" y="2810898"/>
                </a:cubicBezTo>
                <a:cubicBezTo>
                  <a:pt x="4373798" y="2761786"/>
                  <a:pt x="4413745" y="2721728"/>
                  <a:pt x="4463140" y="2721728"/>
                </a:cubicBezTo>
                <a:close/>
                <a:moveTo>
                  <a:pt x="225114" y="2721728"/>
                </a:moveTo>
                <a:cubicBezTo>
                  <a:pt x="274268" y="2721728"/>
                  <a:pt x="314215" y="2761626"/>
                  <a:pt x="314215" y="2810898"/>
                </a:cubicBezTo>
                <a:cubicBezTo>
                  <a:pt x="314215" y="2860170"/>
                  <a:pt x="274268" y="2900068"/>
                  <a:pt x="225114" y="2900068"/>
                </a:cubicBezTo>
                <a:cubicBezTo>
                  <a:pt x="175720" y="2900068"/>
                  <a:pt x="135933" y="2860170"/>
                  <a:pt x="135933" y="2810898"/>
                </a:cubicBezTo>
                <a:cubicBezTo>
                  <a:pt x="135933" y="2761626"/>
                  <a:pt x="175720" y="2721728"/>
                  <a:pt x="225114" y="2721728"/>
                </a:cubicBezTo>
                <a:close/>
                <a:moveTo>
                  <a:pt x="3695973" y="2689041"/>
                </a:moveTo>
                <a:cubicBezTo>
                  <a:pt x="3768342" y="2689041"/>
                  <a:pt x="3827023" y="2747847"/>
                  <a:pt x="3827023" y="2820192"/>
                </a:cubicBezTo>
                <a:cubicBezTo>
                  <a:pt x="3827023" y="2892538"/>
                  <a:pt x="3768342" y="2951263"/>
                  <a:pt x="3695973" y="2951263"/>
                </a:cubicBezTo>
                <a:cubicBezTo>
                  <a:pt x="3623843" y="2951263"/>
                  <a:pt x="3564923" y="2892538"/>
                  <a:pt x="3564923" y="2820192"/>
                </a:cubicBezTo>
                <a:cubicBezTo>
                  <a:pt x="3564923" y="2747847"/>
                  <a:pt x="3623763" y="2689041"/>
                  <a:pt x="3695973" y="2689041"/>
                </a:cubicBezTo>
                <a:close/>
                <a:moveTo>
                  <a:pt x="992200" y="2689041"/>
                </a:moveTo>
                <a:cubicBezTo>
                  <a:pt x="1064489" y="2689041"/>
                  <a:pt x="1123170" y="2747847"/>
                  <a:pt x="1123170" y="2820192"/>
                </a:cubicBezTo>
                <a:cubicBezTo>
                  <a:pt x="1123170" y="2892538"/>
                  <a:pt x="1064489" y="2951264"/>
                  <a:pt x="992200" y="2951264"/>
                </a:cubicBezTo>
                <a:cubicBezTo>
                  <a:pt x="919750" y="2951264"/>
                  <a:pt x="860990" y="2892538"/>
                  <a:pt x="860990" y="2820192"/>
                </a:cubicBezTo>
                <a:cubicBezTo>
                  <a:pt x="860990" y="2747847"/>
                  <a:pt x="919750" y="2688961"/>
                  <a:pt x="992200" y="2689041"/>
                </a:cubicBezTo>
                <a:close/>
                <a:moveTo>
                  <a:pt x="4137075" y="2579040"/>
                </a:moveTo>
                <a:cubicBezTo>
                  <a:pt x="4199518" y="2579040"/>
                  <a:pt x="4250113" y="2629674"/>
                  <a:pt x="4250113" y="2692165"/>
                </a:cubicBezTo>
                <a:cubicBezTo>
                  <a:pt x="4250113" y="2754816"/>
                  <a:pt x="4199598" y="2805450"/>
                  <a:pt x="4137075" y="2805450"/>
                </a:cubicBezTo>
                <a:cubicBezTo>
                  <a:pt x="4074473" y="2805450"/>
                  <a:pt x="4023718" y="2754816"/>
                  <a:pt x="4023718" y="2692165"/>
                </a:cubicBezTo>
                <a:cubicBezTo>
                  <a:pt x="4023718" y="2629674"/>
                  <a:pt x="4074473" y="2579040"/>
                  <a:pt x="4137075" y="2579040"/>
                </a:cubicBezTo>
                <a:close/>
                <a:moveTo>
                  <a:pt x="551018" y="2578880"/>
                </a:moveTo>
                <a:cubicBezTo>
                  <a:pt x="613620" y="2578880"/>
                  <a:pt x="664375" y="2629594"/>
                  <a:pt x="664375" y="2692005"/>
                </a:cubicBezTo>
                <a:cubicBezTo>
                  <a:pt x="664375" y="2754656"/>
                  <a:pt x="613620" y="2805450"/>
                  <a:pt x="551018" y="2805450"/>
                </a:cubicBezTo>
                <a:cubicBezTo>
                  <a:pt x="488575" y="2805450"/>
                  <a:pt x="437980" y="2754656"/>
                  <a:pt x="437980" y="2692005"/>
                </a:cubicBezTo>
                <a:cubicBezTo>
                  <a:pt x="437980" y="2629674"/>
                  <a:pt x="488575" y="2578880"/>
                  <a:pt x="551018" y="2578880"/>
                </a:cubicBezTo>
                <a:close/>
                <a:moveTo>
                  <a:pt x="3811092" y="2442281"/>
                </a:moveTo>
                <a:cubicBezTo>
                  <a:pt x="3883381" y="2442281"/>
                  <a:pt x="3942062" y="2501007"/>
                  <a:pt x="3942062" y="2573432"/>
                </a:cubicBezTo>
                <a:cubicBezTo>
                  <a:pt x="3942062" y="2645858"/>
                  <a:pt x="3883381" y="2704583"/>
                  <a:pt x="3811092" y="2704583"/>
                </a:cubicBezTo>
                <a:cubicBezTo>
                  <a:pt x="3738562" y="2704583"/>
                  <a:pt x="3679802" y="2645858"/>
                  <a:pt x="3679882" y="2573432"/>
                </a:cubicBezTo>
                <a:cubicBezTo>
                  <a:pt x="3679882" y="2501007"/>
                  <a:pt x="3738562" y="2442281"/>
                  <a:pt x="3811092" y="2442281"/>
                </a:cubicBezTo>
                <a:close/>
                <a:moveTo>
                  <a:pt x="877161" y="2442201"/>
                </a:moveTo>
                <a:cubicBezTo>
                  <a:pt x="949450" y="2442201"/>
                  <a:pt x="1008291" y="2501007"/>
                  <a:pt x="1008211" y="2573352"/>
                </a:cubicBezTo>
                <a:cubicBezTo>
                  <a:pt x="1008211" y="2645778"/>
                  <a:pt x="949450" y="2704503"/>
                  <a:pt x="877161" y="2704503"/>
                </a:cubicBezTo>
                <a:cubicBezTo>
                  <a:pt x="804871" y="2704503"/>
                  <a:pt x="745951" y="2645858"/>
                  <a:pt x="745951" y="2573352"/>
                </a:cubicBezTo>
                <a:cubicBezTo>
                  <a:pt x="745951" y="2500927"/>
                  <a:pt x="804871" y="2442201"/>
                  <a:pt x="877161" y="2442201"/>
                </a:cubicBezTo>
                <a:close/>
                <a:moveTo>
                  <a:pt x="4564809" y="2341975"/>
                </a:moveTo>
                <a:cubicBezTo>
                  <a:pt x="4613963" y="2341975"/>
                  <a:pt x="4653910" y="2381873"/>
                  <a:pt x="4653910" y="2431145"/>
                </a:cubicBezTo>
                <a:cubicBezTo>
                  <a:pt x="4653910" y="2480337"/>
                  <a:pt x="4613963" y="2520315"/>
                  <a:pt x="4564809" y="2520315"/>
                </a:cubicBezTo>
                <a:cubicBezTo>
                  <a:pt x="4515575" y="2520315"/>
                  <a:pt x="4475628" y="2480337"/>
                  <a:pt x="4475628" y="2431145"/>
                </a:cubicBezTo>
                <a:cubicBezTo>
                  <a:pt x="4475628" y="2381873"/>
                  <a:pt x="4515575" y="2341975"/>
                  <a:pt x="4564809" y="2341975"/>
                </a:cubicBezTo>
                <a:close/>
                <a:moveTo>
                  <a:pt x="123365" y="2341975"/>
                </a:moveTo>
                <a:cubicBezTo>
                  <a:pt x="172679" y="2341975"/>
                  <a:pt x="212466" y="2381953"/>
                  <a:pt x="212466" y="2431145"/>
                </a:cubicBezTo>
                <a:cubicBezTo>
                  <a:pt x="212466" y="2480337"/>
                  <a:pt x="172679" y="2520315"/>
                  <a:pt x="123365" y="2520315"/>
                </a:cubicBezTo>
                <a:cubicBezTo>
                  <a:pt x="73971" y="2520315"/>
                  <a:pt x="34184" y="2480337"/>
                  <a:pt x="34184" y="2431145"/>
                </a:cubicBezTo>
                <a:cubicBezTo>
                  <a:pt x="34184" y="2381953"/>
                  <a:pt x="73971" y="2341975"/>
                  <a:pt x="123365" y="2341975"/>
                </a:cubicBezTo>
                <a:close/>
                <a:moveTo>
                  <a:pt x="4223054" y="2257692"/>
                </a:moveTo>
                <a:cubicBezTo>
                  <a:pt x="4285497" y="2257692"/>
                  <a:pt x="4336252" y="2308326"/>
                  <a:pt x="4336252" y="2370897"/>
                </a:cubicBezTo>
                <a:cubicBezTo>
                  <a:pt x="4336252" y="2433548"/>
                  <a:pt x="4285497" y="2484262"/>
                  <a:pt x="4223054" y="2484262"/>
                </a:cubicBezTo>
                <a:cubicBezTo>
                  <a:pt x="4160612" y="2484262"/>
                  <a:pt x="4109857" y="2433548"/>
                  <a:pt x="4109857" y="2370897"/>
                </a:cubicBezTo>
                <a:cubicBezTo>
                  <a:pt x="4109857" y="2308326"/>
                  <a:pt x="4160612" y="2257692"/>
                  <a:pt x="4223054" y="2257692"/>
                </a:cubicBezTo>
                <a:close/>
                <a:moveTo>
                  <a:pt x="464959" y="2257452"/>
                </a:moveTo>
                <a:cubicBezTo>
                  <a:pt x="527561" y="2257452"/>
                  <a:pt x="578156" y="2308246"/>
                  <a:pt x="578156" y="2370817"/>
                </a:cubicBezTo>
                <a:cubicBezTo>
                  <a:pt x="578156" y="2433469"/>
                  <a:pt x="527561" y="2484183"/>
                  <a:pt x="464959" y="2484183"/>
                </a:cubicBezTo>
                <a:cubicBezTo>
                  <a:pt x="402356" y="2484183"/>
                  <a:pt x="351921" y="2433469"/>
                  <a:pt x="351921" y="2370817"/>
                </a:cubicBezTo>
                <a:cubicBezTo>
                  <a:pt x="351921" y="2308246"/>
                  <a:pt x="402356" y="2257452"/>
                  <a:pt x="464959" y="2257452"/>
                </a:cubicBezTo>
                <a:close/>
                <a:moveTo>
                  <a:pt x="3881460" y="2179498"/>
                </a:moveTo>
                <a:cubicBezTo>
                  <a:pt x="3953909" y="2179498"/>
                  <a:pt x="4012510" y="2238224"/>
                  <a:pt x="4012510" y="2310569"/>
                </a:cubicBezTo>
                <a:cubicBezTo>
                  <a:pt x="4012510" y="2382995"/>
                  <a:pt x="3953909" y="2441800"/>
                  <a:pt x="3881460" y="2441800"/>
                </a:cubicBezTo>
                <a:cubicBezTo>
                  <a:pt x="3809171" y="2441800"/>
                  <a:pt x="3750330" y="2382995"/>
                  <a:pt x="3750330" y="2310569"/>
                </a:cubicBezTo>
                <a:cubicBezTo>
                  <a:pt x="3750330" y="2238224"/>
                  <a:pt x="3809171" y="2179498"/>
                  <a:pt x="3881460" y="2179498"/>
                </a:cubicBezTo>
                <a:close/>
                <a:moveTo>
                  <a:pt x="806713" y="2179498"/>
                </a:moveTo>
                <a:cubicBezTo>
                  <a:pt x="879082" y="2179498"/>
                  <a:pt x="937763" y="2238144"/>
                  <a:pt x="937763" y="2310569"/>
                </a:cubicBezTo>
                <a:cubicBezTo>
                  <a:pt x="937763" y="2382995"/>
                  <a:pt x="879162" y="2441800"/>
                  <a:pt x="806713" y="2441800"/>
                </a:cubicBezTo>
                <a:cubicBezTo>
                  <a:pt x="734423" y="2441800"/>
                  <a:pt x="675583" y="2382995"/>
                  <a:pt x="675583" y="2310569"/>
                </a:cubicBezTo>
                <a:cubicBezTo>
                  <a:pt x="675583" y="2238224"/>
                  <a:pt x="734343" y="2179498"/>
                  <a:pt x="806713" y="2179498"/>
                </a:cubicBezTo>
                <a:close/>
                <a:moveTo>
                  <a:pt x="89181" y="1950284"/>
                </a:moveTo>
                <a:cubicBezTo>
                  <a:pt x="138335" y="1950284"/>
                  <a:pt x="178282" y="1990262"/>
                  <a:pt x="178282" y="2039454"/>
                </a:cubicBezTo>
                <a:cubicBezTo>
                  <a:pt x="178282" y="2088726"/>
                  <a:pt x="138255" y="2128624"/>
                  <a:pt x="89181" y="2128624"/>
                </a:cubicBezTo>
                <a:cubicBezTo>
                  <a:pt x="39947" y="2128624"/>
                  <a:pt x="0" y="2088646"/>
                  <a:pt x="0" y="2039454"/>
                </a:cubicBezTo>
                <a:cubicBezTo>
                  <a:pt x="0" y="1990262"/>
                  <a:pt x="39947" y="1950284"/>
                  <a:pt x="89181" y="1950284"/>
                </a:cubicBezTo>
                <a:close/>
                <a:moveTo>
                  <a:pt x="4597391" y="1950204"/>
                </a:moveTo>
                <a:cubicBezTo>
                  <a:pt x="4646545" y="1950204"/>
                  <a:pt x="4686492" y="1990182"/>
                  <a:pt x="4686492" y="2039374"/>
                </a:cubicBezTo>
                <a:cubicBezTo>
                  <a:pt x="4686492" y="2088566"/>
                  <a:pt x="4646545" y="2128544"/>
                  <a:pt x="4597391" y="2128544"/>
                </a:cubicBezTo>
                <a:cubicBezTo>
                  <a:pt x="4547997" y="2128544"/>
                  <a:pt x="4508050" y="2088566"/>
                  <a:pt x="4508050" y="2039374"/>
                </a:cubicBezTo>
                <a:cubicBezTo>
                  <a:pt x="4508050" y="1990182"/>
                  <a:pt x="4547997" y="1950204"/>
                  <a:pt x="4597391" y="1950204"/>
                </a:cubicBezTo>
                <a:close/>
                <a:moveTo>
                  <a:pt x="4252194" y="1926169"/>
                </a:moveTo>
                <a:cubicBezTo>
                  <a:pt x="4314558" y="1926169"/>
                  <a:pt x="4365312" y="1976963"/>
                  <a:pt x="4365232" y="2039534"/>
                </a:cubicBezTo>
                <a:cubicBezTo>
                  <a:pt x="4365232" y="2102105"/>
                  <a:pt x="4314477" y="2152900"/>
                  <a:pt x="4252194" y="2152900"/>
                </a:cubicBezTo>
                <a:cubicBezTo>
                  <a:pt x="4189592" y="2152900"/>
                  <a:pt x="4138837" y="2102105"/>
                  <a:pt x="4138837" y="2039534"/>
                </a:cubicBezTo>
                <a:cubicBezTo>
                  <a:pt x="4138837" y="1977043"/>
                  <a:pt x="4189592" y="1926169"/>
                  <a:pt x="4252194" y="1926169"/>
                </a:cubicBezTo>
                <a:close/>
                <a:moveTo>
                  <a:pt x="436060" y="1926088"/>
                </a:moveTo>
                <a:cubicBezTo>
                  <a:pt x="498662" y="1926088"/>
                  <a:pt x="549257" y="1976962"/>
                  <a:pt x="549257" y="2039454"/>
                </a:cubicBezTo>
                <a:cubicBezTo>
                  <a:pt x="549257" y="2102025"/>
                  <a:pt x="498662" y="2152819"/>
                  <a:pt x="436060" y="2152819"/>
                </a:cubicBezTo>
                <a:cubicBezTo>
                  <a:pt x="373537" y="2152819"/>
                  <a:pt x="322862" y="2102105"/>
                  <a:pt x="322862" y="2039454"/>
                </a:cubicBezTo>
                <a:cubicBezTo>
                  <a:pt x="322862" y="1976962"/>
                  <a:pt x="373537" y="1926088"/>
                  <a:pt x="436060" y="1926088"/>
                </a:cubicBezTo>
                <a:close/>
                <a:moveTo>
                  <a:pt x="3905237" y="1908383"/>
                </a:moveTo>
                <a:cubicBezTo>
                  <a:pt x="3977606" y="1908383"/>
                  <a:pt x="4036287" y="1967109"/>
                  <a:pt x="4036287" y="2039534"/>
                </a:cubicBezTo>
                <a:cubicBezTo>
                  <a:pt x="4036287" y="2111960"/>
                  <a:pt x="3977686" y="2170685"/>
                  <a:pt x="3905237" y="2170685"/>
                </a:cubicBezTo>
                <a:cubicBezTo>
                  <a:pt x="3832787" y="2170685"/>
                  <a:pt x="3774107" y="2111960"/>
                  <a:pt x="3774107" y="2039534"/>
                </a:cubicBezTo>
                <a:cubicBezTo>
                  <a:pt x="3774107" y="1967109"/>
                  <a:pt x="3832787" y="1908383"/>
                  <a:pt x="3905237" y="1908383"/>
                </a:cubicBezTo>
                <a:close/>
                <a:moveTo>
                  <a:pt x="783097" y="1908383"/>
                </a:moveTo>
                <a:cubicBezTo>
                  <a:pt x="855386" y="1908383"/>
                  <a:pt x="914067" y="1967109"/>
                  <a:pt x="914067" y="2039534"/>
                </a:cubicBezTo>
                <a:cubicBezTo>
                  <a:pt x="914067" y="2111960"/>
                  <a:pt x="855386" y="2170685"/>
                  <a:pt x="783097" y="2170685"/>
                </a:cubicBezTo>
                <a:cubicBezTo>
                  <a:pt x="710567" y="2170685"/>
                  <a:pt x="651887" y="2111960"/>
                  <a:pt x="651887" y="2039534"/>
                </a:cubicBezTo>
                <a:cubicBezTo>
                  <a:pt x="651887" y="1967109"/>
                  <a:pt x="710487" y="1908383"/>
                  <a:pt x="783097" y="1908383"/>
                </a:cubicBezTo>
                <a:close/>
                <a:moveTo>
                  <a:pt x="3881460" y="1637027"/>
                </a:moveTo>
                <a:cubicBezTo>
                  <a:pt x="3953909" y="1637027"/>
                  <a:pt x="4012510" y="1695753"/>
                  <a:pt x="4012510" y="1768178"/>
                </a:cubicBezTo>
                <a:cubicBezTo>
                  <a:pt x="4012510" y="1840764"/>
                  <a:pt x="3953909" y="1899329"/>
                  <a:pt x="3881460" y="1899329"/>
                </a:cubicBezTo>
                <a:cubicBezTo>
                  <a:pt x="3809171" y="1899329"/>
                  <a:pt x="3750330" y="1840764"/>
                  <a:pt x="3750330" y="1768178"/>
                </a:cubicBezTo>
                <a:cubicBezTo>
                  <a:pt x="3750330" y="1695753"/>
                  <a:pt x="3809171" y="1637027"/>
                  <a:pt x="3881460" y="1637027"/>
                </a:cubicBezTo>
                <a:close/>
                <a:moveTo>
                  <a:pt x="806633" y="1637027"/>
                </a:moveTo>
                <a:cubicBezTo>
                  <a:pt x="879002" y="1637027"/>
                  <a:pt x="937683" y="1695753"/>
                  <a:pt x="937683" y="1768178"/>
                </a:cubicBezTo>
                <a:cubicBezTo>
                  <a:pt x="937683" y="1840764"/>
                  <a:pt x="879082" y="1899329"/>
                  <a:pt x="806633" y="1899329"/>
                </a:cubicBezTo>
                <a:cubicBezTo>
                  <a:pt x="734343" y="1899329"/>
                  <a:pt x="675583" y="1840764"/>
                  <a:pt x="675503" y="1768178"/>
                </a:cubicBezTo>
                <a:cubicBezTo>
                  <a:pt x="675503" y="1695753"/>
                  <a:pt x="734343" y="1637027"/>
                  <a:pt x="806633" y="1637027"/>
                </a:cubicBezTo>
                <a:close/>
                <a:moveTo>
                  <a:pt x="4222975" y="1594645"/>
                </a:moveTo>
                <a:cubicBezTo>
                  <a:pt x="4285417" y="1594645"/>
                  <a:pt x="4336172" y="1645199"/>
                  <a:pt x="4336172" y="1707850"/>
                </a:cubicBezTo>
                <a:cubicBezTo>
                  <a:pt x="4336172" y="1770421"/>
                  <a:pt x="4285417" y="1821215"/>
                  <a:pt x="4222975" y="1821215"/>
                </a:cubicBezTo>
                <a:cubicBezTo>
                  <a:pt x="4160532" y="1821215"/>
                  <a:pt x="4109777" y="1770421"/>
                  <a:pt x="4109777" y="1707850"/>
                </a:cubicBezTo>
                <a:cubicBezTo>
                  <a:pt x="4109777" y="1645199"/>
                  <a:pt x="4160532" y="1594645"/>
                  <a:pt x="4222975" y="1594645"/>
                </a:cubicBezTo>
                <a:close/>
                <a:moveTo>
                  <a:pt x="464959" y="1594645"/>
                </a:moveTo>
                <a:cubicBezTo>
                  <a:pt x="527561" y="1594645"/>
                  <a:pt x="578156" y="1645359"/>
                  <a:pt x="578156" y="1707850"/>
                </a:cubicBezTo>
                <a:cubicBezTo>
                  <a:pt x="578156" y="1770421"/>
                  <a:pt x="527561" y="1821215"/>
                  <a:pt x="464959" y="1821215"/>
                </a:cubicBezTo>
                <a:cubicBezTo>
                  <a:pt x="402356" y="1821215"/>
                  <a:pt x="351921" y="1770421"/>
                  <a:pt x="351921" y="1707850"/>
                </a:cubicBezTo>
                <a:cubicBezTo>
                  <a:pt x="351921" y="1645359"/>
                  <a:pt x="402356" y="1594645"/>
                  <a:pt x="464959" y="1594645"/>
                </a:cubicBezTo>
                <a:close/>
                <a:moveTo>
                  <a:pt x="123365" y="1558432"/>
                </a:moveTo>
                <a:cubicBezTo>
                  <a:pt x="172679" y="1558432"/>
                  <a:pt x="212466" y="1598250"/>
                  <a:pt x="212466" y="1647602"/>
                </a:cubicBezTo>
                <a:cubicBezTo>
                  <a:pt x="212466" y="1696794"/>
                  <a:pt x="172679" y="1736772"/>
                  <a:pt x="123365" y="1736772"/>
                </a:cubicBezTo>
                <a:cubicBezTo>
                  <a:pt x="74051" y="1736772"/>
                  <a:pt x="34184" y="1696874"/>
                  <a:pt x="34184" y="1647602"/>
                </a:cubicBezTo>
                <a:cubicBezTo>
                  <a:pt x="34184" y="1598250"/>
                  <a:pt x="73971" y="1558432"/>
                  <a:pt x="123365" y="1558432"/>
                </a:cubicBezTo>
                <a:close/>
                <a:moveTo>
                  <a:pt x="2354654" y="1508840"/>
                </a:moveTo>
                <a:cubicBezTo>
                  <a:pt x="2643972" y="1508840"/>
                  <a:pt x="2878373" y="1743582"/>
                  <a:pt x="2878293" y="2032884"/>
                </a:cubicBezTo>
                <a:cubicBezTo>
                  <a:pt x="2878293" y="2322426"/>
                  <a:pt x="2643972" y="2556928"/>
                  <a:pt x="2354654" y="2556928"/>
                </a:cubicBezTo>
                <a:cubicBezTo>
                  <a:pt x="2065656" y="2556928"/>
                  <a:pt x="1831015" y="2322426"/>
                  <a:pt x="1831015" y="2032884"/>
                </a:cubicBezTo>
                <a:cubicBezTo>
                  <a:pt x="1831015" y="1743582"/>
                  <a:pt x="2065656" y="1508840"/>
                  <a:pt x="2354654" y="1508840"/>
                </a:cubicBezTo>
                <a:close/>
                <a:moveTo>
                  <a:pt x="3811092" y="1374003"/>
                </a:moveTo>
                <a:cubicBezTo>
                  <a:pt x="3883381" y="1374003"/>
                  <a:pt x="3942142" y="1432649"/>
                  <a:pt x="3942142" y="1505074"/>
                </a:cubicBezTo>
                <a:cubicBezTo>
                  <a:pt x="3942142" y="1577580"/>
                  <a:pt x="3883381" y="1636306"/>
                  <a:pt x="3811092" y="1636306"/>
                </a:cubicBezTo>
                <a:cubicBezTo>
                  <a:pt x="3738642" y="1636306"/>
                  <a:pt x="3679962" y="1577580"/>
                  <a:pt x="3679962" y="1505074"/>
                </a:cubicBezTo>
                <a:cubicBezTo>
                  <a:pt x="3679962" y="1432729"/>
                  <a:pt x="3738642" y="1374003"/>
                  <a:pt x="3811092" y="1374003"/>
                </a:cubicBezTo>
                <a:close/>
                <a:moveTo>
                  <a:pt x="877161" y="1374003"/>
                </a:moveTo>
                <a:cubicBezTo>
                  <a:pt x="949450" y="1374003"/>
                  <a:pt x="1008211" y="1432649"/>
                  <a:pt x="1008211" y="1505074"/>
                </a:cubicBezTo>
                <a:cubicBezTo>
                  <a:pt x="1008211" y="1577580"/>
                  <a:pt x="949450" y="1636306"/>
                  <a:pt x="877161" y="1636306"/>
                </a:cubicBezTo>
                <a:cubicBezTo>
                  <a:pt x="804871" y="1636306"/>
                  <a:pt x="745951" y="1577580"/>
                  <a:pt x="745951" y="1505074"/>
                </a:cubicBezTo>
                <a:cubicBezTo>
                  <a:pt x="745951" y="1432729"/>
                  <a:pt x="804871" y="1374003"/>
                  <a:pt x="877161" y="1374003"/>
                </a:cubicBezTo>
                <a:close/>
                <a:moveTo>
                  <a:pt x="2232810" y="1301498"/>
                </a:moveTo>
                <a:cubicBezTo>
                  <a:pt x="2214317" y="1359262"/>
                  <a:pt x="2162041" y="1401804"/>
                  <a:pt x="2098078" y="1401804"/>
                </a:cubicBezTo>
                <a:cubicBezTo>
                  <a:pt x="2060532" y="1401804"/>
                  <a:pt x="2027229" y="1386502"/>
                  <a:pt x="2001611" y="1363027"/>
                </a:cubicBezTo>
                <a:cubicBezTo>
                  <a:pt x="2002092" y="1368555"/>
                  <a:pt x="2004734" y="1373042"/>
                  <a:pt x="2004734" y="1378650"/>
                </a:cubicBezTo>
                <a:cubicBezTo>
                  <a:pt x="2004734" y="1458046"/>
                  <a:pt x="1940450" y="1522220"/>
                  <a:pt x="1861195" y="1522220"/>
                </a:cubicBezTo>
                <a:cubicBezTo>
                  <a:pt x="1844784" y="1522220"/>
                  <a:pt x="1829093" y="1519335"/>
                  <a:pt x="1814443" y="1514288"/>
                </a:cubicBezTo>
                <a:cubicBezTo>
                  <a:pt x="1816605" y="1524142"/>
                  <a:pt x="1817806" y="1534397"/>
                  <a:pt x="1817806" y="1544973"/>
                </a:cubicBezTo>
                <a:cubicBezTo>
                  <a:pt x="1817806" y="1620122"/>
                  <a:pt x="1760006" y="1681652"/>
                  <a:pt x="1686356" y="1687901"/>
                </a:cubicBezTo>
                <a:cubicBezTo>
                  <a:pt x="1706129" y="1712497"/>
                  <a:pt x="1718057" y="1743663"/>
                  <a:pt x="1718057" y="1777712"/>
                </a:cubicBezTo>
                <a:cubicBezTo>
                  <a:pt x="1718057" y="1849577"/>
                  <a:pt x="1664420" y="1906300"/>
                  <a:pt x="1595974" y="1916955"/>
                </a:cubicBezTo>
                <a:cubicBezTo>
                  <a:pt x="1638643" y="1941792"/>
                  <a:pt x="1668663" y="1986256"/>
                  <a:pt x="1668663" y="2039374"/>
                </a:cubicBezTo>
                <a:cubicBezTo>
                  <a:pt x="1668663" y="2092411"/>
                  <a:pt x="1638643" y="2136796"/>
                  <a:pt x="1595974" y="2161712"/>
                </a:cubicBezTo>
                <a:cubicBezTo>
                  <a:pt x="1664420" y="2172368"/>
                  <a:pt x="1718057" y="2229251"/>
                  <a:pt x="1718057" y="2300955"/>
                </a:cubicBezTo>
                <a:cubicBezTo>
                  <a:pt x="1718057" y="2335966"/>
                  <a:pt x="1704048" y="2367052"/>
                  <a:pt x="1683153" y="2391888"/>
                </a:cubicBezTo>
                <a:cubicBezTo>
                  <a:pt x="1757925" y="2396775"/>
                  <a:pt x="1817806" y="2457504"/>
                  <a:pt x="1817806" y="2533614"/>
                </a:cubicBezTo>
                <a:cubicBezTo>
                  <a:pt x="1817806" y="2545392"/>
                  <a:pt x="1813723" y="2555727"/>
                  <a:pt x="1811241" y="2566542"/>
                </a:cubicBezTo>
                <a:cubicBezTo>
                  <a:pt x="1826772" y="2560694"/>
                  <a:pt x="1843503" y="2556448"/>
                  <a:pt x="1861195" y="2556448"/>
                </a:cubicBezTo>
                <a:cubicBezTo>
                  <a:pt x="1940530" y="2556448"/>
                  <a:pt x="2004734" y="2620782"/>
                  <a:pt x="2004734" y="2700097"/>
                </a:cubicBezTo>
                <a:cubicBezTo>
                  <a:pt x="2004734" y="2705705"/>
                  <a:pt x="2002172" y="2710352"/>
                  <a:pt x="2001611" y="2715800"/>
                </a:cubicBezTo>
                <a:cubicBezTo>
                  <a:pt x="2027309" y="2692326"/>
                  <a:pt x="2060612" y="2677184"/>
                  <a:pt x="2098078" y="2677184"/>
                </a:cubicBezTo>
                <a:cubicBezTo>
                  <a:pt x="2162041" y="2677184"/>
                  <a:pt x="2214237" y="2719485"/>
                  <a:pt x="2232810" y="2777250"/>
                </a:cubicBezTo>
                <a:cubicBezTo>
                  <a:pt x="2259148" y="2743761"/>
                  <a:pt x="2298055" y="2720847"/>
                  <a:pt x="2344006" y="2720847"/>
                </a:cubicBezTo>
                <a:cubicBezTo>
                  <a:pt x="2389878" y="2720847"/>
                  <a:pt x="2429024" y="2743761"/>
                  <a:pt x="2455202" y="2777330"/>
                </a:cubicBezTo>
                <a:cubicBezTo>
                  <a:pt x="2473775" y="2719566"/>
                  <a:pt x="2525971" y="2677104"/>
                  <a:pt x="2589855" y="2677104"/>
                </a:cubicBezTo>
                <a:cubicBezTo>
                  <a:pt x="2627481" y="2677104"/>
                  <a:pt x="2660863" y="2692246"/>
                  <a:pt x="2686401" y="2715720"/>
                </a:cubicBezTo>
                <a:cubicBezTo>
                  <a:pt x="2685840" y="2710272"/>
                  <a:pt x="2683119" y="2705625"/>
                  <a:pt x="2683119" y="2700017"/>
                </a:cubicBezTo>
                <a:cubicBezTo>
                  <a:pt x="2683119" y="2620782"/>
                  <a:pt x="2747403" y="2556448"/>
                  <a:pt x="2826737" y="2556528"/>
                </a:cubicBezTo>
                <a:cubicBezTo>
                  <a:pt x="2844509" y="2556528"/>
                  <a:pt x="2861081" y="2560774"/>
                  <a:pt x="2876771" y="2566623"/>
                </a:cubicBezTo>
                <a:cubicBezTo>
                  <a:pt x="2874049" y="2555807"/>
                  <a:pt x="2870207" y="2545392"/>
                  <a:pt x="2870207" y="2533694"/>
                </a:cubicBezTo>
                <a:cubicBezTo>
                  <a:pt x="2870207" y="2457583"/>
                  <a:pt x="2929848" y="2396855"/>
                  <a:pt x="3004859" y="2391968"/>
                </a:cubicBezTo>
                <a:cubicBezTo>
                  <a:pt x="2983885" y="2367132"/>
                  <a:pt x="2969795" y="2336127"/>
                  <a:pt x="2969795" y="2301035"/>
                </a:cubicBezTo>
                <a:cubicBezTo>
                  <a:pt x="2969795" y="2229331"/>
                  <a:pt x="3023272" y="2172448"/>
                  <a:pt x="3092039" y="2161792"/>
                </a:cubicBezTo>
                <a:cubicBezTo>
                  <a:pt x="3049290" y="2136876"/>
                  <a:pt x="3019109" y="2092411"/>
                  <a:pt x="3019109" y="2039454"/>
                </a:cubicBezTo>
                <a:cubicBezTo>
                  <a:pt x="3019109" y="1986336"/>
                  <a:pt x="3049210" y="1941871"/>
                  <a:pt x="3092039" y="1917035"/>
                </a:cubicBezTo>
                <a:cubicBezTo>
                  <a:pt x="3023272" y="1906380"/>
                  <a:pt x="2969795" y="1849657"/>
                  <a:pt x="2969795" y="1777792"/>
                </a:cubicBezTo>
                <a:cubicBezTo>
                  <a:pt x="2969795" y="1742781"/>
                  <a:pt x="2983885" y="1711696"/>
                  <a:pt x="3004859" y="1686860"/>
                </a:cubicBezTo>
                <a:cubicBezTo>
                  <a:pt x="2929848" y="1682053"/>
                  <a:pt x="2870207" y="1621244"/>
                  <a:pt x="2870207" y="1545053"/>
                </a:cubicBezTo>
                <a:cubicBezTo>
                  <a:pt x="2870207" y="1533436"/>
                  <a:pt x="2874049" y="1523021"/>
                  <a:pt x="2876771" y="1512205"/>
                </a:cubicBezTo>
                <a:cubicBezTo>
                  <a:pt x="2861161" y="1518054"/>
                  <a:pt x="2844509" y="1522220"/>
                  <a:pt x="2826737" y="1522220"/>
                </a:cubicBezTo>
                <a:cubicBezTo>
                  <a:pt x="2747323" y="1522220"/>
                  <a:pt x="2683119" y="1458046"/>
                  <a:pt x="2683119" y="1378650"/>
                </a:cubicBezTo>
                <a:cubicBezTo>
                  <a:pt x="2683119" y="1373042"/>
                  <a:pt x="2685840" y="1368555"/>
                  <a:pt x="2686401" y="1363027"/>
                </a:cubicBezTo>
                <a:cubicBezTo>
                  <a:pt x="2660863" y="1386582"/>
                  <a:pt x="2627481" y="1401804"/>
                  <a:pt x="2589855" y="1401804"/>
                </a:cubicBezTo>
                <a:cubicBezTo>
                  <a:pt x="2525971" y="1401804"/>
                  <a:pt x="2473775" y="1359262"/>
                  <a:pt x="2455202" y="1301578"/>
                </a:cubicBezTo>
                <a:cubicBezTo>
                  <a:pt x="2428944" y="1334987"/>
                  <a:pt x="2389878" y="1357900"/>
                  <a:pt x="2344006" y="1357900"/>
                </a:cubicBezTo>
                <a:cubicBezTo>
                  <a:pt x="2297975" y="1357900"/>
                  <a:pt x="2259148" y="1334987"/>
                  <a:pt x="2232810" y="1301498"/>
                </a:cubicBezTo>
                <a:close/>
                <a:moveTo>
                  <a:pt x="551018" y="1273136"/>
                </a:moveTo>
                <a:cubicBezTo>
                  <a:pt x="613620" y="1273136"/>
                  <a:pt x="664375" y="1323850"/>
                  <a:pt x="664375" y="1386502"/>
                </a:cubicBezTo>
                <a:cubicBezTo>
                  <a:pt x="664375" y="1448912"/>
                  <a:pt x="613620" y="1499787"/>
                  <a:pt x="551018" y="1499787"/>
                </a:cubicBezTo>
                <a:cubicBezTo>
                  <a:pt x="488575" y="1499787"/>
                  <a:pt x="437980" y="1448832"/>
                  <a:pt x="437980" y="1386502"/>
                </a:cubicBezTo>
                <a:cubicBezTo>
                  <a:pt x="437980" y="1323850"/>
                  <a:pt x="488575" y="1273136"/>
                  <a:pt x="551018" y="1273136"/>
                </a:cubicBezTo>
                <a:close/>
                <a:moveTo>
                  <a:pt x="4137076" y="1273056"/>
                </a:moveTo>
                <a:cubicBezTo>
                  <a:pt x="4199518" y="1273056"/>
                  <a:pt x="4250273" y="1323850"/>
                  <a:pt x="4250273" y="1386261"/>
                </a:cubicBezTo>
                <a:cubicBezTo>
                  <a:pt x="4250273" y="1448912"/>
                  <a:pt x="4199518" y="1499626"/>
                  <a:pt x="4137076" y="1499626"/>
                </a:cubicBezTo>
                <a:cubicBezTo>
                  <a:pt x="4074473" y="1499626"/>
                  <a:pt x="4023878" y="1448912"/>
                  <a:pt x="4023878" y="1386261"/>
                </a:cubicBezTo>
                <a:cubicBezTo>
                  <a:pt x="4023878" y="1323850"/>
                  <a:pt x="4074473" y="1273056"/>
                  <a:pt x="4137076" y="1273056"/>
                </a:cubicBezTo>
                <a:close/>
                <a:moveTo>
                  <a:pt x="3694852" y="1127163"/>
                </a:moveTo>
                <a:cubicBezTo>
                  <a:pt x="3767142" y="1127163"/>
                  <a:pt x="3825821" y="1185889"/>
                  <a:pt x="3825821" y="1258314"/>
                </a:cubicBezTo>
                <a:cubicBezTo>
                  <a:pt x="3825821" y="1330820"/>
                  <a:pt x="3767142" y="1389546"/>
                  <a:pt x="3694852" y="1389546"/>
                </a:cubicBezTo>
                <a:cubicBezTo>
                  <a:pt x="3622242" y="1389546"/>
                  <a:pt x="3563802" y="1330900"/>
                  <a:pt x="3563802" y="1258314"/>
                </a:cubicBezTo>
                <a:cubicBezTo>
                  <a:pt x="3563802" y="1185889"/>
                  <a:pt x="3622242" y="1127163"/>
                  <a:pt x="3694852" y="1127163"/>
                </a:cubicBezTo>
                <a:close/>
                <a:moveTo>
                  <a:pt x="992120" y="1127163"/>
                </a:moveTo>
                <a:cubicBezTo>
                  <a:pt x="1064410" y="1127163"/>
                  <a:pt x="1123090" y="1185889"/>
                  <a:pt x="1123090" y="1258314"/>
                </a:cubicBezTo>
                <a:cubicBezTo>
                  <a:pt x="1123090" y="1330820"/>
                  <a:pt x="1064410" y="1389546"/>
                  <a:pt x="992120" y="1389546"/>
                </a:cubicBezTo>
                <a:cubicBezTo>
                  <a:pt x="919750" y="1389546"/>
                  <a:pt x="860990" y="1330900"/>
                  <a:pt x="860910" y="1258314"/>
                </a:cubicBezTo>
                <a:cubicBezTo>
                  <a:pt x="860910" y="1185889"/>
                  <a:pt x="919670" y="1127163"/>
                  <a:pt x="992120" y="1127163"/>
                </a:cubicBezTo>
                <a:close/>
                <a:moveTo>
                  <a:pt x="2344006" y="1070601"/>
                </a:moveTo>
                <a:cubicBezTo>
                  <a:pt x="2407970" y="1070601"/>
                  <a:pt x="2460086" y="1113063"/>
                  <a:pt x="2478739" y="1170827"/>
                </a:cubicBezTo>
                <a:cubicBezTo>
                  <a:pt x="2505077" y="1137258"/>
                  <a:pt x="2544063" y="1114345"/>
                  <a:pt x="2589775" y="1114345"/>
                </a:cubicBezTo>
                <a:cubicBezTo>
                  <a:pt x="2669189" y="1114345"/>
                  <a:pt x="2733393" y="1178679"/>
                  <a:pt x="2733393" y="1258074"/>
                </a:cubicBezTo>
                <a:cubicBezTo>
                  <a:pt x="2733393" y="1263602"/>
                  <a:pt x="2730911" y="1268249"/>
                  <a:pt x="2730271" y="1273617"/>
                </a:cubicBezTo>
                <a:cubicBezTo>
                  <a:pt x="2755809" y="1250143"/>
                  <a:pt x="2789352" y="1235081"/>
                  <a:pt x="2826737" y="1235081"/>
                </a:cubicBezTo>
                <a:cubicBezTo>
                  <a:pt x="2906071" y="1235081"/>
                  <a:pt x="2970275" y="1299335"/>
                  <a:pt x="2970275" y="1378570"/>
                </a:cubicBezTo>
                <a:cubicBezTo>
                  <a:pt x="2970275" y="1390187"/>
                  <a:pt x="2966193" y="1400602"/>
                  <a:pt x="2963711" y="1411418"/>
                </a:cubicBezTo>
                <a:cubicBezTo>
                  <a:pt x="2979242" y="1405409"/>
                  <a:pt x="2995973" y="1401243"/>
                  <a:pt x="3013665" y="1401243"/>
                </a:cubicBezTo>
                <a:cubicBezTo>
                  <a:pt x="3093080" y="1401243"/>
                  <a:pt x="3157204" y="1465657"/>
                  <a:pt x="3157204" y="1544893"/>
                </a:cubicBezTo>
                <a:cubicBezTo>
                  <a:pt x="3157204" y="1579984"/>
                  <a:pt x="3143194" y="1610909"/>
                  <a:pt x="3122299" y="1635745"/>
                </a:cubicBezTo>
                <a:cubicBezTo>
                  <a:pt x="3197311" y="1640632"/>
                  <a:pt x="3256952" y="1701441"/>
                  <a:pt x="3256952" y="1777632"/>
                </a:cubicBezTo>
                <a:cubicBezTo>
                  <a:pt x="3256952" y="1830749"/>
                  <a:pt x="3226931" y="1875134"/>
                  <a:pt x="3184102" y="1899971"/>
                </a:cubicBezTo>
                <a:cubicBezTo>
                  <a:pt x="3252789" y="1910786"/>
                  <a:pt x="3306186" y="1967669"/>
                  <a:pt x="3306186" y="2039374"/>
                </a:cubicBezTo>
                <a:cubicBezTo>
                  <a:pt x="3306186" y="2111078"/>
                  <a:pt x="3252869" y="2167801"/>
                  <a:pt x="3184102" y="2178617"/>
                </a:cubicBezTo>
                <a:cubicBezTo>
                  <a:pt x="3226931" y="2203453"/>
                  <a:pt x="3256952" y="2247838"/>
                  <a:pt x="3256952" y="2300955"/>
                </a:cubicBezTo>
                <a:cubicBezTo>
                  <a:pt x="3256952" y="2377146"/>
                  <a:pt x="3197311" y="2437955"/>
                  <a:pt x="3122299" y="2442842"/>
                </a:cubicBezTo>
                <a:cubicBezTo>
                  <a:pt x="3143114" y="2467678"/>
                  <a:pt x="3157204" y="2498603"/>
                  <a:pt x="3157204" y="2533614"/>
                </a:cubicBezTo>
                <a:cubicBezTo>
                  <a:pt x="3157204" y="2613090"/>
                  <a:pt x="3093080" y="2677344"/>
                  <a:pt x="3013665" y="2677344"/>
                </a:cubicBezTo>
                <a:cubicBezTo>
                  <a:pt x="2995893" y="2677344"/>
                  <a:pt x="2979242" y="2673098"/>
                  <a:pt x="2963711" y="2667249"/>
                </a:cubicBezTo>
                <a:cubicBezTo>
                  <a:pt x="2966193" y="2678065"/>
                  <a:pt x="2970275" y="2688400"/>
                  <a:pt x="2970275" y="2700017"/>
                </a:cubicBezTo>
                <a:cubicBezTo>
                  <a:pt x="2970275" y="2779413"/>
                  <a:pt x="2906071" y="2843747"/>
                  <a:pt x="2826817" y="2843827"/>
                </a:cubicBezTo>
                <a:cubicBezTo>
                  <a:pt x="2789431" y="2843827"/>
                  <a:pt x="2755888" y="2828524"/>
                  <a:pt x="2730351" y="2805050"/>
                </a:cubicBezTo>
                <a:cubicBezTo>
                  <a:pt x="2730991" y="2810338"/>
                  <a:pt x="2733473" y="2815145"/>
                  <a:pt x="2733473" y="2820593"/>
                </a:cubicBezTo>
                <a:cubicBezTo>
                  <a:pt x="2733473" y="2899989"/>
                  <a:pt x="2669269" y="2964242"/>
                  <a:pt x="2589855" y="2964242"/>
                </a:cubicBezTo>
                <a:cubicBezTo>
                  <a:pt x="2544143" y="2964242"/>
                  <a:pt x="2505157" y="2941249"/>
                  <a:pt x="2478819" y="2907840"/>
                </a:cubicBezTo>
                <a:cubicBezTo>
                  <a:pt x="2460166" y="2965444"/>
                  <a:pt x="2407970" y="3008146"/>
                  <a:pt x="2344086" y="3008146"/>
                </a:cubicBezTo>
                <a:cubicBezTo>
                  <a:pt x="2280122" y="3008146"/>
                  <a:pt x="2227927" y="2965444"/>
                  <a:pt x="2209354" y="2907840"/>
                </a:cubicBezTo>
                <a:cubicBezTo>
                  <a:pt x="2183016" y="2941329"/>
                  <a:pt x="2144109" y="2964242"/>
                  <a:pt x="2098158" y="2964242"/>
                </a:cubicBezTo>
                <a:cubicBezTo>
                  <a:pt x="2018903" y="2964242"/>
                  <a:pt x="1954699" y="2899909"/>
                  <a:pt x="1954699" y="2820593"/>
                </a:cubicBezTo>
                <a:cubicBezTo>
                  <a:pt x="1954699" y="2815145"/>
                  <a:pt x="1957261" y="2810338"/>
                  <a:pt x="1957822" y="2805050"/>
                </a:cubicBezTo>
                <a:cubicBezTo>
                  <a:pt x="1932124" y="2828524"/>
                  <a:pt x="1898901" y="2843827"/>
                  <a:pt x="1861355" y="2843827"/>
                </a:cubicBezTo>
                <a:cubicBezTo>
                  <a:pt x="1782101" y="2843827"/>
                  <a:pt x="1717977" y="2779413"/>
                  <a:pt x="1717977" y="2700097"/>
                </a:cubicBezTo>
                <a:cubicBezTo>
                  <a:pt x="1717977" y="2688480"/>
                  <a:pt x="1721820" y="2678145"/>
                  <a:pt x="1724542" y="2667329"/>
                </a:cubicBezTo>
                <a:cubicBezTo>
                  <a:pt x="1708931" y="2673178"/>
                  <a:pt x="1692280" y="2677424"/>
                  <a:pt x="1674507" y="2677424"/>
                </a:cubicBezTo>
                <a:cubicBezTo>
                  <a:pt x="1595093" y="2677424"/>
                  <a:pt x="1530889" y="2613170"/>
                  <a:pt x="1530889" y="2533694"/>
                </a:cubicBezTo>
                <a:cubicBezTo>
                  <a:pt x="1530889" y="2498683"/>
                  <a:pt x="1545059" y="2467758"/>
                  <a:pt x="1565793" y="2442922"/>
                </a:cubicBezTo>
                <a:cubicBezTo>
                  <a:pt x="1491022" y="2438035"/>
                  <a:pt x="1431301" y="2377226"/>
                  <a:pt x="1431301" y="2301035"/>
                </a:cubicBezTo>
                <a:cubicBezTo>
                  <a:pt x="1431301" y="2247918"/>
                  <a:pt x="1461321" y="2203533"/>
                  <a:pt x="1504151" y="2178697"/>
                </a:cubicBezTo>
                <a:cubicBezTo>
                  <a:pt x="1435384" y="2167881"/>
                  <a:pt x="1382067" y="2111239"/>
                  <a:pt x="1382067" y="2039454"/>
                </a:cubicBezTo>
                <a:cubicBezTo>
                  <a:pt x="1382067" y="1967669"/>
                  <a:pt x="1435384" y="1910866"/>
                  <a:pt x="1504151" y="1900050"/>
                </a:cubicBezTo>
                <a:cubicBezTo>
                  <a:pt x="1461321" y="1875214"/>
                  <a:pt x="1431301" y="1830830"/>
                  <a:pt x="1431301" y="1777712"/>
                </a:cubicBezTo>
                <a:cubicBezTo>
                  <a:pt x="1431301" y="1702563"/>
                  <a:pt x="1489020" y="1640953"/>
                  <a:pt x="1562671" y="1634784"/>
                </a:cubicBezTo>
                <a:cubicBezTo>
                  <a:pt x="1542897" y="1610188"/>
                  <a:pt x="1530969" y="1579023"/>
                  <a:pt x="1530969" y="1544973"/>
                </a:cubicBezTo>
                <a:cubicBezTo>
                  <a:pt x="1530969" y="1465737"/>
                  <a:pt x="1595173" y="1401323"/>
                  <a:pt x="1674267" y="1401323"/>
                </a:cubicBezTo>
                <a:cubicBezTo>
                  <a:pt x="1690759" y="1401323"/>
                  <a:pt x="1706529" y="1404208"/>
                  <a:pt x="1721259" y="1409335"/>
                </a:cubicBezTo>
                <a:cubicBezTo>
                  <a:pt x="1719098" y="1399401"/>
                  <a:pt x="1717897" y="1389146"/>
                  <a:pt x="1717897" y="1378570"/>
                </a:cubicBezTo>
                <a:cubicBezTo>
                  <a:pt x="1717897" y="1299415"/>
                  <a:pt x="1782021" y="1235081"/>
                  <a:pt x="1861275" y="1235081"/>
                </a:cubicBezTo>
                <a:cubicBezTo>
                  <a:pt x="1898821" y="1235081"/>
                  <a:pt x="1932124" y="1250143"/>
                  <a:pt x="1957742" y="1273617"/>
                </a:cubicBezTo>
                <a:cubicBezTo>
                  <a:pt x="1957181" y="1268249"/>
                  <a:pt x="1954619" y="1263522"/>
                  <a:pt x="1954619" y="1258074"/>
                </a:cubicBezTo>
                <a:cubicBezTo>
                  <a:pt x="1954619" y="1178679"/>
                  <a:pt x="2018823" y="1114345"/>
                  <a:pt x="2098078" y="1114345"/>
                </a:cubicBezTo>
                <a:cubicBezTo>
                  <a:pt x="2144109" y="1114345"/>
                  <a:pt x="2182936" y="1137258"/>
                  <a:pt x="2209274" y="1170827"/>
                </a:cubicBezTo>
                <a:cubicBezTo>
                  <a:pt x="2227766" y="1113143"/>
                  <a:pt x="2280043" y="1070601"/>
                  <a:pt x="2344006" y="1070601"/>
                </a:cubicBezTo>
                <a:close/>
                <a:moveTo>
                  <a:pt x="3996579" y="971336"/>
                </a:moveTo>
                <a:cubicBezTo>
                  <a:pt x="4059021" y="971336"/>
                  <a:pt x="4109616" y="1022130"/>
                  <a:pt x="4109616" y="1084701"/>
                </a:cubicBezTo>
                <a:cubicBezTo>
                  <a:pt x="4109616" y="1147192"/>
                  <a:pt x="4059021" y="1198067"/>
                  <a:pt x="3996579" y="1198067"/>
                </a:cubicBezTo>
                <a:cubicBezTo>
                  <a:pt x="3933976" y="1198067"/>
                  <a:pt x="3883061" y="1147192"/>
                  <a:pt x="3883061" y="1084701"/>
                </a:cubicBezTo>
                <a:cubicBezTo>
                  <a:pt x="3883061" y="1022130"/>
                  <a:pt x="3933976" y="971336"/>
                  <a:pt x="3996579" y="971336"/>
                </a:cubicBezTo>
                <a:close/>
                <a:moveTo>
                  <a:pt x="2245699" y="915014"/>
                </a:moveTo>
                <a:cubicBezTo>
                  <a:pt x="2227127" y="946740"/>
                  <a:pt x="2195905" y="971016"/>
                  <a:pt x="2156758" y="977826"/>
                </a:cubicBezTo>
                <a:cubicBezTo>
                  <a:pt x="2117852" y="984636"/>
                  <a:pt x="2080066" y="972778"/>
                  <a:pt x="2051966" y="949304"/>
                </a:cubicBezTo>
                <a:cubicBezTo>
                  <a:pt x="2039398" y="983835"/>
                  <a:pt x="2012659" y="1012917"/>
                  <a:pt x="1975434" y="1026537"/>
                </a:cubicBezTo>
                <a:cubicBezTo>
                  <a:pt x="1938209" y="1039997"/>
                  <a:pt x="1898902" y="1034869"/>
                  <a:pt x="1867280" y="1016522"/>
                </a:cubicBezTo>
                <a:cubicBezTo>
                  <a:pt x="1860635" y="1052815"/>
                  <a:pt x="1839661" y="1085984"/>
                  <a:pt x="1805237" y="1105852"/>
                </a:cubicBezTo>
                <a:cubicBezTo>
                  <a:pt x="1770814" y="1125721"/>
                  <a:pt x="1731267" y="1127404"/>
                  <a:pt x="1696763" y="1114986"/>
                </a:cubicBezTo>
                <a:cubicBezTo>
                  <a:pt x="1696603" y="1151679"/>
                  <a:pt x="1681793" y="1188213"/>
                  <a:pt x="1651212" y="1213770"/>
                </a:cubicBezTo>
                <a:cubicBezTo>
                  <a:pt x="1620791" y="1239247"/>
                  <a:pt x="1582445" y="1247819"/>
                  <a:pt x="1546020" y="1241490"/>
                </a:cubicBezTo>
                <a:cubicBezTo>
                  <a:pt x="1552424" y="1277623"/>
                  <a:pt x="1543938" y="1316239"/>
                  <a:pt x="1518481" y="1346604"/>
                </a:cubicBezTo>
                <a:cubicBezTo>
                  <a:pt x="1492943" y="1377048"/>
                  <a:pt x="1456518" y="1392110"/>
                  <a:pt x="1419853" y="1392110"/>
                </a:cubicBezTo>
                <a:cubicBezTo>
                  <a:pt x="1432262" y="1426801"/>
                  <a:pt x="1430500" y="1466218"/>
                  <a:pt x="1410727" y="1500588"/>
                </a:cubicBezTo>
                <a:cubicBezTo>
                  <a:pt x="1390953" y="1534798"/>
                  <a:pt x="1357731" y="1556189"/>
                  <a:pt x="1321546" y="1562518"/>
                </a:cubicBezTo>
                <a:cubicBezTo>
                  <a:pt x="1339879" y="1594565"/>
                  <a:pt x="1345002" y="1633662"/>
                  <a:pt x="1331393" y="1670996"/>
                </a:cubicBezTo>
                <a:cubicBezTo>
                  <a:pt x="1317943" y="1708171"/>
                  <a:pt x="1288723" y="1734930"/>
                  <a:pt x="1254220" y="1747588"/>
                </a:cubicBezTo>
                <a:cubicBezTo>
                  <a:pt x="1277836" y="1775789"/>
                  <a:pt x="1289684" y="1813444"/>
                  <a:pt x="1282879" y="1852541"/>
                </a:cubicBezTo>
                <a:cubicBezTo>
                  <a:pt x="1276075" y="1891638"/>
                  <a:pt x="1252058" y="1922964"/>
                  <a:pt x="1220116" y="1941391"/>
                </a:cubicBezTo>
                <a:cubicBezTo>
                  <a:pt x="1248216" y="1965105"/>
                  <a:pt x="1266308" y="2000197"/>
                  <a:pt x="1266308" y="2039774"/>
                </a:cubicBezTo>
                <a:cubicBezTo>
                  <a:pt x="1266548" y="2079432"/>
                  <a:pt x="1248216" y="2114363"/>
                  <a:pt x="1220116" y="2138238"/>
                </a:cubicBezTo>
                <a:cubicBezTo>
                  <a:pt x="1251898" y="2156665"/>
                  <a:pt x="1275915" y="2188071"/>
                  <a:pt x="1282719" y="2227087"/>
                </a:cubicBezTo>
                <a:cubicBezTo>
                  <a:pt x="1289684" y="2266024"/>
                  <a:pt x="1277836" y="2303759"/>
                  <a:pt x="1254220" y="2332041"/>
                </a:cubicBezTo>
                <a:cubicBezTo>
                  <a:pt x="1288723" y="2344539"/>
                  <a:pt x="1317943" y="2371138"/>
                  <a:pt x="1331313" y="2408472"/>
                </a:cubicBezTo>
                <a:cubicBezTo>
                  <a:pt x="1345082" y="2445646"/>
                  <a:pt x="1339958" y="2484583"/>
                  <a:pt x="1321626" y="2516469"/>
                </a:cubicBezTo>
                <a:cubicBezTo>
                  <a:pt x="1357731" y="2522959"/>
                  <a:pt x="1391033" y="2544190"/>
                  <a:pt x="1410807" y="2578560"/>
                </a:cubicBezTo>
                <a:cubicBezTo>
                  <a:pt x="1430581" y="2612850"/>
                  <a:pt x="1432342" y="2652428"/>
                  <a:pt x="1419933" y="2686958"/>
                </a:cubicBezTo>
                <a:cubicBezTo>
                  <a:pt x="1456598" y="2687118"/>
                  <a:pt x="1492863" y="2702260"/>
                  <a:pt x="1518401" y="2732544"/>
                </a:cubicBezTo>
                <a:cubicBezTo>
                  <a:pt x="1544018" y="2762829"/>
                  <a:pt x="1552504" y="2801445"/>
                  <a:pt x="1546100" y="2837658"/>
                </a:cubicBezTo>
                <a:cubicBezTo>
                  <a:pt x="1582525" y="2831409"/>
                  <a:pt x="1620871" y="2840141"/>
                  <a:pt x="1651292" y="2865538"/>
                </a:cubicBezTo>
                <a:cubicBezTo>
                  <a:pt x="1681873" y="2890855"/>
                  <a:pt x="1696843" y="2927469"/>
                  <a:pt x="1696843" y="2964162"/>
                </a:cubicBezTo>
                <a:cubicBezTo>
                  <a:pt x="1731347" y="2951744"/>
                  <a:pt x="1770894" y="2953346"/>
                  <a:pt x="1805157" y="2973296"/>
                </a:cubicBezTo>
                <a:cubicBezTo>
                  <a:pt x="1839581" y="2993085"/>
                  <a:pt x="1860715" y="3026333"/>
                  <a:pt x="1867120" y="3062546"/>
                </a:cubicBezTo>
                <a:cubicBezTo>
                  <a:pt x="1899062" y="3044279"/>
                  <a:pt x="1938289" y="3039072"/>
                  <a:pt x="1975434" y="3052691"/>
                </a:cubicBezTo>
                <a:cubicBezTo>
                  <a:pt x="2012820" y="3066151"/>
                  <a:pt x="2039398" y="3095394"/>
                  <a:pt x="2052047" y="3129924"/>
                </a:cubicBezTo>
                <a:cubicBezTo>
                  <a:pt x="2080146" y="3106130"/>
                  <a:pt x="2117932" y="3094272"/>
                  <a:pt x="2156838" y="3101402"/>
                </a:cubicBezTo>
                <a:cubicBezTo>
                  <a:pt x="2195905" y="3108052"/>
                  <a:pt x="2227207" y="3132087"/>
                  <a:pt x="2245859" y="3163893"/>
                </a:cubicBezTo>
                <a:cubicBezTo>
                  <a:pt x="2269476" y="3135933"/>
                  <a:pt x="2304540" y="3117666"/>
                  <a:pt x="2344087" y="3117666"/>
                </a:cubicBezTo>
                <a:cubicBezTo>
                  <a:pt x="2383634" y="3117666"/>
                  <a:pt x="2418698" y="3136093"/>
                  <a:pt x="2442314" y="3164054"/>
                </a:cubicBezTo>
                <a:cubicBezTo>
                  <a:pt x="2461047" y="3132247"/>
                  <a:pt x="2492268" y="3108212"/>
                  <a:pt x="2531255" y="3101402"/>
                </a:cubicBezTo>
                <a:cubicBezTo>
                  <a:pt x="2570242" y="3094272"/>
                  <a:pt x="2607948" y="3106289"/>
                  <a:pt x="2636127" y="3129924"/>
                </a:cubicBezTo>
                <a:cubicBezTo>
                  <a:pt x="2648776" y="3095554"/>
                  <a:pt x="2675434" y="3066311"/>
                  <a:pt x="2712659" y="3052691"/>
                </a:cubicBezTo>
                <a:cubicBezTo>
                  <a:pt x="2749885" y="3039152"/>
                  <a:pt x="2788951" y="3044359"/>
                  <a:pt x="2820733" y="3062706"/>
                </a:cubicBezTo>
                <a:cubicBezTo>
                  <a:pt x="2827298" y="3026493"/>
                  <a:pt x="2848432" y="2993085"/>
                  <a:pt x="2882856" y="2973296"/>
                </a:cubicBezTo>
                <a:cubicBezTo>
                  <a:pt x="2917200" y="2953427"/>
                  <a:pt x="2956747" y="2951744"/>
                  <a:pt x="2991250" y="2964322"/>
                </a:cubicBezTo>
                <a:cubicBezTo>
                  <a:pt x="2991410" y="2927629"/>
                  <a:pt x="3006381" y="2891176"/>
                  <a:pt x="3036641" y="2865538"/>
                </a:cubicBezTo>
                <a:cubicBezTo>
                  <a:pt x="3067142" y="2840061"/>
                  <a:pt x="3105489" y="2831489"/>
                  <a:pt x="3141913" y="2837658"/>
                </a:cubicBezTo>
                <a:cubicBezTo>
                  <a:pt x="3135589" y="2801525"/>
                  <a:pt x="3143995" y="2762829"/>
                  <a:pt x="3169532" y="2732544"/>
                </a:cubicBezTo>
                <a:cubicBezTo>
                  <a:pt x="3194990" y="2702260"/>
                  <a:pt x="3231575" y="2687118"/>
                  <a:pt x="3268240" y="2686958"/>
                </a:cubicBezTo>
                <a:cubicBezTo>
                  <a:pt x="3255672" y="2652428"/>
                  <a:pt x="3257432" y="2613010"/>
                  <a:pt x="3277286" y="2578560"/>
                </a:cubicBezTo>
                <a:cubicBezTo>
                  <a:pt x="3297060" y="2544270"/>
                  <a:pt x="3330442" y="2523039"/>
                  <a:pt x="3366547" y="2516550"/>
                </a:cubicBezTo>
                <a:cubicBezTo>
                  <a:pt x="3348215" y="2484503"/>
                  <a:pt x="3343171" y="2445486"/>
                  <a:pt x="3356621" y="2408232"/>
                </a:cubicBezTo>
                <a:cubicBezTo>
                  <a:pt x="3370230" y="2371057"/>
                  <a:pt x="3399450" y="2344539"/>
                  <a:pt x="3433794" y="2331960"/>
                </a:cubicBezTo>
                <a:cubicBezTo>
                  <a:pt x="3410338" y="2303679"/>
                  <a:pt x="3398329" y="2265944"/>
                  <a:pt x="3405134" y="2227007"/>
                </a:cubicBezTo>
                <a:cubicBezTo>
                  <a:pt x="3412259" y="2187830"/>
                  <a:pt x="3436275" y="2156505"/>
                  <a:pt x="3468057" y="2138158"/>
                </a:cubicBezTo>
                <a:cubicBezTo>
                  <a:pt x="3439958" y="2114283"/>
                  <a:pt x="3421705" y="2079352"/>
                  <a:pt x="3421545" y="2039694"/>
                </a:cubicBezTo>
                <a:cubicBezTo>
                  <a:pt x="3421705" y="2000117"/>
                  <a:pt x="3439958" y="1965025"/>
                  <a:pt x="3467897" y="1941311"/>
                </a:cubicBezTo>
                <a:cubicBezTo>
                  <a:pt x="3436115" y="1922804"/>
                  <a:pt x="3412099" y="1891478"/>
                  <a:pt x="3405134" y="1852461"/>
                </a:cubicBezTo>
                <a:cubicBezTo>
                  <a:pt x="3398329" y="1813204"/>
                  <a:pt x="3410338" y="1775709"/>
                  <a:pt x="3433794" y="1747508"/>
                </a:cubicBezTo>
                <a:cubicBezTo>
                  <a:pt x="3399450" y="1734769"/>
                  <a:pt x="3370230" y="1708091"/>
                  <a:pt x="3356621" y="1670756"/>
                </a:cubicBezTo>
                <a:cubicBezTo>
                  <a:pt x="3343091" y="1633422"/>
                  <a:pt x="3348135" y="1594485"/>
                  <a:pt x="3366547" y="1562438"/>
                </a:cubicBezTo>
                <a:cubicBezTo>
                  <a:pt x="3330442" y="1556029"/>
                  <a:pt x="3297060" y="1534718"/>
                  <a:pt x="3277286" y="1500508"/>
                </a:cubicBezTo>
                <a:cubicBezTo>
                  <a:pt x="3257432" y="1466058"/>
                  <a:pt x="3255672" y="1426560"/>
                  <a:pt x="3268240" y="1392030"/>
                </a:cubicBezTo>
                <a:cubicBezTo>
                  <a:pt x="3231575" y="1391870"/>
                  <a:pt x="3194990" y="1376808"/>
                  <a:pt x="3169532" y="1346523"/>
                </a:cubicBezTo>
                <a:cubicBezTo>
                  <a:pt x="3143995" y="1316079"/>
                  <a:pt x="3135509" y="1277463"/>
                  <a:pt x="3141913" y="1241250"/>
                </a:cubicBezTo>
                <a:cubicBezTo>
                  <a:pt x="3105569" y="1247579"/>
                  <a:pt x="3067222" y="1239007"/>
                  <a:pt x="3036641" y="1213610"/>
                </a:cubicBezTo>
                <a:cubicBezTo>
                  <a:pt x="3006381" y="1187972"/>
                  <a:pt x="2991410" y="1151519"/>
                  <a:pt x="2991250" y="1114745"/>
                </a:cubicBezTo>
                <a:cubicBezTo>
                  <a:pt x="2956586" y="1127244"/>
                  <a:pt x="2917200" y="1125561"/>
                  <a:pt x="2882856" y="1105692"/>
                </a:cubicBezTo>
                <a:cubicBezTo>
                  <a:pt x="2848432" y="1085823"/>
                  <a:pt x="2827298" y="1052655"/>
                  <a:pt x="2820733" y="1016362"/>
                </a:cubicBezTo>
                <a:cubicBezTo>
                  <a:pt x="2788951" y="1034709"/>
                  <a:pt x="2749805" y="1039836"/>
                  <a:pt x="2712579" y="1026457"/>
                </a:cubicBezTo>
                <a:cubicBezTo>
                  <a:pt x="2675194" y="1012757"/>
                  <a:pt x="2648695" y="983514"/>
                  <a:pt x="2636047" y="948984"/>
                </a:cubicBezTo>
                <a:cubicBezTo>
                  <a:pt x="2607867" y="972618"/>
                  <a:pt x="2570162" y="984476"/>
                  <a:pt x="2531175" y="977666"/>
                </a:cubicBezTo>
                <a:cubicBezTo>
                  <a:pt x="2492188" y="970695"/>
                  <a:pt x="2460887" y="946580"/>
                  <a:pt x="2442234" y="915014"/>
                </a:cubicBezTo>
                <a:cubicBezTo>
                  <a:pt x="2418618" y="943135"/>
                  <a:pt x="2383634" y="961402"/>
                  <a:pt x="2344007" y="961402"/>
                </a:cubicBezTo>
                <a:cubicBezTo>
                  <a:pt x="2304460" y="961402"/>
                  <a:pt x="2269395" y="943135"/>
                  <a:pt x="2245699" y="915014"/>
                </a:cubicBezTo>
                <a:close/>
                <a:moveTo>
                  <a:pt x="3539946" y="904118"/>
                </a:moveTo>
                <a:cubicBezTo>
                  <a:pt x="3612315" y="904118"/>
                  <a:pt x="3670996" y="962764"/>
                  <a:pt x="3670996" y="1035349"/>
                </a:cubicBezTo>
                <a:cubicBezTo>
                  <a:pt x="3670996" y="1107775"/>
                  <a:pt x="3612395" y="1166501"/>
                  <a:pt x="3539946" y="1166501"/>
                </a:cubicBezTo>
                <a:cubicBezTo>
                  <a:pt x="3467416" y="1166501"/>
                  <a:pt x="3408816" y="1107775"/>
                  <a:pt x="3408816" y="1035349"/>
                </a:cubicBezTo>
                <a:cubicBezTo>
                  <a:pt x="3408816" y="962844"/>
                  <a:pt x="3467496" y="904118"/>
                  <a:pt x="3539946" y="904118"/>
                </a:cubicBezTo>
                <a:close/>
                <a:moveTo>
                  <a:pt x="1148147" y="904118"/>
                </a:moveTo>
                <a:cubicBezTo>
                  <a:pt x="1220676" y="904118"/>
                  <a:pt x="1279357" y="962764"/>
                  <a:pt x="1279357" y="1035349"/>
                </a:cubicBezTo>
                <a:cubicBezTo>
                  <a:pt x="1279357" y="1107775"/>
                  <a:pt x="1220756" y="1166501"/>
                  <a:pt x="1148147" y="1166501"/>
                </a:cubicBezTo>
                <a:cubicBezTo>
                  <a:pt x="1075937" y="1166501"/>
                  <a:pt x="1017257" y="1107775"/>
                  <a:pt x="1017177" y="1035349"/>
                </a:cubicBezTo>
                <a:cubicBezTo>
                  <a:pt x="1017177" y="962844"/>
                  <a:pt x="1075857" y="904118"/>
                  <a:pt x="1148147" y="904118"/>
                </a:cubicBezTo>
                <a:close/>
                <a:moveTo>
                  <a:pt x="3347895" y="711517"/>
                </a:moveTo>
                <a:cubicBezTo>
                  <a:pt x="3420264" y="711517"/>
                  <a:pt x="3478945" y="770243"/>
                  <a:pt x="3478945" y="842668"/>
                </a:cubicBezTo>
                <a:cubicBezTo>
                  <a:pt x="3478945" y="915254"/>
                  <a:pt x="3420344" y="973820"/>
                  <a:pt x="3347895" y="973820"/>
                </a:cubicBezTo>
                <a:cubicBezTo>
                  <a:pt x="3275445" y="973820"/>
                  <a:pt x="3216765" y="915254"/>
                  <a:pt x="3216765" y="842668"/>
                </a:cubicBezTo>
                <a:cubicBezTo>
                  <a:pt x="3216765" y="770243"/>
                  <a:pt x="3275445" y="711517"/>
                  <a:pt x="3347895" y="711517"/>
                </a:cubicBezTo>
                <a:close/>
                <a:moveTo>
                  <a:pt x="3805808" y="698699"/>
                </a:moveTo>
                <a:cubicBezTo>
                  <a:pt x="3868251" y="698699"/>
                  <a:pt x="3919006" y="749413"/>
                  <a:pt x="3919006" y="812064"/>
                </a:cubicBezTo>
                <a:cubicBezTo>
                  <a:pt x="3919006" y="874636"/>
                  <a:pt x="3868251" y="925430"/>
                  <a:pt x="3805808" y="925430"/>
                </a:cubicBezTo>
                <a:cubicBezTo>
                  <a:pt x="3743126" y="925430"/>
                  <a:pt x="3692531" y="874636"/>
                  <a:pt x="3692611" y="812064"/>
                </a:cubicBezTo>
                <a:cubicBezTo>
                  <a:pt x="3692611" y="749413"/>
                  <a:pt x="3743205" y="698699"/>
                  <a:pt x="3805808" y="698699"/>
                </a:cubicBezTo>
                <a:close/>
                <a:moveTo>
                  <a:pt x="2344247" y="687883"/>
                </a:moveTo>
                <a:cubicBezTo>
                  <a:pt x="2392760" y="687883"/>
                  <a:pt x="2434389" y="714882"/>
                  <a:pt x="2456484" y="754220"/>
                </a:cubicBezTo>
                <a:cubicBezTo>
                  <a:pt x="2485063" y="719209"/>
                  <a:pt x="2530935" y="699820"/>
                  <a:pt x="2578807" y="708313"/>
                </a:cubicBezTo>
                <a:cubicBezTo>
                  <a:pt x="2626600" y="716645"/>
                  <a:pt x="2662945" y="750534"/>
                  <a:pt x="2677835" y="793477"/>
                </a:cubicBezTo>
                <a:cubicBezTo>
                  <a:pt x="2712099" y="763673"/>
                  <a:pt x="2760612" y="752617"/>
                  <a:pt x="2806243" y="769202"/>
                </a:cubicBezTo>
                <a:cubicBezTo>
                  <a:pt x="2851875" y="785866"/>
                  <a:pt x="2881735" y="825604"/>
                  <a:pt x="2888860" y="870149"/>
                </a:cubicBezTo>
                <a:cubicBezTo>
                  <a:pt x="2927847" y="847075"/>
                  <a:pt x="2977481" y="844591"/>
                  <a:pt x="3019349" y="868947"/>
                </a:cubicBezTo>
                <a:cubicBezTo>
                  <a:pt x="3061699" y="893142"/>
                  <a:pt x="3084274" y="937447"/>
                  <a:pt x="3083473" y="982713"/>
                </a:cubicBezTo>
                <a:cubicBezTo>
                  <a:pt x="3125902" y="966609"/>
                  <a:pt x="3175136" y="972698"/>
                  <a:pt x="3212522" y="1003944"/>
                </a:cubicBezTo>
                <a:cubicBezTo>
                  <a:pt x="3249667" y="1035109"/>
                  <a:pt x="3264318" y="1082779"/>
                  <a:pt x="3255591" y="1127244"/>
                </a:cubicBezTo>
                <a:cubicBezTo>
                  <a:pt x="3300262" y="1118671"/>
                  <a:pt x="3347735" y="1133413"/>
                  <a:pt x="3378796" y="1170667"/>
                </a:cubicBezTo>
                <a:cubicBezTo>
                  <a:pt x="3410338" y="1207841"/>
                  <a:pt x="3416181" y="1257113"/>
                  <a:pt x="3400090" y="1299655"/>
                </a:cubicBezTo>
                <a:cubicBezTo>
                  <a:pt x="3445481" y="1298854"/>
                  <a:pt x="3489672" y="1321527"/>
                  <a:pt x="3513848" y="1363668"/>
                </a:cubicBezTo>
                <a:cubicBezTo>
                  <a:pt x="3538425" y="1405650"/>
                  <a:pt x="3535703" y="1455402"/>
                  <a:pt x="3512488" y="1494259"/>
                </a:cubicBezTo>
                <a:cubicBezTo>
                  <a:pt x="3557238" y="1501469"/>
                  <a:pt x="3597105" y="1531433"/>
                  <a:pt x="3613596" y="1577180"/>
                </a:cubicBezTo>
                <a:cubicBezTo>
                  <a:pt x="3630088" y="1622766"/>
                  <a:pt x="3619120" y="1671237"/>
                  <a:pt x="3589260" y="1705527"/>
                </a:cubicBezTo>
                <a:cubicBezTo>
                  <a:pt x="3632169" y="1720509"/>
                  <a:pt x="3665953" y="1757122"/>
                  <a:pt x="3674438" y="1804792"/>
                </a:cubicBezTo>
                <a:cubicBezTo>
                  <a:pt x="3682924" y="1852621"/>
                  <a:pt x="3663551" y="1898448"/>
                  <a:pt x="3628487" y="1927130"/>
                </a:cubicBezTo>
                <a:cubicBezTo>
                  <a:pt x="3668034" y="1949242"/>
                  <a:pt x="3695253" y="1990983"/>
                  <a:pt x="3695093" y="2039694"/>
                </a:cubicBezTo>
                <a:cubicBezTo>
                  <a:pt x="3695172" y="2088085"/>
                  <a:pt x="3668034" y="2129906"/>
                  <a:pt x="3628487" y="2151858"/>
                </a:cubicBezTo>
                <a:cubicBezTo>
                  <a:pt x="3663551" y="2180459"/>
                  <a:pt x="3682764" y="2226527"/>
                  <a:pt x="3674438" y="2274276"/>
                </a:cubicBezTo>
                <a:cubicBezTo>
                  <a:pt x="3665953" y="2322026"/>
                  <a:pt x="3632090" y="2358479"/>
                  <a:pt x="3589260" y="2373301"/>
                </a:cubicBezTo>
                <a:cubicBezTo>
                  <a:pt x="3618880" y="2407591"/>
                  <a:pt x="3630088" y="2455981"/>
                  <a:pt x="3613596" y="2501648"/>
                </a:cubicBezTo>
                <a:cubicBezTo>
                  <a:pt x="3597105" y="2547154"/>
                  <a:pt x="3557238" y="2577198"/>
                  <a:pt x="3512488" y="2584408"/>
                </a:cubicBezTo>
                <a:cubicBezTo>
                  <a:pt x="3535703" y="2623345"/>
                  <a:pt x="3538425" y="2673178"/>
                  <a:pt x="3513848" y="2715239"/>
                </a:cubicBezTo>
                <a:cubicBezTo>
                  <a:pt x="3489752" y="2757300"/>
                  <a:pt x="3445481" y="2779733"/>
                  <a:pt x="3400090" y="2779092"/>
                </a:cubicBezTo>
                <a:cubicBezTo>
                  <a:pt x="3416181" y="2821634"/>
                  <a:pt x="3410017" y="2870986"/>
                  <a:pt x="3378796" y="2908161"/>
                </a:cubicBezTo>
                <a:cubicBezTo>
                  <a:pt x="3347735" y="2945415"/>
                  <a:pt x="3300182" y="2959916"/>
                  <a:pt x="3255591" y="2951584"/>
                </a:cubicBezTo>
                <a:cubicBezTo>
                  <a:pt x="3264318" y="2996049"/>
                  <a:pt x="3249587" y="3043718"/>
                  <a:pt x="3212362" y="3074804"/>
                </a:cubicBezTo>
                <a:cubicBezTo>
                  <a:pt x="3175056" y="3105969"/>
                  <a:pt x="3125822" y="3112058"/>
                  <a:pt x="3083393" y="3096115"/>
                </a:cubicBezTo>
                <a:cubicBezTo>
                  <a:pt x="3084194" y="3141300"/>
                  <a:pt x="3061458" y="3185685"/>
                  <a:pt x="3019269" y="3209961"/>
                </a:cubicBezTo>
                <a:cubicBezTo>
                  <a:pt x="2977401" y="3234236"/>
                  <a:pt x="2927927" y="3231592"/>
                  <a:pt x="2888860" y="3208438"/>
                </a:cubicBezTo>
                <a:cubicBezTo>
                  <a:pt x="2881815" y="3253224"/>
                  <a:pt x="2851795" y="3292882"/>
                  <a:pt x="2805923" y="3309546"/>
                </a:cubicBezTo>
                <a:cubicBezTo>
                  <a:pt x="2760372" y="3326130"/>
                  <a:pt x="2712099" y="3314914"/>
                  <a:pt x="2678075" y="3285351"/>
                </a:cubicBezTo>
                <a:cubicBezTo>
                  <a:pt x="2663185" y="3328373"/>
                  <a:pt x="2626600" y="3362022"/>
                  <a:pt x="2578888" y="3370675"/>
                </a:cubicBezTo>
                <a:cubicBezTo>
                  <a:pt x="2531095" y="3379007"/>
                  <a:pt x="2485303" y="3359539"/>
                  <a:pt x="2456644" y="3324368"/>
                </a:cubicBezTo>
                <a:cubicBezTo>
                  <a:pt x="2434709" y="3364025"/>
                  <a:pt x="2393000" y="3391025"/>
                  <a:pt x="2344407" y="3391025"/>
                </a:cubicBezTo>
                <a:cubicBezTo>
                  <a:pt x="2295894" y="3391025"/>
                  <a:pt x="2253945" y="3364025"/>
                  <a:pt x="2232010" y="3324368"/>
                </a:cubicBezTo>
                <a:cubicBezTo>
                  <a:pt x="2203350" y="3359459"/>
                  <a:pt x="2157479" y="3378847"/>
                  <a:pt x="2109766" y="3370355"/>
                </a:cubicBezTo>
                <a:cubicBezTo>
                  <a:pt x="2061973" y="3361942"/>
                  <a:pt x="2025628" y="3328213"/>
                  <a:pt x="2010578" y="3285190"/>
                </a:cubicBezTo>
                <a:cubicBezTo>
                  <a:pt x="1976315" y="3314834"/>
                  <a:pt x="1927881" y="3326050"/>
                  <a:pt x="1882330" y="3309386"/>
                </a:cubicBezTo>
                <a:cubicBezTo>
                  <a:pt x="1836619" y="3293042"/>
                  <a:pt x="1806758" y="3253304"/>
                  <a:pt x="1799393" y="3208519"/>
                </a:cubicBezTo>
                <a:cubicBezTo>
                  <a:pt x="1760567" y="3231592"/>
                  <a:pt x="1710853" y="3234076"/>
                  <a:pt x="1668904" y="3209721"/>
                </a:cubicBezTo>
                <a:cubicBezTo>
                  <a:pt x="1626875" y="3185525"/>
                  <a:pt x="1604300" y="3141141"/>
                  <a:pt x="1604940" y="3095874"/>
                </a:cubicBezTo>
                <a:cubicBezTo>
                  <a:pt x="1562671" y="3111978"/>
                  <a:pt x="1513277" y="3105889"/>
                  <a:pt x="1476052" y="3074723"/>
                </a:cubicBezTo>
                <a:cubicBezTo>
                  <a:pt x="1438906" y="3043558"/>
                  <a:pt x="1424176" y="2995888"/>
                  <a:pt x="1432902" y="2951424"/>
                </a:cubicBezTo>
                <a:cubicBezTo>
                  <a:pt x="1388312" y="2959916"/>
                  <a:pt x="1340839" y="2945255"/>
                  <a:pt x="1309698" y="2908000"/>
                </a:cubicBezTo>
                <a:cubicBezTo>
                  <a:pt x="1278316" y="2870906"/>
                  <a:pt x="1272232" y="2821634"/>
                  <a:pt x="1288403" y="2779012"/>
                </a:cubicBezTo>
                <a:cubicBezTo>
                  <a:pt x="1243012" y="2779653"/>
                  <a:pt x="1198822" y="2757140"/>
                  <a:pt x="1174405" y="2715079"/>
                </a:cubicBezTo>
                <a:cubicBezTo>
                  <a:pt x="1150068" y="2673098"/>
                  <a:pt x="1152870" y="2623345"/>
                  <a:pt x="1176006" y="2584328"/>
                </a:cubicBezTo>
                <a:cubicBezTo>
                  <a:pt x="1131256" y="2577118"/>
                  <a:pt x="1091548" y="2547074"/>
                  <a:pt x="1075057" y="2501568"/>
                </a:cubicBezTo>
                <a:cubicBezTo>
                  <a:pt x="1058245" y="2455981"/>
                  <a:pt x="1069453" y="2407430"/>
                  <a:pt x="1099073" y="2373220"/>
                </a:cubicBezTo>
                <a:cubicBezTo>
                  <a:pt x="1056324" y="2358319"/>
                  <a:pt x="1022381" y="2321946"/>
                  <a:pt x="1013895" y="2274196"/>
                </a:cubicBezTo>
                <a:cubicBezTo>
                  <a:pt x="1005489" y="2226366"/>
                  <a:pt x="1025103" y="2180379"/>
                  <a:pt x="1060167" y="2151858"/>
                </a:cubicBezTo>
                <a:cubicBezTo>
                  <a:pt x="1020620" y="2129826"/>
                  <a:pt x="993481" y="2088005"/>
                  <a:pt x="993481" y="2039534"/>
                </a:cubicBezTo>
                <a:cubicBezTo>
                  <a:pt x="993481" y="1990983"/>
                  <a:pt x="1020620" y="1949242"/>
                  <a:pt x="1060167" y="1927130"/>
                </a:cubicBezTo>
                <a:cubicBezTo>
                  <a:pt x="1025103" y="1898368"/>
                  <a:pt x="1005649" y="1852541"/>
                  <a:pt x="1013895" y="1804792"/>
                </a:cubicBezTo>
                <a:cubicBezTo>
                  <a:pt x="1022381" y="1757122"/>
                  <a:pt x="1056404" y="1720509"/>
                  <a:pt x="1099073" y="1705527"/>
                </a:cubicBezTo>
                <a:cubicBezTo>
                  <a:pt x="1069613" y="1671237"/>
                  <a:pt x="1058566" y="1622846"/>
                  <a:pt x="1075057" y="1577180"/>
                </a:cubicBezTo>
                <a:cubicBezTo>
                  <a:pt x="1091548" y="1531593"/>
                  <a:pt x="1131256" y="1501549"/>
                  <a:pt x="1176166" y="1494259"/>
                </a:cubicBezTo>
                <a:cubicBezTo>
                  <a:pt x="1152790" y="1455482"/>
                  <a:pt x="1150148" y="1405650"/>
                  <a:pt x="1174325" y="1363668"/>
                </a:cubicBezTo>
                <a:cubicBezTo>
                  <a:pt x="1198822" y="1321527"/>
                  <a:pt x="1243092" y="1299014"/>
                  <a:pt x="1288323" y="1299655"/>
                </a:cubicBezTo>
                <a:cubicBezTo>
                  <a:pt x="1272232" y="1257193"/>
                  <a:pt x="1278236" y="1207921"/>
                  <a:pt x="1309618" y="1170667"/>
                </a:cubicBezTo>
                <a:cubicBezTo>
                  <a:pt x="1340759" y="1133573"/>
                  <a:pt x="1388392" y="1118831"/>
                  <a:pt x="1432822" y="1127324"/>
                </a:cubicBezTo>
                <a:cubicBezTo>
                  <a:pt x="1424336" y="1082779"/>
                  <a:pt x="1438826" y="1035269"/>
                  <a:pt x="1475972" y="1003944"/>
                </a:cubicBezTo>
                <a:cubicBezTo>
                  <a:pt x="1513197" y="972939"/>
                  <a:pt x="1562591" y="966770"/>
                  <a:pt x="1604860" y="982873"/>
                </a:cubicBezTo>
                <a:cubicBezTo>
                  <a:pt x="1604300" y="937527"/>
                  <a:pt x="1626795" y="893142"/>
                  <a:pt x="1668824" y="868947"/>
                </a:cubicBezTo>
                <a:cubicBezTo>
                  <a:pt x="1710773" y="844752"/>
                  <a:pt x="1760487" y="847235"/>
                  <a:pt x="1799473" y="870309"/>
                </a:cubicBezTo>
                <a:cubicBezTo>
                  <a:pt x="1806678" y="825604"/>
                  <a:pt x="1836539" y="785866"/>
                  <a:pt x="1882250" y="769202"/>
                </a:cubicBezTo>
                <a:cubicBezTo>
                  <a:pt x="1927801" y="752778"/>
                  <a:pt x="1976235" y="763834"/>
                  <a:pt x="2010578" y="793477"/>
                </a:cubicBezTo>
                <a:cubicBezTo>
                  <a:pt x="2025468" y="750614"/>
                  <a:pt x="2061893" y="716805"/>
                  <a:pt x="2109606" y="708313"/>
                </a:cubicBezTo>
                <a:cubicBezTo>
                  <a:pt x="2157399" y="699981"/>
                  <a:pt x="2203190" y="719369"/>
                  <a:pt x="2231850" y="754540"/>
                </a:cubicBezTo>
                <a:cubicBezTo>
                  <a:pt x="2253945" y="714882"/>
                  <a:pt x="2295734" y="687883"/>
                  <a:pt x="2344247" y="687883"/>
                </a:cubicBezTo>
                <a:close/>
                <a:moveTo>
                  <a:pt x="3570447" y="463396"/>
                </a:moveTo>
                <a:cubicBezTo>
                  <a:pt x="3633050" y="463396"/>
                  <a:pt x="3683805" y="514110"/>
                  <a:pt x="3683805" y="576761"/>
                </a:cubicBezTo>
                <a:cubicBezTo>
                  <a:pt x="3683805" y="639333"/>
                  <a:pt x="3633050" y="690127"/>
                  <a:pt x="3570447" y="690127"/>
                </a:cubicBezTo>
                <a:cubicBezTo>
                  <a:pt x="3508005" y="690127"/>
                  <a:pt x="3457410" y="639333"/>
                  <a:pt x="3457410" y="576761"/>
                </a:cubicBezTo>
                <a:cubicBezTo>
                  <a:pt x="3457410" y="514110"/>
                  <a:pt x="3508005" y="463396"/>
                  <a:pt x="3570447" y="463396"/>
                </a:cubicBezTo>
                <a:close/>
                <a:moveTo>
                  <a:pt x="2072861" y="369899"/>
                </a:moveTo>
                <a:cubicBezTo>
                  <a:pt x="2145230" y="369899"/>
                  <a:pt x="2203911" y="428545"/>
                  <a:pt x="2203911" y="500970"/>
                </a:cubicBezTo>
                <a:cubicBezTo>
                  <a:pt x="2203911" y="573476"/>
                  <a:pt x="2145310" y="632202"/>
                  <a:pt x="2072861" y="632202"/>
                </a:cubicBezTo>
                <a:cubicBezTo>
                  <a:pt x="2000571" y="632202"/>
                  <a:pt x="1941971" y="573556"/>
                  <a:pt x="1941891" y="500970"/>
                </a:cubicBezTo>
                <a:cubicBezTo>
                  <a:pt x="1941891" y="428625"/>
                  <a:pt x="2000571" y="369899"/>
                  <a:pt x="2072861" y="369899"/>
                </a:cubicBezTo>
                <a:close/>
                <a:moveTo>
                  <a:pt x="2615072" y="369579"/>
                </a:moveTo>
                <a:cubicBezTo>
                  <a:pt x="2687442" y="369579"/>
                  <a:pt x="2746122" y="428224"/>
                  <a:pt x="2746122" y="500810"/>
                </a:cubicBezTo>
                <a:cubicBezTo>
                  <a:pt x="2746122" y="573236"/>
                  <a:pt x="2687522" y="631962"/>
                  <a:pt x="2615072" y="631962"/>
                </a:cubicBezTo>
                <a:cubicBezTo>
                  <a:pt x="2542622" y="631962"/>
                  <a:pt x="2484022" y="573236"/>
                  <a:pt x="2483942" y="500810"/>
                </a:cubicBezTo>
                <a:cubicBezTo>
                  <a:pt x="2483942" y="428305"/>
                  <a:pt x="2542622" y="369579"/>
                  <a:pt x="2615072" y="369579"/>
                </a:cubicBezTo>
                <a:close/>
                <a:moveTo>
                  <a:pt x="2344087" y="346024"/>
                </a:moveTo>
                <a:cubicBezTo>
                  <a:pt x="2416457" y="346024"/>
                  <a:pt x="2475137" y="404830"/>
                  <a:pt x="2475137" y="477255"/>
                </a:cubicBezTo>
                <a:cubicBezTo>
                  <a:pt x="2475137" y="549681"/>
                  <a:pt x="2416537" y="608407"/>
                  <a:pt x="2344087" y="608407"/>
                </a:cubicBezTo>
                <a:cubicBezTo>
                  <a:pt x="2271637" y="608407"/>
                  <a:pt x="2212957" y="549681"/>
                  <a:pt x="2213037" y="477255"/>
                </a:cubicBezTo>
                <a:cubicBezTo>
                  <a:pt x="2213037" y="404830"/>
                  <a:pt x="2271717" y="346024"/>
                  <a:pt x="2344087" y="346024"/>
                </a:cubicBezTo>
                <a:close/>
                <a:moveTo>
                  <a:pt x="3298021" y="272557"/>
                </a:moveTo>
                <a:cubicBezTo>
                  <a:pt x="3360624" y="272557"/>
                  <a:pt x="3411218" y="323191"/>
                  <a:pt x="3411218" y="385762"/>
                </a:cubicBezTo>
                <a:cubicBezTo>
                  <a:pt x="3411218" y="448413"/>
                  <a:pt x="3360624" y="499127"/>
                  <a:pt x="3298021" y="499127"/>
                </a:cubicBezTo>
                <a:cubicBezTo>
                  <a:pt x="3235578" y="499127"/>
                  <a:pt x="3184823" y="448413"/>
                  <a:pt x="3184823" y="385762"/>
                </a:cubicBezTo>
                <a:cubicBezTo>
                  <a:pt x="3184823" y="323191"/>
                  <a:pt x="3235578" y="272557"/>
                  <a:pt x="3298021" y="272557"/>
                </a:cubicBezTo>
                <a:close/>
                <a:moveTo>
                  <a:pt x="3793320" y="224968"/>
                </a:moveTo>
                <a:cubicBezTo>
                  <a:pt x="3842474" y="224968"/>
                  <a:pt x="3882421" y="264946"/>
                  <a:pt x="3882421" y="314138"/>
                </a:cubicBezTo>
                <a:cubicBezTo>
                  <a:pt x="3882421" y="363490"/>
                  <a:pt x="3842474" y="403468"/>
                  <a:pt x="3793320" y="403468"/>
                </a:cubicBezTo>
                <a:cubicBezTo>
                  <a:pt x="3743926" y="403468"/>
                  <a:pt x="3703979" y="363490"/>
                  <a:pt x="3703979" y="314138"/>
                </a:cubicBezTo>
                <a:cubicBezTo>
                  <a:pt x="3703979" y="264946"/>
                  <a:pt x="3743926" y="224968"/>
                  <a:pt x="3793320" y="224968"/>
                </a:cubicBezTo>
                <a:close/>
                <a:moveTo>
                  <a:pt x="3473821" y="0"/>
                </a:moveTo>
                <a:cubicBezTo>
                  <a:pt x="3522975" y="0"/>
                  <a:pt x="3562922" y="39978"/>
                  <a:pt x="3562922" y="89170"/>
                </a:cubicBezTo>
                <a:cubicBezTo>
                  <a:pt x="3562922" y="138362"/>
                  <a:pt x="3522975" y="178340"/>
                  <a:pt x="3473821" y="178340"/>
                </a:cubicBezTo>
                <a:cubicBezTo>
                  <a:pt x="3424507" y="178340"/>
                  <a:pt x="3384560" y="138362"/>
                  <a:pt x="3384560" y="89170"/>
                </a:cubicBezTo>
                <a:cubicBezTo>
                  <a:pt x="3384560" y="39978"/>
                  <a:pt x="3424428" y="0"/>
                  <a:pt x="3473821" y="0"/>
                </a:cubicBezTo>
                <a:close/>
              </a:path>
            </a:pathLst>
          </a:custGeom>
          <a:solidFill>
            <a:schemeClr val="tx1"/>
          </a:solidFill>
          <a:ln w="8000" cap="flat">
            <a:noFill/>
            <a:prstDash val="solid"/>
            <a:miter/>
          </a:ln>
        </p:spPr>
        <p:txBody>
          <a:bodyPr rtlCol="0" anchor="ctr"/>
          <a:lstStyle/>
          <a:p>
            <a:endParaRPr lang="en-US"/>
          </a:p>
        </p:txBody>
      </p:sp>
    </p:spTree>
    <p:extLst>
      <p:ext uri="{BB962C8B-B14F-4D97-AF65-F5344CB8AC3E}">
        <p14:creationId xmlns:p14="http://schemas.microsoft.com/office/powerpoint/2010/main" val="20082372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Exec Co inform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hasCustomPrompt="1"/>
          </p:nvPr>
        </p:nvSpPr>
        <p:spPr>
          <a:xfrm>
            <a:off x="322771" y="300859"/>
            <a:ext cx="9094278" cy="636026"/>
          </a:xfrm>
        </p:spPr>
        <p:txBody>
          <a:bodyPr/>
          <a:lstStyle>
            <a:lvl1pPr>
              <a:defRPr sz="4000"/>
            </a:lvl1pPr>
          </a:lstStyle>
          <a:p>
            <a:r>
              <a:rPr lang="en-US"/>
              <a:t>Inform- &lt;insert Subject Title&gt;</a:t>
            </a:r>
          </a:p>
        </p:txBody>
      </p:sp>
      <p:sp>
        <p:nvSpPr>
          <p:cNvPr id="6" name="Slide Number Placeholder 5">
            <a:extLst>
              <a:ext uri="{FF2B5EF4-FFF2-40B4-BE49-F238E27FC236}">
                <a16:creationId xmlns:a16="http://schemas.microsoft.com/office/drawing/2014/main" id="{D8296F06-B4C9-97C1-BFCF-B0023138E8B5}"/>
              </a:ext>
            </a:extLst>
          </p:cNvPr>
          <p:cNvSpPr>
            <a:spLocks noGrp="1"/>
          </p:cNvSpPr>
          <p:nvPr>
            <p:ph type="sldNum" sz="quarter" idx="12"/>
          </p:nvPr>
        </p:nvSpPr>
        <p:spPr/>
        <p:txBody>
          <a:bodyPr/>
          <a:lstStyle>
            <a:lvl1pPr>
              <a:defRPr>
                <a:solidFill>
                  <a:schemeClr val="tx1"/>
                </a:solidFill>
              </a:defRPr>
            </a:lvl1pPr>
          </a:lstStyle>
          <a:p>
            <a:fld id="{AAF502CD-F636-C049-B05E-4ED95BC0AEE0}" type="slidenum">
              <a:rPr lang="en-US" smtClean="0"/>
              <a:pPr/>
              <a:t>‹#›</a:t>
            </a:fld>
            <a:endParaRPr lang="en-US"/>
          </a:p>
        </p:txBody>
      </p:sp>
      <p:sp>
        <p:nvSpPr>
          <p:cNvPr id="10" name="Graphic 11">
            <a:extLst>
              <a:ext uri="{FF2B5EF4-FFF2-40B4-BE49-F238E27FC236}">
                <a16:creationId xmlns:a16="http://schemas.microsoft.com/office/drawing/2014/main" id="{5621749B-E095-09BE-174A-D7E00E6FA891}"/>
              </a:ext>
            </a:extLst>
          </p:cNvPr>
          <p:cNvSpPr/>
          <p:nvPr/>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bg1"/>
              </a:solidFill>
            </a:endParaRPr>
          </a:p>
        </p:txBody>
      </p:sp>
      <p:sp>
        <p:nvSpPr>
          <p:cNvPr id="4" name="Content Placeholder 2">
            <a:extLst>
              <a:ext uri="{FF2B5EF4-FFF2-40B4-BE49-F238E27FC236}">
                <a16:creationId xmlns:a16="http://schemas.microsoft.com/office/drawing/2014/main" id="{71BECE5C-2F69-28A0-8145-D18F10C76880}"/>
              </a:ext>
            </a:extLst>
          </p:cNvPr>
          <p:cNvSpPr>
            <a:spLocks noGrp="1"/>
          </p:cNvSpPr>
          <p:nvPr>
            <p:ph idx="13" hasCustomPrompt="1"/>
          </p:nvPr>
        </p:nvSpPr>
        <p:spPr>
          <a:xfrm>
            <a:off x="322771" y="1793949"/>
            <a:ext cx="10693647" cy="2819615"/>
          </a:xfrm>
        </p:spPr>
        <p:txBody>
          <a:bodyPr/>
          <a:lstStyle>
            <a:lvl1pPr>
              <a:defRPr sz="2000"/>
            </a:lvl1pPr>
            <a:lvl2pPr>
              <a:defRPr sz="2000"/>
            </a:lvl2pPr>
            <a:lvl3pPr>
              <a:defRPr sz="2000"/>
            </a:lvl3pPr>
            <a:lvl4pPr>
              <a:defRPr sz="2000"/>
            </a:lvl4pPr>
            <a:lvl5pPr>
              <a:defRPr sz="2000"/>
            </a:lvl5pPr>
          </a:lstStyle>
          <a:p>
            <a:pPr lvl="0"/>
            <a:r>
              <a:rPr lang="en-US"/>
              <a:t>Findings</a:t>
            </a:r>
          </a:p>
          <a:p>
            <a:pPr lvl="1"/>
            <a:r>
              <a:rPr lang="en-US"/>
              <a:t>Second level</a:t>
            </a:r>
          </a:p>
          <a:p>
            <a:pPr lvl="2"/>
            <a:r>
              <a:rPr lang="en-US"/>
              <a:t>Third level</a:t>
            </a:r>
          </a:p>
          <a:p>
            <a:pPr lvl="3"/>
            <a:r>
              <a:rPr lang="en-US"/>
              <a:t>Fourth level</a:t>
            </a:r>
          </a:p>
          <a:p>
            <a:pPr lvl="4"/>
            <a:r>
              <a:rPr lang="en-US"/>
              <a:t>Fifth level</a:t>
            </a:r>
          </a:p>
        </p:txBody>
      </p:sp>
      <p:sp>
        <p:nvSpPr>
          <p:cNvPr id="9" name="Text Placeholder 14">
            <a:extLst>
              <a:ext uri="{FF2B5EF4-FFF2-40B4-BE49-F238E27FC236}">
                <a16:creationId xmlns:a16="http://schemas.microsoft.com/office/drawing/2014/main" id="{519D8C4D-5E61-FD69-8C03-BFCE3DA9399E}"/>
              </a:ext>
            </a:extLst>
          </p:cNvPr>
          <p:cNvSpPr>
            <a:spLocks noGrp="1"/>
          </p:cNvSpPr>
          <p:nvPr>
            <p:ph type="body" sz="quarter" idx="4294967295"/>
          </p:nvPr>
        </p:nvSpPr>
        <p:spPr>
          <a:xfrm>
            <a:off x="322263" y="936625"/>
            <a:ext cx="10941050" cy="519113"/>
          </a:xfrm>
        </p:spPr>
        <p:txBody>
          <a:bodyPr>
            <a:normAutofit fontScale="92500"/>
          </a:bodyPr>
          <a:lstStyle/>
          <a:p>
            <a:r>
              <a:rPr lang="en-US" b="1"/>
              <a:t>Purpose</a:t>
            </a:r>
            <a:r>
              <a:rPr lang="en-US"/>
              <a:t>: </a:t>
            </a:r>
            <a:r>
              <a:rPr lang="en-US">
                <a:solidFill>
                  <a:schemeClr val="tx2"/>
                </a:solidFill>
              </a:rPr>
              <a:t>This paper provides a summary of &lt;insert high level exec summary&gt; </a:t>
            </a:r>
          </a:p>
        </p:txBody>
      </p:sp>
    </p:spTree>
    <p:extLst>
      <p:ext uri="{BB962C8B-B14F-4D97-AF65-F5344CB8AC3E}">
        <p14:creationId xmlns:p14="http://schemas.microsoft.com/office/powerpoint/2010/main" val="17276091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02B - White BG">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5EEE8-FF85-7216-E1D3-A064CC954F9F}"/>
              </a:ext>
            </a:extLst>
          </p:cNvPr>
          <p:cNvSpPr>
            <a:spLocks noGrp="1"/>
          </p:cNvSpPr>
          <p:nvPr>
            <p:ph type="ctrTitle"/>
          </p:nvPr>
        </p:nvSpPr>
        <p:spPr>
          <a:xfrm>
            <a:off x="267096" y="763010"/>
            <a:ext cx="8810289" cy="3027478"/>
          </a:xfrm>
        </p:spPr>
        <p:txBody>
          <a:bodyPr anchor="b" anchorCtr="0"/>
          <a:lstStyle>
            <a:lvl1pPr algn="l">
              <a:lnSpc>
                <a:spcPct val="62000"/>
              </a:lnSpc>
              <a:defRPr sz="8800" b="0" i="0" cap="all" baseline="0">
                <a:solidFill>
                  <a:schemeClr val="tx1"/>
                </a:solidFill>
                <a:latin typeface="Aptos Black" panose="020B00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37678E90-F782-C178-A610-A05D0932347C}"/>
              </a:ext>
            </a:extLst>
          </p:cNvPr>
          <p:cNvSpPr>
            <a:spLocks noGrp="1"/>
          </p:cNvSpPr>
          <p:nvPr>
            <p:ph type="subTitle" idx="1"/>
          </p:nvPr>
        </p:nvSpPr>
        <p:spPr>
          <a:xfrm>
            <a:off x="322350" y="3643200"/>
            <a:ext cx="5773649" cy="938264"/>
          </a:xfrm>
        </p:spPr>
        <p:txBody>
          <a:bodyPr anchor="t" anchorCtr="0"/>
          <a:lstStyle>
            <a:lvl1pPr marL="0" indent="0" algn="l">
              <a:buNone/>
              <a:defRPr sz="2600" b="0" i="0" cap="all" baseline="0">
                <a:solidFill>
                  <a:schemeClr val="tx1"/>
                </a:solidFill>
                <a:latin typeface="Aptos Black" panose="020B00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12" name="Group 11">
            <a:extLst>
              <a:ext uri="{FF2B5EF4-FFF2-40B4-BE49-F238E27FC236}">
                <a16:creationId xmlns:a16="http://schemas.microsoft.com/office/drawing/2014/main" id="{77E5131C-DCD4-86E3-A44F-4A302C114424}"/>
              </a:ext>
            </a:extLst>
          </p:cNvPr>
          <p:cNvGrpSpPr/>
          <p:nvPr/>
        </p:nvGrpSpPr>
        <p:grpSpPr>
          <a:xfrm>
            <a:off x="6208973" y="0"/>
            <a:ext cx="3306999" cy="6858000"/>
            <a:chOff x="4472083" y="105607"/>
            <a:chExt cx="3203191" cy="6642725"/>
          </a:xfrm>
        </p:grpSpPr>
        <p:sp>
          <p:nvSpPr>
            <p:cNvPr id="9" name="Freeform 8">
              <a:extLst>
                <a:ext uri="{FF2B5EF4-FFF2-40B4-BE49-F238E27FC236}">
                  <a16:creationId xmlns:a16="http://schemas.microsoft.com/office/drawing/2014/main" id="{AAD1F6B9-DF27-993A-952C-8209B6649CB0}"/>
                </a:ext>
              </a:extLst>
            </p:cNvPr>
            <p:cNvSpPr/>
            <p:nvPr/>
          </p:nvSpPr>
          <p:spPr>
            <a:xfrm>
              <a:off x="4472083" y="2829924"/>
              <a:ext cx="3203191" cy="3204131"/>
            </a:xfrm>
            <a:custGeom>
              <a:avLst/>
              <a:gdLst>
                <a:gd name="connsiteX0" fmla="*/ 1601596 w 3203191"/>
                <a:gd name="connsiteY0" fmla="*/ 3204131 h 3204131"/>
                <a:gd name="connsiteX1" fmla="*/ 3203192 w 3203191"/>
                <a:gd name="connsiteY1" fmla="*/ 1602066 h 3204131"/>
                <a:gd name="connsiteX2" fmla="*/ 1601596 w 3203191"/>
                <a:gd name="connsiteY2" fmla="*/ 0 h 3204131"/>
                <a:gd name="connsiteX3" fmla="*/ 0 w 3203191"/>
                <a:gd name="connsiteY3" fmla="*/ 1602004 h 3204131"/>
                <a:gd name="connsiteX4" fmla="*/ 1601596 w 3203191"/>
                <a:gd name="connsiteY4" fmla="*/ 3204131 h 320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3191" h="3204131">
                  <a:moveTo>
                    <a:pt x="1601596" y="3204131"/>
                  </a:moveTo>
                  <a:cubicBezTo>
                    <a:pt x="2486111" y="3204131"/>
                    <a:pt x="3203192" y="2486840"/>
                    <a:pt x="3203192" y="1602066"/>
                  </a:cubicBezTo>
                  <a:cubicBezTo>
                    <a:pt x="3203192" y="717291"/>
                    <a:pt x="2486111" y="0"/>
                    <a:pt x="1601596" y="0"/>
                  </a:cubicBezTo>
                  <a:cubicBezTo>
                    <a:pt x="717081" y="0"/>
                    <a:pt x="0" y="717230"/>
                    <a:pt x="0" y="1602004"/>
                  </a:cubicBezTo>
                  <a:cubicBezTo>
                    <a:pt x="0" y="2486840"/>
                    <a:pt x="717020" y="3204131"/>
                    <a:pt x="1601596" y="3204131"/>
                  </a:cubicBezTo>
                </a:path>
              </a:pathLst>
            </a:custGeom>
            <a:solidFill>
              <a:schemeClr val="accent1">
                <a:alpha val="45000"/>
              </a:schemeClr>
            </a:solidFill>
            <a:ln w="6141"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CF382D19-B5F5-C776-9BEB-F9F31CFD33D1}"/>
                </a:ext>
              </a:extLst>
            </p:cNvPr>
            <p:cNvSpPr/>
            <p:nvPr/>
          </p:nvSpPr>
          <p:spPr>
            <a:xfrm>
              <a:off x="4472083" y="105607"/>
              <a:ext cx="3203191" cy="1602065"/>
            </a:xfrm>
            <a:custGeom>
              <a:avLst/>
              <a:gdLst>
                <a:gd name="connsiteX0" fmla="*/ 0 w 3203191"/>
                <a:gd name="connsiteY0" fmla="*/ 0 h 1602065"/>
                <a:gd name="connsiteX1" fmla="*/ 1601596 w 3203191"/>
                <a:gd name="connsiteY1" fmla="*/ 1602066 h 1602065"/>
                <a:gd name="connsiteX2" fmla="*/ 3203192 w 3203191"/>
                <a:gd name="connsiteY2" fmla="*/ 0 h 1602065"/>
                <a:gd name="connsiteX3" fmla="*/ 0 w 3203191"/>
                <a:gd name="connsiteY3" fmla="*/ 0 h 1602065"/>
              </a:gdLst>
              <a:ahLst/>
              <a:cxnLst>
                <a:cxn ang="0">
                  <a:pos x="connsiteX0" y="connsiteY0"/>
                </a:cxn>
                <a:cxn ang="0">
                  <a:pos x="connsiteX1" y="connsiteY1"/>
                </a:cxn>
                <a:cxn ang="0">
                  <a:pos x="connsiteX2" y="connsiteY2"/>
                </a:cxn>
                <a:cxn ang="0">
                  <a:pos x="connsiteX3" y="connsiteY3"/>
                </a:cxn>
              </a:cxnLst>
              <a:rect l="l" t="t" r="r" b="b"/>
              <a:pathLst>
                <a:path w="3203191" h="1602065">
                  <a:moveTo>
                    <a:pt x="0" y="0"/>
                  </a:moveTo>
                  <a:cubicBezTo>
                    <a:pt x="0" y="884774"/>
                    <a:pt x="717081" y="1602066"/>
                    <a:pt x="1601596" y="1602066"/>
                  </a:cubicBezTo>
                  <a:cubicBezTo>
                    <a:pt x="2486111" y="1602066"/>
                    <a:pt x="3203192" y="884836"/>
                    <a:pt x="3203192" y="0"/>
                  </a:cubicBezTo>
                  <a:lnTo>
                    <a:pt x="0" y="0"/>
                  </a:lnTo>
                  <a:close/>
                </a:path>
              </a:pathLst>
            </a:custGeom>
            <a:solidFill>
              <a:schemeClr val="accent1"/>
            </a:solidFill>
            <a:ln w="6141"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8982296-D909-8B1E-56EC-1E8F93590D93}"/>
                </a:ext>
              </a:extLst>
            </p:cNvPr>
            <p:cNvSpPr/>
            <p:nvPr/>
          </p:nvSpPr>
          <p:spPr>
            <a:xfrm>
              <a:off x="4472083" y="5146267"/>
              <a:ext cx="3203191" cy="1602065"/>
            </a:xfrm>
            <a:custGeom>
              <a:avLst/>
              <a:gdLst>
                <a:gd name="connsiteX0" fmla="*/ 1601596 w 3203191"/>
                <a:gd name="connsiteY0" fmla="*/ 0 h 1602065"/>
                <a:gd name="connsiteX1" fmla="*/ 0 w 3203191"/>
                <a:gd name="connsiteY1" fmla="*/ 1602066 h 1602065"/>
                <a:gd name="connsiteX2" fmla="*/ 0 w 3203191"/>
                <a:gd name="connsiteY2" fmla="*/ 1602066 h 1602065"/>
                <a:gd name="connsiteX3" fmla="*/ 3203192 w 3203191"/>
                <a:gd name="connsiteY3" fmla="*/ 1602066 h 1602065"/>
                <a:gd name="connsiteX4" fmla="*/ 3203192 w 3203191"/>
                <a:gd name="connsiteY4" fmla="*/ 1602066 h 1602065"/>
                <a:gd name="connsiteX5" fmla="*/ 1601596 w 3203191"/>
                <a:gd name="connsiteY5" fmla="*/ 0 h 1602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3191" h="1602065">
                  <a:moveTo>
                    <a:pt x="1601596" y="0"/>
                  </a:moveTo>
                  <a:cubicBezTo>
                    <a:pt x="717081" y="0"/>
                    <a:pt x="0" y="717291"/>
                    <a:pt x="0" y="1602066"/>
                  </a:cubicBezTo>
                  <a:cubicBezTo>
                    <a:pt x="0" y="1602066"/>
                    <a:pt x="0" y="1602066"/>
                    <a:pt x="0" y="1602066"/>
                  </a:cubicBezTo>
                  <a:lnTo>
                    <a:pt x="3203192" y="1602066"/>
                  </a:lnTo>
                  <a:cubicBezTo>
                    <a:pt x="3203192" y="1602066"/>
                    <a:pt x="3203192" y="1602066"/>
                    <a:pt x="3203192" y="1602066"/>
                  </a:cubicBezTo>
                  <a:cubicBezTo>
                    <a:pt x="3203192" y="717291"/>
                    <a:pt x="2486111" y="0"/>
                    <a:pt x="1601596" y="0"/>
                  </a:cubicBezTo>
                  <a:close/>
                </a:path>
              </a:pathLst>
            </a:custGeom>
            <a:solidFill>
              <a:schemeClr val="accent1">
                <a:alpha val="18000"/>
              </a:schemeClr>
            </a:solidFill>
            <a:ln w="6141" cap="flat">
              <a:noFill/>
              <a:prstDash val="solid"/>
              <a:miter/>
            </a:ln>
          </p:spPr>
          <p:txBody>
            <a:bodyPr rtlCol="0" anchor="ctr"/>
            <a:lstStyle/>
            <a:p>
              <a:endParaRPr lang="en-US"/>
            </a:p>
          </p:txBody>
        </p:sp>
      </p:grpSp>
      <p:sp>
        <p:nvSpPr>
          <p:cNvPr id="16" name="Graphic 14">
            <a:extLst>
              <a:ext uri="{FF2B5EF4-FFF2-40B4-BE49-F238E27FC236}">
                <a16:creationId xmlns:a16="http://schemas.microsoft.com/office/drawing/2014/main" id="{A00F7C08-EF3F-50F4-1EB8-4949F64A1475}"/>
              </a:ext>
            </a:extLst>
          </p:cNvPr>
          <p:cNvSpPr/>
          <p:nvPr/>
        </p:nvSpPr>
        <p:spPr>
          <a:xfrm>
            <a:off x="10835954" y="282856"/>
            <a:ext cx="1085374" cy="1075203"/>
          </a:xfrm>
          <a:custGeom>
            <a:avLst/>
            <a:gdLst>
              <a:gd name="connsiteX0" fmla="*/ 2797238 w 5381200"/>
              <a:gd name="connsiteY0" fmla="*/ 2292455 h 5330772"/>
              <a:gd name="connsiteX1" fmla="*/ 2797238 w 5381200"/>
              <a:gd name="connsiteY1" fmla="*/ 2290393 h 5330772"/>
              <a:gd name="connsiteX2" fmla="*/ 2641721 w 5381200"/>
              <a:gd name="connsiteY2" fmla="*/ 2116477 h 5330772"/>
              <a:gd name="connsiteX3" fmla="*/ 2483155 w 5381200"/>
              <a:gd name="connsiteY3" fmla="*/ 2290393 h 5330772"/>
              <a:gd name="connsiteX4" fmla="*/ 2483155 w 5381200"/>
              <a:gd name="connsiteY4" fmla="*/ 2292455 h 5330772"/>
              <a:gd name="connsiteX5" fmla="*/ 2641721 w 5381200"/>
              <a:gd name="connsiteY5" fmla="*/ 2466370 h 5330772"/>
              <a:gd name="connsiteX6" fmla="*/ 2797238 w 5381200"/>
              <a:gd name="connsiteY6" fmla="*/ 2292455 h 5330772"/>
              <a:gd name="connsiteX7" fmla="*/ 3472309 w 5381200"/>
              <a:gd name="connsiteY7" fmla="*/ 1857218 h 5330772"/>
              <a:gd name="connsiteX8" fmla="*/ 3472309 w 5381200"/>
              <a:gd name="connsiteY8" fmla="*/ 1856949 h 5330772"/>
              <a:gd name="connsiteX9" fmla="*/ 3449350 w 5381200"/>
              <a:gd name="connsiteY9" fmla="*/ 1838661 h 5330772"/>
              <a:gd name="connsiteX10" fmla="*/ 3421278 w 5381200"/>
              <a:gd name="connsiteY10" fmla="*/ 1838661 h 5330772"/>
              <a:gd name="connsiteX11" fmla="*/ 3421278 w 5381200"/>
              <a:gd name="connsiteY11" fmla="*/ 1875686 h 5330772"/>
              <a:gd name="connsiteX12" fmla="*/ 3449529 w 5381200"/>
              <a:gd name="connsiteY12" fmla="*/ 1875686 h 5330772"/>
              <a:gd name="connsiteX13" fmla="*/ 3472309 w 5381200"/>
              <a:gd name="connsiteY13" fmla="*/ 1857218 h 5330772"/>
              <a:gd name="connsiteX14" fmla="*/ 3490606 w 5381200"/>
              <a:gd name="connsiteY14" fmla="*/ 1856322 h 5330772"/>
              <a:gd name="connsiteX15" fmla="*/ 3465673 w 5381200"/>
              <a:gd name="connsiteY15" fmla="*/ 1888236 h 5330772"/>
              <a:gd name="connsiteX16" fmla="*/ 3487108 w 5381200"/>
              <a:gd name="connsiteY16" fmla="*/ 1915130 h 5330772"/>
              <a:gd name="connsiteX17" fmla="*/ 3490067 w 5381200"/>
              <a:gd name="connsiteY17" fmla="*/ 1922033 h 5330772"/>
              <a:gd name="connsiteX18" fmla="*/ 3481368 w 5381200"/>
              <a:gd name="connsiteY18" fmla="*/ 1930549 h 5330772"/>
              <a:gd name="connsiteX19" fmla="*/ 3472489 w 5381200"/>
              <a:gd name="connsiteY19" fmla="*/ 1925708 h 5330772"/>
              <a:gd name="connsiteX20" fmla="*/ 3445852 w 5381200"/>
              <a:gd name="connsiteY20" fmla="*/ 1891732 h 5330772"/>
              <a:gd name="connsiteX21" fmla="*/ 3421278 w 5381200"/>
              <a:gd name="connsiteY21" fmla="*/ 1891732 h 5330772"/>
              <a:gd name="connsiteX22" fmla="*/ 3421278 w 5381200"/>
              <a:gd name="connsiteY22" fmla="*/ 1921406 h 5330772"/>
              <a:gd name="connsiteX23" fmla="*/ 3412130 w 5381200"/>
              <a:gd name="connsiteY23" fmla="*/ 1930549 h 5330772"/>
              <a:gd name="connsiteX24" fmla="*/ 3403161 w 5381200"/>
              <a:gd name="connsiteY24" fmla="*/ 1921406 h 5330772"/>
              <a:gd name="connsiteX25" fmla="*/ 3403161 w 5381200"/>
              <a:gd name="connsiteY25" fmla="*/ 1831310 h 5330772"/>
              <a:gd name="connsiteX26" fmla="*/ 3412130 w 5381200"/>
              <a:gd name="connsiteY26" fmla="*/ 1822166 h 5330772"/>
              <a:gd name="connsiteX27" fmla="*/ 3450874 w 5381200"/>
              <a:gd name="connsiteY27" fmla="*/ 1822166 h 5330772"/>
              <a:gd name="connsiteX28" fmla="*/ 3481906 w 5381200"/>
              <a:gd name="connsiteY28" fmla="*/ 1832924 h 5330772"/>
              <a:gd name="connsiteX29" fmla="*/ 3490606 w 5381200"/>
              <a:gd name="connsiteY29" fmla="*/ 1855963 h 5330772"/>
              <a:gd name="connsiteX30" fmla="*/ 3490606 w 5381200"/>
              <a:gd name="connsiteY30" fmla="*/ 1856322 h 5330772"/>
              <a:gd name="connsiteX31" fmla="*/ 3533297 w 5381200"/>
              <a:gd name="connsiteY31" fmla="*/ 1877837 h 5330772"/>
              <a:gd name="connsiteX32" fmla="*/ 3533297 w 5381200"/>
              <a:gd name="connsiteY32" fmla="*/ 1877299 h 5330772"/>
              <a:gd name="connsiteX33" fmla="*/ 3443161 w 5381200"/>
              <a:gd name="connsiteY33" fmla="*/ 1786845 h 5330772"/>
              <a:gd name="connsiteX34" fmla="*/ 3352398 w 5381200"/>
              <a:gd name="connsiteY34" fmla="*/ 1877837 h 5330772"/>
              <a:gd name="connsiteX35" fmla="*/ 3352398 w 5381200"/>
              <a:gd name="connsiteY35" fmla="*/ 1878375 h 5330772"/>
              <a:gd name="connsiteX36" fmla="*/ 3442533 w 5381200"/>
              <a:gd name="connsiteY36" fmla="*/ 1968829 h 5330772"/>
              <a:gd name="connsiteX37" fmla="*/ 3533297 w 5381200"/>
              <a:gd name="connsiteY37" fmla="*/ 1877837 h 5330772"/>
              <a:gd name="connsiteX38" fmla="*/ 3543879 w 5381200"/>
              <a:gd name="connsiteY38" fmla="*/ 1877299 h 5330772"/>
              <a:gd name="connsiteX39" fmla="*/ 3543879 w 5381200"/>
              <a:gd name="connsiteY39" fmla="*/ 1877837 h 5330772"/>
              <a:gd name="connsiteX40" fmla="*/ 3442533 w 5381200"/>
              <a:gd name="connsiteY40" fmla="*/ 1978869 h 5330772"/>
              <a:gd name="connsiteX41" fmla="*/ 3341726 w 5381200"/>
              <a:gd name="connsiteY41" fmla="*/ 1878465 h 5330772"/>
              <a:gd name="connsiteX42" fmla="*/ 3341726 w 5381200"/>
              <a:gd name="connsiteY42" fmla="*/ 1877927 h 5330772"/>
              <a:gd name="connsiteX43" fmla="*/ 3443071 w 5381200"/>
              <a:gd name="connsiteY43" fmla="*/ 1776895 h 5330772"/>
              <a:gd name="connsiteX44" fmla="*/ 3543879 w 5381200"/>
              <a:gd name="connsiteY44" fmla="*/ 1877299 h 5330772"/>
              <a:gd name="connsiteX45" fmla="*/ 3285313 w 5381200"/>
              <a:gd name="connsiteY45" fmla="*/ 2008363 h 5330772"/>
              <a:gd name="connsiteX46" fmla="*/ 3478946 w 5381200"/>
              <a:gd name="connsiteY46" fmla="*/ 2216255 h 5330772"/>
              <a:gd name="connsiteX47" fmla="*/ 3478946 w 5381200"/>
              <a:gd name="connsiteY47" fmla="*/ 2506532 h 5330772"/>
              <a:gd name="connsiteX48" fmla="*/ 3417152 w 5381200"/>
              <a:gd name="connsiteY48" fmla="*/ 2568299 h 5330772"/>
              <a:gd name="connsiteX49" fmla="*/ 3354371 w 5381200"/>
              <a:gd name="connsiteY49" fmla="*/ 2506532 h 5330772"/>
              <a:gd name="connsiteX50" fmla="*/ 3354371 w 5381200"/>
              <a:gd name="connsiteY50" fmla="*/ 2254355 h 5330772"/>
              <a:gd name="connsiteX51" fmla="*/ 3237958 w 5381200"/>
              <a:gd name="connsiteY51" fmla="*/ 2121587 h 5330772"/>
              <a:gd name="connsiteX52" fmla="*/ 3115446 w 5381200"/>
              <a:gd name="connsiteY52" fmla="*/ 2256327 h 5330772"/>
              <a:gd name="connsiteX53" fmla="*/ 3115446 w 5381200"/>
              <a:gd name="connsiteY53" fmla="*/ 2506442 h 5330772"/>
              <a:gd name="connsiteX54" fmla="*/ 3052665 w 5381200"/>
              <a:gd name="connsiteY54" fmla="*/ 2568209 h 5330772"/>
              <a:gd name="connsiteX55" fmla="*/ 2990871 w 5381200"/>
              <a:gd name="connsiteY55" fmla="*/ 2506442 h 5330772"/>
              <a:gd name="connsiteX56" fmla="*/ 2990871 w 5381200"/>
              <a:gd name="connsiteY56" fmla="*/ 2076226 h 5330772"/>
              <a:gd name="connsiteX57" fmla="*/ 3052665 w 5381200"/>
              <a:gd name="connsiteY57" fmla="*/ 2013383 h 5330772"/>
              <a:gd name="connsiteX58" fmla="*/ 3115446 w 5381200"/>
              <a:gd name="connsiteY58" fmla="*/ 2076226 h 5330772"/>
              <a:gd name="connsiteX59" fmla="*/ 3115446 w 5381200"/>
              <a:gd name="connsiteY59" fmla="*/ 2102941 h 5330772"/>
              <a:gd name="connsiteX60" fmla="*/ 3285313 w 5381200"/>
              <a:gd name="connsiteY60" fmla="*/ 2008363 h 5330772"/>
              <a:gd name="connsiteX61" fmla="*/ 2923875 w 5381200"/>
              <a:gd name="connsiteY61" fmla="*/ 2292455 h 5330772"/>
              <a:gd name="connsiteX62" fmla="*/ 2671677 w 5381200"/>
              <a:gd name="connsiteY62" fmla="*/ 2574484 h 5330772"/>
              <a:gd name="connsiteX63" fmla="*/ 2486294 w 5381200"/>
              <a:gd name="connsiteY63" fmla="*/ 2478741 h 5330772"/>
              <a:gd name="connsiteX64" fmla="*/ 2486294 w 5381200"/>
              <a:gd name="connsiteY64" fmla="*/ 2506532 h 5330772"/>
              <a:gd name="connsiteX65" fmla="*/ 2423424 w 5381200"/>
              <a:gd name="connsiteY65" fmla="*/ 2568299 h 5330772"/>
              <a:gd name="connsiteX66" fmla="*/ 2361630 w 5381200"/>
              <a:gd name="connsiteY66" fmla="*/ 2506532 h 5330772"/>
              <a:gd name="connsiteX67" fmla="*/ 2361630 w 5381200"/>
              <a:gd name="connsiteY67" fmla="*/ 1868424 h 5330772"/>
              <a:gd name="connsiteX68" fmla="*/ 2423424 w 5381200"/>
              <a:gd name="connsiteY68" fmla="*/ 1806747 h 5330772"/>
              <a:gd name="connsiteX69" fmla="*/ 2486294 w 5381200"/>
              <a:gd name="connsiteY69" fmla="*/ 1868424 h 5330772"/>
              <a:gd name="connsiteX70" fmla="*/ 2486294 w 5381200"/>
              <a:gd name="connsiteY70" fmla="*/ 2110292 h 5330772"/>
              <a:gd name="connsiteX71" fmla="*/ 2671677 w 5381200"/>
              <a:gd name="connsiteY71" fmla="*/ 2008453 h 5330772"/>
              <a:gd name="connsiteX72" fmla="*/ 2923875 w 5381200"/>
              <a:gd name="connsiteY72" fmla="*/ 2290482 h 5330772"/>
              <a:gd name="connsiteX73" fmla="*/ 2923875 w 5381200"/>
              <a:gd name="connsiteY73" fmla="*/ 2292455 h 5330772"/>
              <a:gd name="connsiteX74" fmla="*/ 2273109 w 5381200"/>
              <a:gd name="connsiteY74" fmla="*/ 2506532 h 5330772"/>
              <a:gd name="connsiteX75" fmla="*/ 2211315 w 5381200"/>
              <a:gd name="connsiteY75" fmla="*/ 2568299 h 5330772"/>
              <a:gd name="connsiteX76" fmla="*/ 2148534 w 5381200"/>
              <a:gd name="connsiteY76" fmla="*/ 2506532 h 5330772"/>
              <a:gd name="connsiteX77" fmla="*/ 2148534 w 5381200"/>
              <a:gd name="connsiteY77" fmla="*/ 2254355 h 5330772"/>
              <a:gd name="connsiteX78" fmla="*/ 2032210 w 5381200"/>
              <a:gd name="connsiteY78" fmla="*/ 2121587 h 5330772"/>
              <a:gd name="connsiteX79" fmla="*/ 1909699 w 5381200"/>
              <a:gd name="connsiteY79" fmla="*/ 2256327 h 5330772"/>
              <a:gd name="connsiteX80" fmla="*/ 1909699 w 5381200"/>
              <a:gd name="connsiteY80" fmla="*/ 2506442 h 5330772"/>
              <a:gd name="connsiteX81" fmla="*/ 1846828 w 5381200"/>
              <a:gd name="connsiteY81" fmla="*/ 2568209 h 5330772"/>
              <a:gd name="connsiteX82" fmla="*/ 1785034 w 5381200"/>
              <a:gd name="connsiteY82" fmla="*/ 2506442 h 5330772"/>
              <a:gd name="connsiteX83" fmla="*/ 1785034 w 5381200"/>
              <a:gd name="connsiteY83" fmla="*/ 2076226 h 5330772"/>
              <a:gd name="connsiteX84" fmla="*/ 1846828 w 5381200"/>
              <a:gd name="connsiteY84" fmla="*/ 2013383 h 5330772"/>
              <a:gd name="connsiteX85" fmla="*/ 1909699 w 5381200"/>
              <a:gd name="connsiteY85" fmla="*/ 2076226 h 5330772"/>
              <a:gd name="connsiteX86" fmla="*/ 1909699 w 5381200"/>
              <a:gd name="connsiteY86" fmla="*/ 2102941 h 5330772"/>
              <a:gd name="connsiteX87" fmla="*/ 2079565 w 5381200"/>
              <a:gd name="connsiteY87" fmla="*/ 2008274 h 5330772"/>
              <a:gd name="connsiteX88" fmla="*/ 2273199 w 5381200"/>
              <a:gd name="connsiteY88" fmla="*/ 2216165 h 5330772"/>
              <a:gd name="connsiteX89" fmla="*/ 2273199 w 5381200"/>
              <a:gd name="connsiteY89" fmla="*/ 2506532 h 5330772"/>
              <a:gd name="connsiteX90" fmla="*/ 3700652 w 5381200"/>
              <a:gd name="connsiteY90" fmla="*/ 2281966 h 5330772"/>
              <a:gd name="connsiteX91" fmla="*/ 2626116 w 5381200"/>
              <a:gd name="connsiteY91" fmla="*/ 1207994 h 5330772"/>
              <a:gd name="connsiteX92" fmla="*/ 1551669 w 5381200"/>
              <a:gd name="connsiteY92" fmla="*/ 2281966 h 5330772"/>
              <a:gd name="connsiteX93" fmla="*/ 2626116 w 5381200"/>
              <a:gd name="connsiteY93" fmla="*/ 3356027 h 5330772"/>
              <a:gd name="connsiteX94" fmla="*/ 3700652 w 5381200"/>
              <a:gd name="connsiteY94" fmla="*/ 2281966 h 5330772"/>
              <a:gd name="connsiteX95" fmla="*/ 4064869 w 5381200"/>
              <a:gd name="connsiteY95" fmla="*/ 2408010 h 5330772"/>
              <a:gd name="connsiteX96" fmla="*/ 4139399 w 5381200"/>
              <a:gd name="connsiteY96" fmla="*/ 2282414 h 5330772"/>
              <a:gd name="connsiteX97" fmla="*/ 4064869 w 5381200"/>
              <a:gd name="connsiteY97" fmla="*/ 2156460 h 5330772"/>
              <a:gd name="connsiteX98" fmla="*/ 4116439 w 5381200"/>
              <a:gd name="connsiteY98" fmla="*/ 2019659 h 5330772"/>
              <a:gd name="connsiteX99" fmla="*/ 4021102 w 5381200"/>
              <a:gd name="connsiteY99" fmla="*/ 1908586 h 5330772"/>
              <a:gd name="connsiteX100" fmla="*/ 4048188 w 5381200"/>
              <a:gd name="connsiteY100" fmla="*/ 1764971 h 5330772"/>
              <a:gd name="connsiteX101" fmla="*/ 3935003 w 5381200"/>
              <a:gd name="connsiteY101" fmla="*/ 1672097 h 5330772"/>
              <a:gd name="connsiteX102" fmla="*/ 3936618 w 5381200"/>
              <a:gd name="connsiteY102" fmla="*/ 1525883 h 5330772"/>
              <a:gd name="connsiteX103" fmla="*/ 3809173 w 5381200"/>
              <a:gd name="connsiteY103" fmla="*/ 1454165 h 5330772"/>
              <a:gd name="connsiteX104" fmla="*/ 3785406 w 5381200"/>
              <a:gd name="connsiteY104" fmla="*/ 1310013 h 5330772"/>
              <a:gd name="connsiteX105" fmla="*/ 3647288 w 5381200"/>
              <a:gd name="connsiteY105" fmla="*/ 1261424 h 5330772"/>
              <a:gd name="connsiteX106" fmla="*/ 3598947 w 5381200"/>
              <a:gd name="connsiteY106" fmla="*/ 1123547 h 5330772"/>
              <a:gd name="connsiteX107" fmla="*/ 3454462 w 5381200"/>
              <a:gd name="connsiteY107" fmla="*/ 1099701 h 5330772"/>
              <a:gd name="connsiteX108" fmla="*/ 3382713 w 5381200"/>
              <a:gd name="connsiteY108" fmla="*/ 972312 h 5330772"/>
              <a:gd name="connsiteX109" fmla="*/ 3236254 w 5381200"/>
              <a:gd name="connsiteY109" fmla="*/ 973746 h 5330772"/>
              <a:gd name="connsiteX110" fmla="*/ 3143608 w 5381200"/>
              <a:gd name="connsiteY110" fmla="*/ 860881 h 5330772"/>
              <a:gd name="connsiteX111" fmla="*/ 2999750 w 5381200"/>
              <a:gd name="connsiteY111" fmla="*/ 887775 h 5330772"/>
              <a:gd name="connsiteX112" fmla="*/ 2888898 w 5381200"/>
              <a:gd name="connsiteY112" fmla="*/ 792659 h 5330772"/>
              <a:gd name="connsiteX113" fmla="*/ 2751767 w 5381200"/>
              <a:gd name="connsiteY113" fmla="*/ 844206 h 5330772"/>
              <a:gd name="connsiteX114" fmla="*/ 2625936 w 5381200"/>
              <a:gd name="connsiteY114" fmla="*/ 769799 h 5330772"/>
              <a:gd name="connsiteX115" fmla="*/ 2500016 w 5381200"/>
              <a:gd name="connsiteY115" fmla="*/ 844386 h 5330772"/>
              <a:gd name="connsiteX116" fmla="*/ 2363154 w 5381200"/>
              <a:gd name="connsiteY116" fmla="*/ 792659 h 5330772"/>
              <a:gd name="connsiteX117" fmla="*/ 2252212 w 5381200"/>
              <a:gd name="connsiteY117" fmla="*/ 887954 h 5330772"/>
              <a:gd name="connsiteX118" fmla="*/ 2108355 w 5381200"/>
              <a:gd name="connsiteY118" fmla="*/ 860881 h 5330772"/>
              <a:gd name="connsiteX119" fmla="*/ 2015619 w 5381200"/>
              <a:gd name="connsiteY119" fmla="*/ 974015 h 5330772"/>
              <a:gd name="connsiteX120" fmla="*/ 1869340 w 5381200"/>
              <a:gd name="connsiteY120" fmla="*/ 972312 h 5330772"/>
              <a:gd name="connsiteX121" fmla="*/ 1797680 w 5381200"/>
              <a:gd name="connsiteY121" fmla="*/ 1099790 h 5330772"/>
              <a:gd name="connsiteX122" fmla="*/ 1653284 w 5381200"/>
              <a:gd name="connsiteY122" fmla="*/ 1123547 h 5330772"/>
              <a:gd name="connsiteX123" fmla="*/ 1604853 w 5381200"/>
              <a:gd name="connsiteY123" fmla="*/ 1261603 h 5330772"/>
              <a:gd name="connsiteX124" fmla="*/ 1466826 w 5381200"/>
              <a:gd name="connsiteY124" fmla="*/ 1309923 h 5330772"/>
              <a:gd name="connsiteX125" fmla="*/ 1443148 w 5381200"/>
              <a:gd name="connsiteY125" fmla="*/ 1454255 h 5330772"/>
              <a:gd name="connsiteX126" fmla="*/ 1315524 w 5381200"/>
              <a:gd name="connsiteY126" fmla="*/ 1525883 h 5330772"/>
              <a:gd name="connsiteX127" fmla="*/ 1317318 w 5381200"/>
              <a:gd name="connsiteY127" fmla="*/ 1672187 h 5330772"/>
              <a:gd name="connsiteX128" fmla="*/ 1204133 w 5381200"/>
              <a:gd name="connsiteY128" fmla="*/ 1764971 h 5330772"/>
              <a:gd name="connsiteX129" fmla="*/ 1231129 w 5381200"/>
              <a:gd name="connsiteY129" fmla="*/ 1908586 h 5330772"/>
              <a:gd name="connsiteX130" fmla="*/ 1135702 w 5381200"/>
              <a:gd name="connsiteY130" fmla="*/ 2019659 h 5330772"/>
              <a:gd name="connsiteX131" fmla="*/ 1187452 w 5381200"/>
              <a:gd name="connsiteY131" fmla="*/ 2156460 h 5330772"/>
              <a:gd name="connsiteX132" fmla="*/ 1112832 w 5381200"/>
              <a:gd name="connsiteY132" fmla="*/ 2282324 h 5330772"/>
              <a:gd name="connsiteX133" fmla="*/ 1187452 w 5381200"/>
              <a:gd name="connsiteY133" fmla="*/ 2408010 h 5330772"/>
              <a:gd name="connsiteX134" fmla="*/ 1135702 w 5381200"/>
              <a:gd name="connsiteY134" fmla="*/ 2544811 h 5330772"/>
              <a:gd name="connsiteX135" fmla="*/ 1231129 w 5381200"/>
              <a:gd name="connsiteY135" fmla="*/ 2655525 h 5330772"/>
              <a:gd name="connsiteX136" fmla="*/ 1204133 w 5381200"/>
              <a:gd name="connsiteY136" fmla="*/ 2799050 h 5330772"/>
              <a:gd name="connsiteX137" fmla="*/ 1317228 w 5381200"/>
              <a:gd name="connsiteY137" fmla="*/ 2891656 h 5330772"/>
              <a:gd name="connsiteX138" fmla="*/ 1315524 w 5381200"/>
              <a:gd name="connsiteY138" fmla="*/ 3037960 h 5330772"/>
              <a:gd name="connsiteX139" fmla="*/ 1443148 w 5381200"/>
              <a:gd name="connsiteY139" fmla="*/ 3109588 h 5330772"/>
              <a:gd name="connsiteX140" fmla="*/ 1466915 w 5381200"/>
              <a:gd name="connsiteY140" fmla="*/ 3253919 h 5330772"/>
              <a:gd name="connsiteX141" fmla="*/ 1604943 w 5381200"/>
              <a:gd name="connsiteY141" fmla="*/ 3302329 h 5330772"/>
              <a:gd name="connsiteX142" fmla="*/ 1653374 w 5381200"/>
              <a:gd name="connsiteY142" fmla="*/ 3440385 h 5330772"/>
              <a:gd name="connsiteX143" fmla="*/ 1797770 w 5381200"/>
              <a:gd name="connsiteY143" fmla="*/ 3464052 h 5330772"/>
              <a:gd name="connsiteX144" fmla="*/ 1869429 w 5381200"/>
              <a:gd name="connsiteY144" fmla="*/ 3591530 h 5330772"/>
              <a:gd name="connsiteX145" fmla="*/ 2015619 w 5381200"/>
              <a:gd name="connsiteY145" fmla="*/ 3590006 h 5330772"/>
              <a:gd name="connsiteX146" fmla="*/ 2108444 w 5381200"/>
              <a:gd name="connsiteY146" fmla="*/ 3703051 h 5330772"/>
              <a:gd name="connsiteX147" fmla="*/ 2252212 w 5381200"/>
              <a:gd name="connsiteY147" fmla="*/ 3675978 h 5330772"/>
              <a:gd name="connsiteX148" fmla="*/ 2363334 w 5381200"/>
              <a:gd name="connsiteY148" fmla="*/ 3771273 h 5330772"/>
              <a:gd name="connsiteX149" fmla="*/ 2500106 w 5381200"/>
              <a:gd name="connsiteY149" fmla="*/ 3719815 h 5330772"/>
              <a:gd name="connsiteX150" fmla="*/ 2626026 w 5381200"/>
              <a:gd name="connsiteY150" fmla="*/ 3794491 h 5330772"/>
              <a:gd name="connsiteX151" fmla="*/ 2751856 w 5381200"/>
              <a:gd name="connsiteY151" fmla="*/ 3719815 h 5330772"/>
              <a:gd name="connsiteX152" fmla="*/ 2888898 w 5381200"/>
              <a:gd name="connsiteY152" fmla="*/ 3771542 h 5330772"/>
              <a:gd name="connsiteX153" fmla="*/ 2999930 w 5381200"/>
              <a:gd name="connsiteY153" fmla="*/ 3676157 h 5330772"/>
              <a:gd name="connsiteX154" fmla="*/ 3143608 w 5381200"/>
              <a:gd name="connsiteY154" fmla="*/ 3703230 h 5330772"/>
              <a:gd name="connsiteX155" fmla="*/ 3236434 w 5381200"/>
              <a:gd name="connsiteY155" fmla="*/ 3590096 h 5330772"/>
              <a:gd name="connsiteX156" fmla="*/ 3382713 w 5381200"/>
              <a:gd name="connsiteY156" fmla="*/ 3591709 h 5330772"/>
              <a:gd name="connsiteX157" fmla="*/ 3454552 w 5381200"/>
              <a:gd name="connsiteY157" fmla="*/ 3464232 h 5330772"/>
              <a:gd name="connsiteX158" fmla="*/ 3598857 w 5381200"/>
              <a:gd name="connsiteY158" fmla="*/ 3440475 h 5330772"/>
              <a:gd name="connsiteX159" fmla="*/ 3647288 w 5381200"/>
              <a:gd name="connsiteY159" fmla="*/ 3302418 h 5330772"/>
              <a:gd name="connsiteX160" fmla="*/ 3785406 w 5381200"/>
              <a:gd name="connsiteY160" fmla="*/ 3254009 h 5330772"/>
              <a:gd name="connsiteX161" fmla="*/ 3809173 w 5381200"/>
              <a:gd name="connsiteY161" fmla="*/ 3109677 h 5330772"/>
              <a:gd name="connsiteX162" fmla="*/ 3936618 w 5381200"/>
              <a:gd name="connsiteY162" fmla="*/ 3038049 h 5330772"/>
              <a:gd name="connsiteX163" fmla="*/ 3935092 w 5381200"/>
              <a:gd name="connsiteY163" fmla="*/ 2891745 h 5330772"/>
              <a:gd name="connsiteX164" fmla="*/ 4048188 w 5381200"/>
              <a:gd name="connsiteY164" fmla="*/ 2799140 h 5330772"/>
              <a:gd name="connsiteX165" fmla="*/ 4021102 w 5381200"/>
              <a:gd name="connsiteY165" fmla="*/ 2655525 h 5330772"/>
              <a:gd name="connsiteX166" fmla="*/ 4116439 w 5381200"/>
              <a:gd name="connsiteY166" fmla="*/ 2544811 h 5330772"/>
              <a:gd name="connsiteX167" fmla="*/ 4064869 w 5381200"/>
              <a:gd name="connsiteY167" fmla="*/ 2408010 h 5330772"/>
              <a:gd name="connsiteX168" fmla="*/ 3814913 w 5381200"/>
              <a:gd name="connsiteY168" fmla="*/ 2491740 h 5330772"/>
              <a:gd name="connsiteX169" fmla="*/ 3847021 w 5381200"/>
              <a:gd name="connsiteY169" fmla="*/ 2609178 h 5330772"/>
              <a:gd name="connsiteX170" fmla="*/ 3760563 w 5381200"/>
              <a:gd name="connsiteY170" fmla="*/ 2694612 h 5330772"/>
              <a:gd name="connsiteX171" fmla="*/ 3771773 w 5381200"/>
              <a:gd name="connsiteY171" fmla="*/ 2815814 h 5330772"/>
              <a:gd name="connsiteX172" fmla="*/ 3671593 w 5381200"/>
              <a:gd name="connsiteY172" fmla="*/ 2885112 h 5330772"/>
              <a:gd name="connsiteX173" fmla="*/ 3661548 w 5381200"/>
              <a:gd name="connsiteY173" fmla="*/ 3006493 h 5330772"/>
              <a:gd name="connsiteX174" fmla="*/ 3550875 w 5381200"/>
              <a:gd name="connsiteY174" fmla="*/ 3057413 h 5330772"/>
              <a:gd name="connsiteX175" fmla="*/ 3519933 w 5381200"/>
              <a:gd name="connsiteY175" fmla="*/ 3175120 h 5330772"/>
              <a:gd name="connsiteX176" fmla="*/ 3402085 w 5381200"/>
              <a:gd name="connsiteY176" fmla="*/ 3206138 h 5330772"/>
              <a:gd name="connsiteX177" fmla="*/ 3351143 w 5381200"/>
              <a:gd name="connsiteY177" fmla="*/ 3316762 h 5330772"/>
              <a:gd name="connsiteX178" fmla="*/ 3229617 w 5381200"/>
              <a:gd name="connsiteY178" fmla="*/ 3326892 h 5330772"/>
              <a:gd name="connsiteX179" fmla="*/ 3160200 w 5381200"/>
              <a:gd name="connsiteY179" fmla="*/ 3426849 h 5330772"/>
              <a:gd name="connsiteX180" fmla="*/ 3038764 w 5381200"/>
              <a:gd name="connsiteY180" fmla="*/ 3415822 h 5330772"/>
              <a:gd name="connsiteX181" fmla="*/ 2953024 w 5381200"/>
              <a:gd name="connsiteY181" fmla="*/ 3502242 h 5330772"/>
              <a:gd name="connsiteX182" fmla="*/ 2835444 w 5381200"/>
              <a:gd name="connsiteY182" fmla="*/ 3470238 h 5330772"/>
              <a:gd name="connsiteX183" fmla="*/ 2735982 w 5381200"/>
              <a:gd name="connsiteY183" fmla="*/ 3540521 h 5330772"/>
              <a:gd name="connsiteX184" fmla="*/ 2625757 w 5381200"/>
              <a:gd name="connsiteY184" fmla="*/ 3488526 h 5330772"/>
              <a:gd name="connsiteX185" fmla="*/ 2515711 w 5381200"/>
              <a:gd name="connsiteY185" fmla="*/ 3540342 h 5330772"/>
              <a:gd name="connsiteX186" fmla="*/ 2416159 w 5381200"/>
              <a:gd name="connsiteY186" fmla="*/ 3470148 h 5330772"/>
              <a:gd name="connsiteX187" fmla="*/ 2298580 w 5381200"/>
              <a:gd name="connsiteY187" fmla="*/ 3502062 h 5330772"/>
              <a:gd name="connsiteX188" fmla="*/ 2212839 w 5381200"/>
              <a:gd name="connsiteY188" fmla="*/ 3415732 h 5330772"/>
              <a:gd name="connsiteX189" fmla="*/ 2091583 w 5381200"/>
              <a:gd name="connsiteY189" fmla="*/ 3426669 h 5330772"/>
              <a:gd name="connsiteX190" fmla="*/ 2022076 w 5381200"/>
              <a:gd name="connsiteY190" fmla="*/ 3326802 h 5330772"/>
              <a:gd name="connsiteX191" fmla="*/ 1900819 w 5381200"/>
              <a:gd name="connsiteY191" fmla="*/ 3316583 h 5330772"/>
              <a:gd name="connsiteX192" fmla="*/ 1849788 w 5381200"/>
              <a:gd name="connsiteY192" fmla="*/ 3206048 h 5330772"/>
              <a:gd name="connsiteX193" fmla="*/ 1731940 w 5381200"/>
              <a:gd name="connsiteY193" fmla="*/ 3175030 h 5330772"/>
              <a:gd name="connsiteX194" fmla="*/ 1700908 w 5381200"/>
              <a:gd name="connsiteY194" fmla="*/ 3057323 h 5330772"/>
              <a:gd name="connsiteX195" fmla="*/ 1590414 w 5381200"/>
              <a:gd name="connsiteY195" fmla="*/ 3006404 h 5330772"/>
              <a:gd name="connsiteX196" fmla="*/ 1580279 w 5381200"/>
              <a:gd name="connsiteY196" fmla="*/ 2885022 h 5330772"/>
              <a:gd name="connsiteX197" fmla="*/ 1480279 w 5381200"/>
              <a:gd name="connsiteY197" fmla="*/ 2815635 h 5330772"/>
              <a:gd name="connsiteX198" fmla="*/ 1491220 w 5381200"/>
              <a:gd name="connsiteY198" fmla="*/ 2694612 h 5330772"/>
              <a:gd name="connsiteX199" fmla="*/ 1404852 w 5381200"/>
              <a:gd name="connsiteY199" fmla="*/ 2609088 h 5330772"/>
              <a:gd name="connsiteX200" fmla="*/ 1436781 w 5381200"/>
              <a:gd name="connsiteY200" fmla="*/ 2491740 h 5330772"/>
              <a:gd name="connsiteX201" fmla="*/ 1366646 w 5381200"/>
              <a:gd name="connsiteY201" fmla="*/ 2392322 h 5330772"/>
              <a:gd name="connsiteX202" fmla="*/ 1418484 w 5381200"/>
              <a:gd name="connsiteY202" fmla="*/ 2282235 h 5330772"/>
              <a:gd name="connsiteX203" fmla="*/ 1366646 w 5381200"/>
              <a:gd name="connsiteY203" fmla="*/ 2172059 h 5330772"/>
              <a:gd name="connsiteX204" fmla="*/ 1436960 w 5381200"/>
              <a:gd name="connsiteY204" fmla="*/ 2072640 h 5330772"/>
              <a:gd name="connsiteX205" fmla="*/ 1404942 w 5381200"/>
              <a:gd name="connsiteY205" fmla="*/ 1955202 h 5330772"/>
              <a:gd name="connsiteX206" fmla="*/ 1491579 w 5381200"/>
              <a:gd name="connsiteY206" fmla="*/ 1869500 h 5330772"/>
              <a:gd name="connsiteX207" fmla="*/ 1480368 w 5381200"/>
              <a:gd name="connsiteY207" fmla="*/ 1748207 h 5330772"/>
              <a:gd name="connsiteX208" fmla="*/ 1580369 w 5381200"/>
              <a:gd name="connsiteY208" fmla="*/ 1678821 h 5330772"/>
              <a:gd name="connsiteX209" fmla="*/ 1590503 w 5381200"/>
              <a:gd name="connsiteY209" fmla="*/ 1557528 h 5330772"/>
              <a:gd name="connsiteX210" fmla="*/ 1701087 w 5381200"/>
              <a:gd name="connsiteY210" fmla="*/ 1506519 h 5330772"/>
              <a:gd name="connsiteX211" fmla="*/ 1732029 w 5381200"/>
              <a:gd name="connsiteY211" fmla="*/ 1388812 h 5330772"/>
              <a:gd name="connsiteX212" fmla="*/ 1849877 w 5381200"/>
              <a:gd name="connsiteY212" fmla="*/ 1357794 h 5330772"/>
              <a:gd name="connsiteX213" fmla="*/ 1900819 w 5381200"/>
              <a:gd name="connsiteY213" fmla="*/ 1247260 h 5330772"/>
              <a:gd name="connsiteX214" fmla="*/ 2022165 w 5381200"/>
              <a:gd name="connsiteY214" fmla="*/ 1237130 h 5330772"/>
              <a:gd name="connsiteX215" fmla="*/ 2091673 w 5381200"/>
              <a:gd name="connsiteY215" fmla="*/ 1137173 h 5330772"/>
              <a:gd name="connsiteX216" fmla="*/ 2212929 w 5381200"/>
              <a:gd name="connsiteY216" fmla="*/ 1148289 h 5330772"/>
              <a:gd name="connsiteX217" fmla="*/ 2298490 w 5381200"/>
              <a:gd name="connsiteY217" fmla="*/ 1061959 h 5330772"/>
              <a:gd name="connsiteX218" fmla="*/ 2416070 w 5381200"/>
              <a:gd name="connsiteY218" fmla="*/ 1093873 h 5330772"/>
              <a:gd name="connsiteX219" fmla="*/ 2515532 w 5381200"/>
              <a:gd name="connsiteY219" fmla="*/ 1023590 h 5330772"/>
              <a:gd name="connsiteX220" fmla="*/ 2625667 w 5381200"/>
              <a:gd name="connsiteY220" fmla="*/ 1075496 h 5330772"/>
              <a:gd name="connsiteX221" fmla="*/ 2735892 w 5381200"/>
              <a:gd name="connsiteY221" fmla="*/ 1023590 h 5330772"/>
              <a:gd name="connsiteX222" fmla="*/ 2835355 w 5381200"/>
              <a:gd name="connsiteY222" fmla="*/ 1093784 h 5330772"/>
              <a:gd name="connsiteX223" fmla="*/ 2952934 w 5381200"/>
              <a:gd name="connsiteY223" fmla="*/ 1061690 h 5330772"/>
              <a:gd name="connsiteX224" fmla="*/ 3038674 w 5381200"/>
              <a:gd name="connsiteY224" fmla="*/ 1148200 h 5330772"/>
              <a:gd name="connsiteX225" fmla="*/ 3160110 w 5381200"/>
              <a:gd name="connsiteY225" fmla="*/ 1136994 h 5330772"/>
              <a:gd name="connsiteX226" fmla="*/ 3229528 w 5381200"/>
              <a:gd name="connsiteY226" fmla="*/ 1237040 h 5330772"/>
              <a:gd name="connsiteX227" fmla="*/ 3351053 w 5381200"/>
              <a:gd name="connsiteY227" fmla="*/ 1247170 h 5330772"/>
              <a:gd name="connsiteX228" fmla="*/ 3401995 w 5381200"/>
              <a:gd name="connsiteY228" fmla="*/ 1357794 h 5330772"/>
              <a:gd name="connsiteX229" fmla="*/ 3519844 w 5381200"/>
              <a:gd name="connsiteY229" fmla="*/ 1388812 h 5330772"/>
              <a:gd name="connsiteX230" fmla="*/ 3550785 w 5381200"/>
              <a:gd name="connsiteY230" fmla="*/ 1506519 h 5330772"/>
              <a:gd name="connsiteX231" fmla="*/ 3661548 w 5381200"/>
              <a:gd name="connsiteY231" fmla="*/ 1557438 h 5330772"/>
              <a:gd name="connsiteX232" fmla="*/ 3671503 w 5381200"/>
              <a:gd name="connsiteY232" fmla="*/ 1678821 h 5330772"/>
              <a:gd name="connsiteX233" fmla="*/ 3771684 w 5381200"/>
              <a:gd name="connsiteY233" fmla="*/ 1748207 h 5330772"/>
              <a:gd name="connsiteX234" fmla="*/ 3760473 w 5381200"/>
              <a:gd name="connsiteY234" fmla="*/ 1869410 h 5330772"/>
              <a:gd name="connsiteX235" fmla="*/ 3846931 w 5381200"/>
              <a:gd name="connsiteY235" fmla="*/ 1955202 h 5330772"/>
              <a:gd name="connsiteX236" fmla="*/ 3814823 w 5381200"/>
              <a:gd name="connsiteY236" fmla="*/ 2072550 h 5330772"/>
              <a:gd name="connsiteX237" fmla="*/ 3885227 w 5381200"/>
              <a:gd name="connsiteY237" fmla="*/ 2171969 h 5330772"/>
              <a:gd name="connsiteX238" fmla="*/ 3833209 w 5381200"/>
              <a:gd name="connsiteY238" fmla="*/ 2282056 h 5330772"/>
              <a:gd name="connsiteX239" fmla="*/ 3885227 w 5381200"/>
              <a:gd name="connsiteY239" fmla="*/ 2392232 h 5330772"/>
              <a:gd name="connsiteX240" fmla="*/ 3814913 w 5381200"/>
              <a:gd name="connsiteY240" fmla="*/ 2491740 h 5330772"/>
              <a:gd name="connsiteX241" fmla="*/ 1648441 w 5381200"/>
              <a:gd name="connsiteY241" fmla="*/ 3620755 h 5330772"/>
              <a:gd name="connsiteX242" fmla="*/ 1501624 w 5381200"/>
              <a:gd name="connsiteY242" fmla="*/ 3767597 h 5330772"/>
              <a:gd name="connsiteX243" fmla="*/ 1354717 w 5381200"/>
              <a:gd name="connsiteY243" fmla="*/ 3620755 h 5330772"/>
              <a:gd name="connsiteX244" fmla="*/ 1501624 w 5381200"/>
              <a:gd name="connsiteY244" fmla="*/ 3473913 h 5330772"/>
              <a:gd name="connsiteX245" fmla="*/ 1648441 w 5381200"/>
              <a:gd name="connsiteY245" fmla="*/ 3620755 h 5330772"/>
              <a:gd name="connsiteX246" fmla="*/ 1433373 w 5381200"/>
              <a:gd name="connsiteY246" fmla="*/ 3405871 h 5330772"/>
              <a:gd name="connsiteX247" fmla="*/ 1286555 w 5381200"/>
              <a:gd name="connsiteY247" fmla="*/ 3552713 h 5330772"/>
              <a:gd name="connsiteX248" fmla="*/ 1139738 w 5381200"/>
              <a:gd name="connsiteY248" fmla="*/ 3405871 h 5330772"/>
              <a:gd name="connsiteX249" fmla="*/ 1286555 w 5381200"/>
              <a:gd name="connsiteY249" fmla="*/ 3259119 h 5330772"/>
              <a:gd name="connsiteX250" fmla="*/ 1433373 w 5381200"/>
              <a:gd name="connsiteY250" fmla="*/ 3405871 h 5330772"/>
              <a:gd name="connsiteX251" fmla="*/ 1258304 w 5381200"/>
              <a:gd name="connsiteY251" fmla="*/ 3155666 h 5330772"/>
              <a:gd name="connsiteX252" fmla="*/ 1111487 w 5381200"/>
              <a:gd name="connsiteY252" fmla="*/ 3302418 h 5330772"/>
              <a:gd name="connsiteX253" fmla="*/ 964670 w 5381200"/>
              <a:gd name="connsiteY253" fmla="*/ 3155666 h 5330772"/>
              <a:gd name="connsiteX254" fmla="*/ 1111487 w 5381200"/>
              <a:gd name="connsiteY254" fmla="*/ 3008824 h 5330772"/>
              <a:gd name="connsiteX255" fmla="*/ 1258304 w 5381200"/>
              <a:gd name="connsiteY255" fmla="*/ 3155666 h 5330772"/>
              <a:gd name="connsiteX256" fmla="*/ 1129514 w 5381200"/>
              <a:gd name="connsiteY256" fmla="*/ 2879553 h 5330772"/>
              <a:gd name="connsiteX257" fmla="*/ 982697 w 5381200"/>
              <a:gd name="connsiteY257" fmla="*/ 3026395 h 5330772"/>
              <a:gd name="connsiteX258" fmla="*/ 835880 w 5381200"/>
              <a:gd name="connsiteY258" fmla="*/ 2879553 h 5330772"/>
              <a:gd name="connsiteX259" fmla="*/ 982697 w 5381200"/>
              <a:gd name="connsiteY259" fmla="*/ 2732891 h 5330772"/>
              <a:gd name="connsiteX260" fmla="*/ 1129514 w 5381200"/>
              <a:gd name="connsiteY260" fmla="*/ 2879553 h 5330772"/>
              <a:gd name="connsiteX261" fmla="*/ 1050590 w 5381200"/>
              <a:gd name="connsiteY261" fmla="*/ 2585511 h 5330772"/>
              <a:gd name="connsiteX262" fmla="*/ 903862 w 5381200"/>
              <a:gd name="connsiteY262" fmla="*/ 2732353 h 5330772"/>
              <a:gd name="connsiteX263" fmla="*/ 756956 w 5381200"/>
              <a:gd name="connsiteY263" fmla="*/ 2585511 h 5330772"/>
              <a:gd name="connsiteX264" fmla="*/ 903862 w 5381200"/>
              <a:gd name="connsiteY264" fmla="*/ 2438759 h 5330772"/>
              <a:gd name="connsiteX265" fmla="*/ 1050590 w 5381200"/>
              <a:gd name="connsiteY265" fmla="*/ 2585511 h 5330772"/>
              <a:gd name="connsiteX266" fmla="*/ 1024042 w 5381200"/>
              <a:gd name="connsiteY266" fmla="*/ 2282145 h 5330772"/>
              <a:gd name="connsiteX267" fmla="*/ 877315 w 5381200"/>
              <a:gd name="connsiteY267" fmla="*/ 2428987 h 5330772"/>
              <a:gd name="connsiteX268" fmla="*/ 730408 w 5381200"/>
              <a:gd name="connsiteY268" fmla="*/ 2282145 h 5330772"/>
              <a:gd name="connsiteX269" fmla="*/ 877315 w 5381200"/>
              <a:gd name="connsiteY269" fmla="*/ 2135393 h 5330772"/>
              <a:gd name="connsiteX270" fmla="*/ 1024042 w 5381200"/>
              <a:gd name="connsiteY270" fmla="*/ 2282145 h 5330772"/>
              <a:gd name="connsiteX271" fmla="*/ 1050590 w 5381200"/>
              <a:gd name="connsiteY271" fmla="*/ 1978511 h 5330772"/>
              <a:gd name="connsiteX272" fmla="*/ 903862 w 5381200"/>
              <a:gd name="connsiteY272" fmla="*/ 2125353 h 5330772"/>
              <a:gd name="connsiteX273" fmla="*/ 756956 w 5381200"/>
              <a:gd name="connsiteY273" fmla="*/ 1978511 h 5330772"/>
              <a:gd name="connsiteX274" fmla="*/ 903862 w 5381200"/>
              <a:gd name="connsiteY274" fmla="*/ 1831759 h 5330772"/>
              <a:gd name="connsiteX275" fmla="*/ 1050590 w 5381200"/>
              <a:gd name="connsiteY275" fmla="*/ 1978511 h 5330772"/>
              <a:gd name="connsiteX276" fmla="*/ 1129514 w 5381200"/>
              <a:gd name="connsiteY276" fmla="*/ 1684199 h 5330772"/>
              <a:gd name="connsiteX277" fmla="*/ 982697 w 5381200"/>
              <a:gd name="connsiteY277" fmla="*/ 1831041 h 5330772"/>
              <a:gd name="connsiteX278" fmla="*/ 835880 w 5381200"/>
              <a:gd name="connsiteY278" fmla="*/ 1684199 h 5330772"/>
              <a:gd name="connsiteX279" fmla="*/ 982697 w 5381200"/>
              <a:gd name="connsiteY279" fmla="*/ 1537447 h 5330772"/>
              <a:gd name="connsiteX280" fmla="*/ 1129514 w 5381200"/>
              <a:gd name="connsiteY280" fmla="*/ 1684199 h 5330772"/>
              <a:gd name="connsiteX281" fmla="*/ 1258304 w 5381200"/>
              <a:gd name="connsiteY281" fmla="*/ 1408086 h 5330772"/>
              <a:gd name="connsiteX282" fmla="*/ 1111487 w 5381200"/>
              <a:gd name="connsiteY282" fmla="*/ 1554928 h 5330772"/>
              <a:gd name="connsiteX283" fmla="*/ 964670 w 5381200"/>
              <a:gd name="connsiteY283" fmla="*/ 1408086 h 5330772"/>
              <a:gd name="connsiteX284" fmla="*/ 1111487 w 5381200"/>
              <a:gd name="connsiteY284" fmla="*/ 1261334 h 5330772"/>
              <a:gd name="connsiteX285" fmla="*/ 1258304 w 5381200"/>
              <a:gd name="connsiteY285" fmla="*/ 1408086 h 5330772"/>
              <a:gd name="connsiteX286" fmla="*/ 1433373 w 5381200"/>
              <a:gd name="connsiteY286" fmla="*/ 1158509 h 5330772"/>
              <a:gd name="connsiteX287" fmla="*/ 1286555 w 5381200"/>
              <a:gd name="connsiteY287" fmla="*/ 1305261 h 5330772"/>
              <a:gd name="connsiteX288" fmla="*/ 1139738 w 5381200"/>
              <a:gd name="connsiteY288" fmla="*/ 1158509 h 5330772"/>
              <a:gd name="connsiteX289" fmla="*/ 1286555 w 5381200"/>
              <a:gd name="connsiteY289" fmla="*/ 1011757 h 5330772"/>
              <a:gd name="connsiteX290" fmla="*/ 1433373 w 5381200"/>
              <a:gd name="connsiteY290" fmla="*/ 1158509 h 5330772"/>
              <a:gd name="connsiteX291" fmla="*/ 2772933 w 5381200"/>
              <a:gd name="connsiteY291" fmla="*/ 534117 h 5330772"/>
              <a:gd name="connsiteX292" fmla="*/ 2626116 w 5381200"/>
              <a:gd name="connsiteY292" fmla="*/ 680869 h 5330772"/>
              <a:gd name="connsiteX293" fmla="*/ 2479299 w 5381200"/>
              <a:gd name="connsiteY293" fmla="*/ 534117 h 5330772"/>
              <a:gd name="connsiteX294" fmla="*/ 2626116 w 5381200"/>
              <a:gd name="connsiteY294" fmla="*/ 387275 h 5330772"/>
              <a:gd name="connsiteX295" fmla="*/ 2772933 w 5381200"/>
              <a:gd name="connsiteY295" fmla="*/ 534117 h 5330772"/>
              <a:gd name="connsiteX296" fmla="*/ 3076612 w 5381200"/>
              <a:gd name="connsiteY296" fmla="*/ 560384 h 5330772"/>
              <a:gd name="connsiteX297" fmla="*/ 2929705 w 5381200"/>
              <a:gd name="connsiteY297" fmla="*/ 707136 h 5330772"/>
              <a:gd name="connsiteX298" fmla="*/ 2782798 w 5381200"/>
              <a:gd name="connsiteY298" fmla="*/ 560384 h 5330772"/>
              <a:gd name="connsiteX299" fmla="*/ 2929705 w 5381200"/>
              <a:gd name="connsiteY299" fmla="*/ 413542 h 5330772"/>
              <a:gd name="connsiteX300" fmla="*/ 3076612 w 5381200"/>
              <a:gd name="connsiteY300" fmla="*/ 560384 h 5330772"/>
              <a:gd name="connsiteX301" fmla="*/ 3897514 w 5381200"/>
              <a:gd name="connsiteY301" fmla="*/ 942908 h 5330772"/>
              <a:gd name="connsiteX302" fmla="*/ 3750607 w 5381200"/>
              <a:gd name="connsiteY302" fmla="*/ 1089750 h 5330772"/>
              <a:gd name="connsiteX303" fmla="*/ 3603790 w 5381200"/>
              <a:gd name="connsiteY303" fmla="*/ 942908 h 5330772"/>
              <a:gd name="connsiteX304" fmla="*/ 3750607 w 5381200"/>
              <a:gd name="connsiteY304" fmla="*/ 796066 h 5330772"/>
              <a:gd name="connsiteX305" fmla="*/ 3897514 w 5381200"/>
              <a:gd name="connsiteY305" fmla="*/ 942908 h 5330772"/>
              <a:gd name="connsiteX306" fmla="*/ 4112672 w 5381200"/>
              <a:gd name="connsiteY306" fmla="*/ 1158509 h 5330772"/>
              <a:gd name="connsiteX307" fmla="*/ 3965855 w 5381200"/>
              <a:gd name="connsiteY307" fmla="*/ 1305261 h 5330772"/>
              <a:gd name="connsiteX308" fmla="*/ 3819128 w 5381200"/>
              <a:gd name="connsiteY308" fmla="*/ 1158509 h 5330772"/>
              <a:gd name="connsiteX309" fmla="*/ 3965855 w 5381200"/>
              <a:gd name="connsiteY309" fmla="*/ 1011757 h 5330772"/>
              <a:gd name="connsiteX310" fmla="*/ 4112672 w 5381200"/>
              <a:gd name="connsiteY310" fmla="*/ 1158509 h 5330772"/>
              <a:gd name="connsiteX311" fmla="*/ 4286216 w 5381200"/>
              <a:gd name="connsiteY311" fmla="*/ 1408086 h 5330772"/>
              <a:gd name="connsiteX312" fmla="*/ 4139399 w 5381200"/>
              <a:gd name="connsiteY312" fmla="*/ 1554928 h 5330772"/>
              <a:gd name="connsiteX313" fmla="*/ 3992492 w 5381200"/>
              <a:gd name="connsiteY313" fmla="*/ 1408086 h 5330772"/>
              <a:gd name="connsiteX314" fmla="*/ 4139399 w 5381200"/>
              <a:gd name="connsiteY314" fmla="*/ 1261334 h 5330772"/>
              <a:gd name="connsiteX315" fmla="*/ 4286216 w 5381200"/>
              <a:gd name="connsiteY315" fmla="*/ 1408086 h 5330772"/>
              <a:gd name="connsiteX316" fmla="*/ 4416441 w 5381200"/>
              <a:gd name="connsiteY316" fmla="*/ 1684199 h 5330772"/>
              <a:gd name="connsiteX317" fmla="*/ 4269624 w 5381200"/>
              <a:gd name="connsiteY317" fmla="*/ 1831041 h 5330772"/>
              <a:gd name="connsiteX318" fmla="*/ 4122896 w 5381200"/>
              <a:gd name="connsiteY318" fmla="*/ 1684199 h 5330772"/>
              <a:gd name="connsiteX319" fmla="*/ 4269624 w 5381200"/>
              <a:gd name="connsiteY319" fmla="*/ 1537447 h 5330772"/>
              <a:gd name="connsiteX320" fmla="*/ 4416441 w 5381200"/>
              <a:gd name="connsiteY320" fmla="*/ 1684199 h 5330772"/>
              <a:gd name="connsiteX321" fmla="*/ 4495276 w 5381200"/>
              <a:gd name="connsiteY321" fmla="*/ 1978511 h 5330772"/>
              <a:gd name="connsiteX322" fmla="*/ 4348459 w 5381200"/>
              <a:gd name="connsiteY322" fmla="*/ 2125353 h 5330772"/>
              <a:gd name="connsiteX323" fmla="*/ 4201642 w 5381200"/>
              <a:gd name="connsiteY323" fmla="*/ 1978511 h 5330772"/>
              <a:gd name="connsiteX324" fmla="*/ 4348459 w 5381200"/>
              <a:gd name="connsiteY324" fmla="*/ 1831759 h 5330772"/>
              <a:gd name="connsiteX325" fmla="*/ 4495276 w 5381200"/>
              <a:gd name="connsiteY325" fmla="*/ 1978511 h 5330772"/>
              <a:gd name="connsiteX326" fmla="*/ 4521913 w 5381200"/>
              <a:gd name="connsiteY326" fmla="*/ 2282145 h 5330772"/>
              <a:gd name="connsiteX327" fmla="*/ 4375006 w 5381200"/>
              <a:gd name="connsiteY327" fmla="*/ 2428987 h 5330772"/>
              <a:gd name="connsiteX328" fmla="*/ 4228099 w 5381200"/>
              <a:gd name="connsiteY328" fmla="*/ 2282145 h 5330772"/>
              <a:gd name="connsiteX329" fmla="*/ 4375006 w 5381200"/>
              <a:gd name="connsiteY329" fmla="*/ 2135393 h 5330772"/>
              <a:gd name="connsiteX330" fmla="*/ 4521913 w 5381200"/>
              <a:gd name="connsiteY330" fmla="*/ 2282145 h 5330772"/>
              <a:gd name="connsiteX331" fmla="*/ 4495276 w 5381200"/>
              <a:gd name="connsiteY331" fmla="*/ 2585511 h 5330772"/>
              <a:gd name="connsiteX332" fmla="*/ 4348459 w 5381200"/>
              <a:gd name="connsiteY332" fmla="*/ 2732353 h 5330772"/>
              <a:gd name="connsiteX333" fmla="*/ 4201642 w 5381200"/>
              <a:gd name="connsiteY333" fmla="*/ 2585511 h 5330772"/>
              <a:gd name="connsiteX334" fmla="*/ 4348459 w 5381200"/>
              <a:gd name="connsiteY334" fmla="*/ 2438759 h 5330772"/>
              <a:gd name="connsiteX335" fmla="*/ 4495276 w 5381200"/>
              <a:gd name="connsiteY335" fmla="*/ 2585511 h 5330772"/>
              <a:gd name="connsiteX336" fmla="*/ 4416352 w 5381200"/>
              <a:gd name="connsiteY336" fmla="*/ 2879553 h 5330772"/>
              <a:gd name="connsiteX337" fmla="*/ 4269624 w 5381200"/>
              <a:gd name="connsiteY337" fmla="*/ 3026395 h 5330772"/>
              <a:gd name="connsiteX338" fmla="*/ 4122628 w 5381200"/>
              <a:gd name="connsiteY338" fmla="*/ 2879553 h 5330772"/>
              <a:gd name="connsiteX339" fmla="*/ 4269624 w 5381200"/>
              <a:gd name="connsiteY339" fmla="*/ 2732891 h 5330772"/>
              <a:gd name="connsiteX340" fmla="*/ 4416352 w 5381200"/>
              <a:gd name="connsiteY340" fmla="*/ 2879553 h 5330772"/>
              <a:gd name="connsiteX341" fmla="*/ 4287562 w 5381200"/>
              <a:gd name="connsiteY341" fmla="*/ 3155666 h 5330772"/>
              <a:gd name="connsiteX342" fmla="*/ 4140744 w 5381200"/>
              <a:gd name="connsiteY342" fmla="*/ 3302418 h 5330772"/>
              <a:gd name="connsiteX343" fmla="*/ 3993927 w 5381200"/>
              <a:gd name="connsiteY343" fmla="*/ 3155666 h 5330772"/>
              <a:gd name="connsiteX344" fmla="*/ 4140744 w 5381200"/>
              <a:gd name="connsiteY344" fmla="*/ 3008824 h 5330772"/>
              <a:gd name="connsiteX345" fmla="*/ 4287562 w 5381200"/>
              <a:gd name="connsiteY345" fmla="*/ 3155666 h 5330772"/>
              <a:gd name="connsiteX346" fmla="*/ 4112672 w 5381200"/>
              <a:gd name="connsiteY346" fmla="*/ 3405244 h 5330772"/>
              <a:gd name="connsiteX347" fmla="*/ 3965855 w 5381200"/>
              <a:gd name="connsiteY347" fmla="*/ 3551996 h 5330772"/>
              <a:gd name="connsiteX348" fmla="*/ 3819038 w 5381200"/>
              <a:gd name="connsiteY348" fmla="*/ 3405244 h 5330772"/>
              <a:gd name="connsiteX349" fmla="*/ 3965855 w 5381200"/>
              <a:gd name="connsiteY349" fmla="*/ 3258491 h 5330772"/>
              <a:gd name="connsiteX350" fmla="*/ 4112672 w 5381200"/>
              <a:gd name="connsiteY350" fmla="*/ 3405244 h 5330772"/>
              <a:gd name="connsiteX351" fmla="*/ 3897155 w 5381200"/>
              <a:gd name="connsiteY351" fmla="*/ 3620845 h 5330772"/>
              <a:gd name="connsiteX352" fmla="*/ 3750338 w 5381200"/>
              <a:gd name="connsiteY352" fmla="*/ 3767687 h 5330772"/>
              <a:gd name="connsiteX353" fmla="*/ 3603521 w 5381200"/>
              <a:gd name="connsiteY353" fmla="*/ 3620845 h 5330772"/>
              <a:gd name="connsiteX354" fmla="*/ 3750338 w 5381200"/>
              <a:gd name="connsiteY354" fmla="*/ 3474003 h 5330772"/>
              <a:gd name="connsiteX355" fmla="*/ 3897155 w 5381200"/>
              <a:gd name="connsiteY355" fmla="*/ 3620845 h 5330772"/>
              <a:gd name="connsiteX356" fmla="*/ 3647378 w 5381200"/>
              <a:gd name="connsiteY356" fmla="*/ 3795656 h 5330772"/>
              <a:gd name="connsiteX357" fmla="*/ 3500650 w 5381200"/>
              <a:gd name="connsiteY357" fmla="*/ 3942409 h 5330772"/>
              <a:gd name="connsiteX358" fmla="*/ 3353744 w 5381200"/>
              <a:gd name="connsiteY358" fmla="*/ 3795656 h 5330772"/>
              <a:gd name="connsiteX359" fmla="*/ 3500650 w 5381200"/>
              <a:gd name="connsiteY359" fmla="*/ 3648904 h 5330772"/>
              <a:gd name="connsiteX360" fmla="*/ 3647378 w 5381200"/>
              <a:gd name="connsiteY360" fmla="*/ 3795656 h 5330772"/>
              <a:gd name="connsiteX361" fmla="*/ 3371143 w 5381200"/>
              <a:gd name="connsiteY361" fmla="*/ 3924390 h 5330772"/>
              <a:gd name="connsiteX362" fmla="*/ 3224236 w 5381200"/>
              <a:gd name="connsiteY362" fmla="*/ 4071231 h 5330772"/>
              <a:gd name="connsiteX363" fmla="*/ 3077419 w 5381200"/>
              <a:gd name="connsiteY363" fmla="*/ 3924390 h 5330772"/>
              <a:gd name="connsiteX364" fmla="*/ 3224236 w 5381200"/>
              <a:gd name="connsiteY364" fmla="*/ 3777638 h 5330772"/>
              <a:gd name="connsiteX365" fmla="*/ 3371143 w 5381200"/>
              <a:gd name="connsiteY365" fmla="*/ 3924390 h 5330772"/>
              <a:gd name="connsiteX366" fmla="*/ 2469164 w 5381200"/>
              <a:gd name="connsiteY366" fmla="*/ 560653 h 5330772"/>
              <a:gd name="connsiteX367" fmla="*/ 2322347 w 5381200"/>
              <a:gd name="connsiteY367" fmla="*/ 707495 h 5330772"/>
              <a:gd name="connsiteX368" fmla="*/ 2175530 w 5381200"/>
              <a:gd name="connsiteY368" fmla="*/ 560653 h 5330772"/>
              <a:gd name="connsiteX369" fmla="*/ 2322347 w 5381200"/>
              <a:gd name="connsiteY369" fmla="*/ 413901 h 5330772"/>
              <a:gd name="connsiteX370" fmla="*/ 2469164 w 5381200"/>
              <a:gd name="connsiteY370" fmla="*/ 560653 h 5330772"/>
              <a:gd name="connsiteX371" fmla="*/ 1115433 w 5381200"/>
              <a:gd name="connsiteY371" fmla="*/ 3655000 h 5330772"/>
              <a:gd name="connsiteX372" fmla="*/ 988616 w 5381200"/>
              <a:gd name="connsiteY372" fmla="*/ 3781761 h 5330772"/>
              <a:gd name="connsiteX373" fmla="*/ 861799 w 5381200"/>
              <a:gd name="connsiteY373" fmla="*/ 3655000 h 5330772"/>
              <a:gd name="connsiteX374" fmla="*/ 988616 w 5381200"/>
              <a:gd name="connsiteY374" fmla="*/ 3528239 h 5330772"/>
              <a:gd name="connsiteX375" fmla="*/ 1115433 w 5381200"/>
              <a:gd name="connsiteY375" fmla="*/ 3655000 h 5330772"/>
              <a:gd name="connsiteX376" fmla="*/ 3821729 w 5381200"/>
              <a:gd name="connsiteY376" fmla="*/ 4132102 h 5330772"/>
              <a:gd name="connsiteX377" fmla="*/ 3694912 w 5381200"/>
              <a:gd name="connsiteY377" fmla="*/ 4258863 h 5330772"/>
              <a:gd name="connsiteX378" fmla="*/ 3568095 w 5381200"/>
              <a:gd name="connsiteY378" fmla="*/ 4132102 h 5330772"/>
              <a:gd name="connsiteX379" fmla="*/ 3694912 w 5381200"/>
              <a:gd name="connsiteY379" fmla="*/ 4005341 h 5330772"/>
              <a:gd name="connsiteX380" fmla="*/ 3821729 w 5381200"/>
              <a:gd name="connsiteY380" fmla="*/ 4132102 h 5330772"/>
              <a:gd name="connsiteX381" fmla="*/ 4126932 w 5381200"/>
              <a:gd name="connsiteY381" fmla="*/ 3918473 h 5330772"/>
              <a:gd name="connsiteX382" fmla="*/ 4000115 w 5381200"/>
              <a:gd name="connsiteY382" fmla="*/ 4045234 h 5330772"/>
              <a:gd name="connsiteX383" fmla="*/ 3873299 w 5381200"/>
              <a:gd name="connsiteY383" fmla="*/ 3918473 h 5330772"/>
              <a:gd name="connsiteX384" fmla="*/ 4000115 w 5381200"/>
              <a:gd name="connsiteY384" fmla="*/ 3791712 h 5330772"/>
              <a:gd name="connsiteX385" fmla="*/ 4126932 w 5381200"/>
              <a:gd name="connsiteY385" fmla="*/ 3918473 h 5330772"/>
              <a:gd name="connsiteX386" fmla="*/ 4390432 w 5381200"/>
              <a:gd name="connsiteY386" fmla="*/ 3655090 h 5330772"/>
              <a:gd name="connsiteX387" fmla="*/ 4263526 w 5381200"/>
              <a:gd name="connsiteY387" fmla="*/ 3781851 h 5330772"/>
              <a:gd name="connsiteX388" fmla="*/ 4136708 w 5381200"/>
              <a:gd name="connsiteY388" fmla="*/ 3655090 h 5330772"/>
              <a:gd name="connsiteX389" fmla="*/ 4263526 w 5381200"/>
              <a:gd name="connsiteY389" fmla="*/ 3528329 h 5330772"/>
              <a:gd name="connsiteX390" fmla="*/ 4390432 w 5381200"/>
              <a:gd name="connsiteY390" fmla="*/ 3655090 h 5330772"/>
              <a:gd name="connsiteX391" fmla="*/ 4604155 w 5381200"/>
              <a:gd name="connsiteY391" fmla="*/ 3350021 h 5330772"/>
              <a:gd name="connsiteX392" fmla="*/ 4477338 w 5381200"/>
              <a:gd name="connsiteY392" fmla="*/ 3476782 h 5330772"/>
              <a:gd name="connsiteX393" fmla="*/ 4350521 w 5381200"/>
              <a:gd name="connsiteY393" fmla="*/ 3350021 h 5330772"/>
              <a:gd name="connsiteX394" fmla="*/ 4477338 w 5381200"/>
              <a:gd name="connsiteY394" fmla="*/ 3223350 h 5330772"/>
              <a:gd name="connsiteX395" fmla="*/ 4604155 w 5381200"/>
              <a:gd name="connsiteY395" fmla="*/ 3350021 h 5330772"/>
              <a:gd name="connsiteX396" fmla="*/ 4761555 w 5381200"/>
              <a:gd name="connsiteY396" fmla="*/ 3012500 h 5330772"/>
              <a:gd name="connsiteX397" fmla="*/ 4634828 w 5381200"/>
              <a:gd name="connsiteY397" fmla="*/ 3139261 h 5330772"/>
              <a:gd name="connsiteX398" fmla="*/ 4508011 w 5381200"/>
              <a:gd name="connsiteY398" fmla="*/ 3012500 h 5330772"/>
              <a:gd name="connsiteX399" fmla="*/ 4634828 w 5381200"/>
              <a:gd name="connsiteY399" fmla="*/ 2885739 h 5330772"/>
              <a:gd name="connsiteX400" fmla="*/ 4761555 w 5381200"/>
              <a:gd name="connsiteY400" fmla="*/ 3012500 h 5330772"/>
              <a:gd name="connsiteX401" fmla="*/ 4857969 w 5381200"/>
              <a:gd name="connsiteY401" fmla="*/ 2652926 h 5330772"/>
              <a:gd name="connsiteX402" fmla="*/ 4731241 w 5381200"/>
              <a:gd name="connsiteY402" fmla="*/ 2779686 h 5330772"/>
              <a:gd name="connsiteX403" fmla="*/ 4604335 w 5381200"/>
              <a:gd name="connsiteY403" fmla="*/ 2652926 h 5330772"/>
              <a:gd name="connsiteX404" fmla="*/ 4731241 w 5381200"/>
              <a:gd name="connsiteY404" fmla="*/ 2526165 h 5330772"/>
              <a:gd name="connsiteX405" fmla="*/ 4857969 w 5381200"/>
              <a:gd name="connsiteY405" fmla="*/ 2652926 h 5330772"/>
              <a:gd name="connsiteX406" fmla="*/ 4890525 w 5381200"/>
              <a:gd name="connsiteY406" fmla="*/ 2282145 h 5330772"/>
              <a:gd name="connsiteX407" fmla="*/ 4763708 w 5381200"/>
              <a:gd name="connsiteY407" fmla="*/ 2408906 h 5330772"/>
              <a:gd name="connsiteX408" fmla="*/ 4636802 w 5381200"/>
              <a:gd name="connsiteY408" fmla="*/ 2282145 h 5330772"/>
              <a:gd name="connsiteX409" fmla="*/ 4763708 w 5381200"/>
              <a:gd name="connsiteY409" fmla="*/ 2155384 h 5330772"/>
              <a:gd name="connsiteX410" fmla="*/ 4890525 w 5381200"/>
              <a:gd name="connsiteY410" fmla="*/ 2282145 h 5330772"/>
              <a:gd name="connsiteX411" fmla="*/ 4857969 w 5381200"/>
              <a:gd name="connsiteY411" fmla="*/ 1911006 h 5330772"/>
              <a:gd name="connsiteX412" fmla="*/ 4731241 w 5381200"/>
              <a:gd name="connsiteY412" fmla="*/ 2037767 h 5330772"/>
              <a:gd name="connsiteX413" fmla="*/ 4604335 w 5381200"/>
              <a:gd name="connsiteY413" fmla="*/ 1911006 h 5330772"/>
              <a:gd name="connsiteX414" fmla="*/ 4731241 w 5381200"/>
              <a:gd name="connsiteY414" fmla="*/ 1784245 h 5330772"/>
              <a:gd name="connsiteX415" fmla="*/ 4857969 w 5381200"/>
              <a:gd name="connsiteY415" fmla="*/ 1911006 h 5330772"/>
              <a:gd name="connsiteX416" fmla="*/ 4761645 w 5381200"/>
              <a:gd name="connsiteY416" fmla="*/ 1551253 h 5330772"/>
              <a:gd name="connsiteX417" fmla="*/ 4634828 w 5381200"/>
              <a:gd name="connsiteY417" fmla="*/ 1678014 h 5330772"/>
              <a:gd name="connsiteX418" fmla="*/ 4508011 w 5381200"/>
              <a:gd name="connsiteY418" fmla="*/ 1551253 h 5330772"/>
              <a:gd name="connsiteX419" fmla="*/ 4634828 w 5381200"/>
              <a:gd name="connsiteY419" fmla="*/ 1424492 h 5330772"/>
              <a:gd name="connsiteX420" fmla="*/ 4761645 w 5381200"/>
              <a:gd name="connsiteY420" fmla="*/ 1551253 h 5330772"/>
              <a:gd name="connsiteX421" fmla="*/ 4604155 w 5381200"/>
              <a:gd name="connsiteY421" fmla="*/ 1213732 h 5330772"/>
              <a:gd name="connsiteX422" fmla="*/ 4477338 w 5381200"/>
              <a:gd name="connsiteY422" fmla="*/ 1340493 h 5330772"/>
              <a:gd name="connsiteX423" fmla="*/ 4350432 w 5381200"/>
              <a:gd name="connsiteY423" fmla="*/ 1213732 h 5330772"/>
              <a:gd name="connsiteX424" fmla="*/ 4477338 w 5381200"/>
              <a:gd name="connsiteY424" fmla="*/ 1086971 h 5330772"/>
              <a:gd name="connsiteX425" fmla="*/ 4604155 w 5381200"/>
              <a:gd name="connsiteY425" fmla="*/ 1213732 h 5330772"/>
              <a:gd name="connsiteX426" fmla="*/ 4390432 w 5381200"/>
              <a:gd name="connsiteY426" fmla="*/ 908663 h 5330772"/>
              <a:gd name="connsiteX427" fmla="*/ 4263615 w 5381200"/>
              <a:gd name="connsiteY427" fmla="*/ 1035424 h 5330772"/>
              <a:gd name="connsiteX428" fmla="*/ 4136798 w 5381200"/>
              <a:gd name="connsiteY428" fmla="*/ 908663 h 5330772"/>
              <a:gd name="connsiteX429" fmla="*/ 4263615 w 5381200"/>
              <a:gd name="connsiteY429" fmla="*/ 781902 h 5330772"/>
              <a:gd name="connsiteX430" fmla="*/ 4390432 w 5381200"/>
              <a:gd name="connsiteY430" fmla="*/ 908663 h 5330772"/>
              <a:gd name="connsiteX431" fmla="*/ 4127022 w 5381200"/>
              <a:gd name="connsiteY431" fmla="*/ 645369 h 5330772"/>
              <a:gd name="connsiteX432" fmla="*/ 4000205 w 5381200"/>
              <a:gd name="connsiteY432" fmla="*/ 772130 h 5330772"/>
              <a:gd name="connsiteX433" fmla="*/ 3873299 w 5381200"/>
              <a:gd name="connsiteY433" fmla="*/ 645369 h 5330772"/>
              <a:gd name="connsiteX434" fmla="*/ 4000205 w 5381200"/>
              <a:gd name="connsiteY434" fmla="*/ 518608 h 5330772"/>
              <a:gd name="connsiteX435" fmla="*/ 4127022 w 5381200"/>
              <a:gd name="connsiteY435" fmla="*/ 645369 h 5330772"/>
              <a:gd name="connsiteX436" fmla="*/ 3821729 w 5381200"/>
              <a:gd name="connsiteY436" fmla="*/ 431740 h 5330772"/>
              <a:gd name="connsiteX437" fmla="*/ 3694912 w 5381200"/>
              <a:gd name="connsiteY437" fmla="*/ 558501 h 5330772"/>
              <a:gd name="connsiteX438" fmla="*/ 3568095 w 5381200"/>
              <a:gd name="connsiteY438" fmla="*/ 431740 h 5330772"/>
              <a:gd name="connsiteX439" fmla="*/ 3694912 w 5381200"/>
              <a:gd name="connsiteY439" fmla="*/ 304979 h 5330772"/>
              <a:gd name="connsiteX440" fmla="*/ 3821729 w 5381200"/>
              <a:gd name="connsiteY440" fmla="*/ 431740 h 5330772"/>
              <a:gd name="connsiteX441" fmla="*/ 901710 w 5381200"/>
              <a:gd name="connsiteY441" fmla="*/ 3349932 h 5330772"/>
              <a:gd name="connsiteX442" fmla="*/ 774983 w 5381200"/>
              <a:gd name="connsiteY442" fmla="*/ 3476692 h 5330772"/>
              <a:gd name="connsiteX443" fmla="*/ 648076 w 5381200"/>
              <a:gd name="connsiteY443" fmla="*/ 3349932 h 5330772"/>
              <a:gd name="connsiteX444" fmla="*/ 774983 w 5381200"/>
              <a:gd name="connsiteY444" fmla="*/ 3223170 h 5330772"/>
              <a:gd name="connsiteX445" fmla="*/ 901710 w 5381200"/>
              <a:gd name="connsiteY445" fmla="*/ 3349932 h 5330772"/>
              <a:gd name="connsiteX446" fmla="*/ 744310 w 5381200"/>
              <a:gd name="connsiteY446" fmla="*/ 3012321 h 5330772"/>
              <a:gd name="connsiteX447" fmla="*/ 617493 w 5381200"/>
              <a:gd name="connsiteY447" fmla="*/ 3139171 h 5330772"/>
              <a:gd name="connsiteX448" fmla="*/ 490676 w 5381200"/>
              <a:gd name="connsiteY448" fmla="*/ 3012321 h 5330772"/>
              <a:gd name="connsiteX449" fmla="*/ 617493 w 5381200"/>
              <a:gd name="connsiteY449" fmla="*/ 2885560 h 5330772"/>
              <a:gd name="connsiteX450" fmla="*/ 744310 w 5381200"/>
              <a:gd name="connsiteY450" fmla="*/ 3012321 h 5330772"/>
              <a:gd name="connsiteX451" fmla="*/ 647807 w 5381200"/>
              <a:gd name="connsiteY451" fmla="*/ 2652836 h 5330772"/>
              <a:gd name="connsiteX452" fmla="*/ 520990 w 5381200"/>
              <a:gd name="connsiteY452" fmla="*/ 2779686 h 5330772"/>
              <a:gd name="connsiteX453" fmla="*/ 394083 w 5381200"/>
              <a:gd name="connsiteY453" fmla="*/ 2652836 h 5330772"/>
              <a:gd name="connsiteX454" fmla="*/ 520990 w 5381200"/>
              <a:gd name="connsiteY454" fmla="*/ 2526075 h 5330772"/>
              <a:gd name="connsiteX455" fmla="*/ 647807 w 5381200"/>
              <a:gd name="connsiteY455" fmla="*/ 2652836 h 5330772"/>
              <a:gd name="connsiteX456" fmla="*/ 615340 w 5381200"/>
              <a:gd name="connsiteY456" fmla="*/ 2282145 h 5330772"/>
              <a:gd name="connsiteX457" fmla="*/ 488613 w 5381200"/>
              <a:gd name="connsiteY457" fmla="*/ 2408906 h 5330772"/>
              <a:gd name="connsiteX458" fmla="*/ 361796 w 5381200"/>
              <a:gd name="connsiteY458" fmla="*/ 2282145 h 5330772"/>
              <a:gd name="connsiteX459" fmla="*/ 488613 w 5381200"/>
              <a:gd name="connsiteY459" fmla="*/ 2155384 h 5330772"/>
              <a:gd name="connsiteX460" fmla="*/ 615340 w 5381200"/>
              <a:gd name="connsiteY460" fmla="*/ 2282145 h 5330772"/>
              <a:gd name="connsiteX461" fmla="*/ 647807 w 5381200"/>
              <a:gd name="connsiteY461" fmla="*/ 1911096 h 5330772"/>
              <a:gd name="connsiteX462" fmla="*/ 520990 w 5381200"/>
              <a:gd name="connsiteY462" fmla="*/ 2037857 h 5330772"/>
              <a:gd name="connsiteX463" fmla="*/ 394083 w 5381200"/>
              <a:gd name="connsiteY463" fmla="*/ 1911096 h 5330772"/>
              <a:gd name="connsiteX464" fmla="*/ 520990 w 5381200"/>
              <a:gd name="connsiteY464" fmla="*/ 1784335 h 5330772"/>
              <a:gd name="connsiteX465" fmla="*/ 647807 w 5381200"/>
              <a:gd name="connsiteY465" fmla="*/ 1911096 h 5330772"/>
              <a:gd name="connsiteX466" fmla="*/ 744310 w 5381200"/>
              <a:gd name="connsiteY466" fmla="*/ 1551343 h 5330772"/>
              <a:gd name="connsiteX467" fmla="*/ 617493 w 5381200"/>
              <a:gd name="connsiteY467" fmla="*/ 1678103 h 5330772"/>
              <a:gd name="connsiteX468" fmla="*/ 490676 w 5381200"/>
              <a:gd name="connsiteY468" fmla="*/ 1551343 h 5330772"/>
              <a:gd name="connsiteX469" fmla="*/ 617493 w 5381200"/>
              <a:gd name="connsiteY469" fmla="*/ 1424581 h 5330772"/>
              <a:gd name="connsiteX470" fmla="*/ 744310 w 5381200"/>
              <a:gd name="connsiteY470" fmla="*/ 1551343 h 5330772"/>
              <a:gd name="connsiteX471" fmla="*/ 4471060 w 5381200"/>
              <a:gd name="connsiteY471" fmla="*/ 5013422 h 5330772"/>
              <a:gd name="connsiteX472" fmla="*/ 4397158 w 5381200"/>
              <a:gd name="connsiteY472" fmla="*/ 5087292 h 5330772"/>
              <a:gd name="connsiteX473" fmla="*/ 4323257 w 5381200"/>
              <a:gd name="connsiteY473" fmla="*/ 5013422 h 5330772"/>
              <a:gd name="connsiteX474" fmla="*/ 4397158 w 5381200"/>
              <a:gd name="connsiteY474" fmla="*/ 4939553 h 5330772"/>
              <a:gd name="connsiteX475" fmla="*/ 4471060 w 5381200"/>
              <a:gd name="connsiteY475" fmla="*/ 5013422 h 5330772"/>
              <a:gd name="connsiteX476" fmla="*/ 4176170 w 5381200"/>
              <a:gd name="connsiteY476" fmla="*/ 5013422 h 5330772"/>
              <a:gd name="connsiteX477" fmla="*/ 4102269 w 5381200"/>
              <a:gd name="connsiteY477" fmla="*/ 5087292 h 5330772"/>
              <a:gd name="connsiteX478" fmla="*/ 4028277 w 5381200"/>
              <a:gd name="connsiteY478" fmla="*/ 5013422 h 5330772"/>
              <a:gd name="connsiteX479" fmla="*/ 4102269 w 5381200"/>
              <a:gd name="connsiteY479" fmla="*/ 4939553 h 5330772"/>
              <a:gd name="connsiteX480" fmla="*/ 4176170 w 5381200"/>
              <a:gd name="connsiteY480" fmla="*/ 5013422 h 5330772"/>
              <a:gd name="connsiteX481" fmla="*/ 4359759 w 5381200"/>
              <a:gd name="connsiteY481" fmla="*/ 5256904 h 5330772"/>
              <a:gd name="connsiteX482" fmla="*/ 4285858 w 5381200"/>
              <a:gd name="connsiteY482" fmla="*/ 5330773 h 5330772"/>
              <a:gd name="connsiteX483" fmla="*/ 4211866 w 5381200"/>
              <a:gd name="connsiteY483" fmla="*/ 5256904 h 5330772"/>
              <a:gd name="connsiteX484" fmla="*/ 4285858 w 5381200"/>
              <a:gd name="connsiteY484" fmla="*/ 5183035 h 5330772"/>
              <a:gd name="connsiteX485" fmla="*/ 4359759 w 5381200"/>
              <a:gd name="connsiteY485" fmla="*/ 5256904 h 5330772"/>
              <a:gd name="connsiteX486" fmla="*/ 4535007 w 5381200"/>
              <a:gd name="connsiteY486" fmla="*/ 4475092 h 5330772"/>
              <a:gd name="connsiteX487" fmla="*/ 4461105 w 5381200"/>
              <a:gd name="connsiteY487" fmla="*/ 4548961 h 5330772"/>
              <a:gd name="connsiteX488" fmla="*/ 4387203 w 5381200"/>
              <a:gd name="connsiteY488" fmla="*/ 4475092 h 5330772"/>
              <a:gd name="connsiteX489" fmla="*/ 4461105 w 5381200"/>
              <a:gd name="connsiteY489" fmla="*/ 4401222 h 5330772"/>
              <a:gd name="connsiteX490" fmla="*/ 4535007 w 5381200"/>
              <a:gd name="connsiteY490" fmla="*/ 4475092 h 5330772"/>
              <a:gd name="connsiteX491" fmla="*/ 4894381 w 5381200"/>
              <a:gd name="connsiteY491" fmla="*/ 4115966 h 5330772"/>
              <a:gd name="connsiteX492" fmla="*/ 4820480 w 5381200"/>
              <a:gd name="connsiteY492" fmla="*/ 4189925 h 5330772"/>
              <a:gd name="connsiteX493" fmla="*/ 4746488 w 5381200"/>
              <a:gd name="connsiteY493" fmla="*/ 4115966 h 5330772"/>
              <a:gd name="connsiteX494" fmla="*/ 4820480 w 5381200"/>
              <a:gd name="connsiteY494" fmla="*/ 4042096 h 5330772"/>
              <a:gd name="connsiteX495" fmla="*/ 4894381 w 5381200"/>
              <a:gd name="connsiteY495" fmla="*/ 4115966 h 5330772"/>
              <a:gd name="connsiteX496" fmla="*/ 5185773 w 5381200"/>
              <a:gd name="connsiteY496" fmla="*/ 3699913 h 5330772"/>
              <a:gd name="connsiteX497" fmla="*/ 5111872 w 5381200"/>
              <a:gd name="connsiteY497" fmla="*/ 3773783 h 5330772"/>
              <a:gd name="connsiteX498" fmla="*/ 5037970 w 5381200"/>
              <a:gd name="connsiteY498" fmla="*/ 3699913 h 5330772"/>
              <a:gd name="connsiteX499" fmla="*/ 5111872 w 5381200"/>
              <a:gd name="connsiteY499" fmla="*/ 3626044 h 5330772"/>
              <a:gd name="connsiteX500" fmla="*/ 5185773 w 5381200"/>
              <a:gd name="connsiteY500" fmla="*/ 3699913 h 5330772"/>
              <a:gd name="connsiteX501" fmla="*/ 5381201 w 5381200"/>
              <a:gd name="connsiteY501" fmla="*/ 3258940 h 5330772"/>
              <a:gd name="connsiteX502" fmla="*/ 5307299 w 5381200"/>
              <a:gd name="connsiteY502" fmla="*/ 3332809 h 5330772"/>
              <a:gd name="connsiteX503" fmla="*/ 5233397 w 5381200"/>
              <a:gd name="connsiteY503" fmla="*/ 3258940 h 5330772"/>
              <a:gd name="connsiteX504" fmla="*/ 5307299 w 5381200"/>
              <a:gd name="connsiteY504" fmla="*/ 3185070 h 5330772"/>
              <a:gd name="connsiteX505" fmla="*/ 5381201 w 5381200"/>
              <a:gd name="connsiteY505" fmla="*/ 3258940 h 5330772"/>
              <a:gd name="connsiteX506" fmla="*/ 790767 w 5381200"/>
              <a:gd name="connsiteY506" fmla="*/ 3904668 h 5330772"/>
              <a:gd name="connsiteX507" fmla="*/ 690857 w 5381200"/>
              <a:gd name="connsiteY507" fmla="*/ 4004534 h 5330772"/>
              <a:gd name="connsiteX508" fmla="*/ 590946 w 5381200"/>
              <a:gd name="connsiteY508" fmla="*/ 3904668 h 5330772"/>
              <a:gd name="connsiteX509" fmla="*/ 690857 w 5381200"/>
              <a:gd name="connsiteY509" fmla="*/ 3804890 h 5330772"/>
              <a:gd name="connsiteX510" fmla="*/ 790767 w 5381200"/>
              <a:gd name="connsiteY510" fmla="*/ 3904668 h 5330772"/>
              <a:gd name="connsiteX511" fmla="*/ 538210 w 5381200"/>
              <a:gd name="connsiteY511" fmla="*/ 3544197 h 5330772"/>
              <a:gd name="connsiteX512" fmla="*/ 438299 w 5381200"/>
              <a:gd name="connsiteY512" fmla="*/ 3644064 h 5330772"/>
              <a:gd name="connsiteX513" fmla="*/ 338478 w 5381200"/>
              <a:gd name="connsiteY513" fmla="*/ 3544197 h 5330772"/>
              <a:gd name="connsiteX514" fmla="*/ 438299 w 5381200"/>
              <a:gd name="connsiteY514" fmla="*/ 3444419 h 5330772"/>
              <a:gd name="connsiteX515" fmla="*/ 538210 w 5381200"/>
              <a:gd name="connsiteY515" fmla="*/ 3544197 h 5330772"/>
              <a:gd name="connsiteX516" fmla="*/ 352110 w 5381200"/>
              <a:gd name="connsiteY516" fmla="*/ 3145267 h 5330772"/>
              <a:gd name="connsiteX517" fmla="*/ 252199 w 5381200"/>
              <a:gd name="connsiteY517" fmla="*/ 3245134 h 5330772"/>
              <a:gd name="connsiteX518" fmla="*/ 152288 w 5381200"/>
              <a:gd name="connsiteY518" fmla="*/ 3145267 h 5330772"/>
              <a:gd name="connsiteX519" fmla="*/ 252199 w 5381200"/>
              <a:gd name="connsiteY519" fmla="*/ 3045490 h 5330772"/>
              <a:gd name="connsiteX520" fmla="*/ 352110 w 5381200"/>
              <a:gd name="connsiteY520" fmla="*/ 3145267 h 5330772"/>
              <a:gd name="connsiteX521" fmla="*/ 238118 w 5381200"/>
              <a:gd name="connsiteY521" fmla="*/ 2720430 h 5330772"/>
              <a:gd name="connsiteX522" fmla="*/ 138297 w 5381200"/>
              <a:gd name="connsiteY522" fmla="*/ 2820207 h 5330772"/>
              <a:gd name="connsiteX523" fmla="*/ 38386 w 5381200"/>
              <a:gd name="connsiteY523" fmla="*/ 2720430 h 5330772"/>
              <a:gd name="connsiteX524" fmla="*/ 138297 w 5381200"/>
              <a:gd name="connsiteY524" fmla="*/ 2620563 h 5330772"/>
              <a:gd name="connsiteX525" fmla="*/ 238118 w 5381200"/>
              <a:gd name="connsiteY525" fmla="*/ 2720430 h 5330772"/>
              <a:gd name="connsiteX526" fmla="*/ 199732 w 5381200"/>
              <a:gd name="connsiteY526" fmla="*/ 2282145 h 5330772"/>
              <a:gd name="connsiteX527" fmla="*/ 99911 w 5381200"/>
              <a:gd name="connsiteY527" fmla="*/ 2382012 h 5330772"/>
              <a:gd name="connsiteX528" fmla="*/ 0 w 5381200"/>
              <a:gd name="connsiteY528" fmla="*/ 2282145 h 5330772"/>
              <a:gd name="connsiteX529" fmla="*/ 99911 w 5381200"/>
              <a:gd name="connsiteY529" fmla="*/ 2182368 h 5330772"/>
              <a:gd name="connsiteX530" fmla="*/ 199732 w 5381200"/>
              <a:gd name="connsiteY530" fmla="*/ 2282145 h 5330772"/>
              <a:gd name="connsiteX531" fmla="*/ 238118 w 5381200"/>
              <a:gd name="connsiteY531" fmla="*/ 1843592 h 5330772"/>
              <a:gd name="connsiteX532" fmla="*/ 138297 w 5381200"/>
              <a:gd name="connsiteY532" fmla="*/ 1943369 h 5330772"/>
              <a:gd name="connsiteX533" fmla="*/ 38386 w 5381200"/>
              <a:gd name="connsiteY533" fmla="*/ 1843592 h 5330772"/>
              <a:gd name="connsiteX534" fmla="*/ 138297 w 5381200"/>
              <a:gd name="connsiteY534" fmla="*/ 1743725 h 5330772"/>
              <a:gd name="connsiteX535" fmla="*/ 238118 w 5381200"/>
              <a:gd name="connsiteY535" fmla="*/ 1843592 h 5330772"/>
              <a:gd name="connsiteX536" fmla="*/ 4349535 w 5381200"/>
              <a:gd name="connsiteY536" fmla="*/ 351506 h 5330772"/>
              <a:gd name="connsiteX537" fmla="*/ 4249714 w 5381200"/>
              <a:gd name="connsiteY537" fmla="*/ 451373 h 5330772"/>
              <a:gd name="connsiteX538" fmla="*/ 4149802 w 5381200"/>
              <a:gd name="connsiteY538" fmla="*/ 351506 h 5330772"/>
              <a:gd name="connsiteX539" fmla="*/ 4249714 w 5381200"/>
              <a:gd name="connsiteY539" fmla="*/ 251729 h 5330772"/>
              <a:gd name="connsiteX540" fmla="*/ 4349535 w 5381200"/>
              <a:gd name="connsiteY540" fmla="*/ 351506 h 5330772"/>
              <a:gd name="connsiteX541" fmla="*/ 5250348 w 5381200"/>
              <a:gd name="connsiteY541" fmla="*/ 2281966 h 5330772"/>
              <a:gd name="connsiteX542" fmla="*/ 5150527 w 5381200"/>
              <a:gd name="connsiteY542" fmla="*/ 2381833 h 5330772"/>
              <a:gd name="connsiteX543" fmla="*/ 5050615 w 5381200"/>
              <a:gd name="connsiteY543" fmla="*/ 2281966 h 5330772"/>
              <a:gd name="connsiteX544" fmla="*/ 5150527 w 5381200"/>
              <a:gd name="connsiteY544" fmla="*/ 2182189 h 5330772"/>
              <a:gd name="connsiteX545" fmla="*/ 5250348 w 5381200"/>
              <a:gd name="connsiteY545" fmla="*/ 2281966 h 5330772"/>
              <a:gd name="connsiteX546" fmla="*/ 5213935 w 5381200"/>
              <a:gd name="connsiteY546" fmla="*/ 2720430 h 5330772"/>
              <a:gd name="connsiteX547" fmla="*/ 5114114 w 5381200"/>
              <a:gd name="connsiteY547" fmla="*/ 2820297 h 5330772"/>
              <a:gd name="connsiteX548" fmla="*/ 5014203 w 5381200"/>
              <a:gd name="connsiteY548" fmla="*/ 2720430 h 5330772"/>
              <a:gd name="connsiteX549" fmla="*/ 5114114 w 5381200"/>
              <a:gd name="connsiteY549" fmla="*/ 2620563 h 5330772"/>
              <a:gd name="connsiteX550" fmla="*/ 5213935 w 5381200"/>
              <a:gd name="connsiteY550" fmla="*/ 2720430 h 5330772"/>
              <a:gd name="connsiteX551" fmla="*/ 5099854 w 5381200"/>
              <a:gd name="connsiteY551" fmla="*/ 3145357 h 5330772"/>
              <a:gd name="connsiteX552" fmla="*/ 5000033 w 5381200"/>
              <a:gd name="connsiteY552" fmla="*/ 3245224 h 5330772"/>
              <a:gd name="connsiteX553" fmla="*/ 4900122 w 5381200"/>
              <a:gd name="connsiteY553" fmla="*/ 3145357 h 5330772"/>
              <a:gd name="connsiteX554" fmla="*/ 5000033 w 5381200"/>
              <a:gd name="connsiteY554" fmla="*/ 3045580 h 5330772"/>
              <a:gd name="connsiteX555" fmla="*/ 5099854 w 5381200"/>
              <a:gd name="connsiteY555" fmla="*/ 3145357 h 5330772"/>
              <a:gd name="connsiteX556" fmla="*/ 4913843 w 5381200"/>
              <a:gd name="connsiteY556" fmla="*/ 3544286 h 5330772"/>
              <a:gd name="connsiteX557" fmla="*/ 4813933 w 5381200"/>
              <a:gd name="connsiteY557" fmla="*/ 3644153 h 5330772"/>
              <a:gd name="connsiteX558" fmla="*/ 4714022 w 5381200"/>
              <a:gd name="connsiteY558" fmla="*/ 3544286 h 5330772"/>
              <a:gd name="connsiteX559" fmla="*/ 4813933 w 5381200"/>
              <a:gd name="connsiteY559" fmla="*/ 3444509 h 5330772"/>
              <a:gd name="connsiteX560" fmla="*/ 4913843 w 5381200"/>
              <a:gd name="connsiteY560" fmla="*/ 3544286 h 5330772"/>
              <a:gd name="connsiteX561" fmla="*/ 4661196 w 5381200"/>
              <a:gd name="connsiteY561" fmla="*/ 3904757 h 5330772"/>
              <a:gd name="connsiteX562" fmla="*/ 4561285 w 5381200"/>
              <a:gd name="connsiteY562" fmla="*/ 4004624 h 5330772"/>
              <a:gd name="connsiteX563" fmla="*/ 4461374 w 5381200"/>
              <a:gd name="connsiteY563" fmla="*/ 3904757 h 5330772"/>
              <a:gd name="connsiteX564" fmla="*/ 4561285 w 5381200"/>
              <a:gd name="connsiteY564" fmla="*/ 3804980 h 5330772"/>
              <a:gd name="connsiteX565" fmla="*/ 4661196 w 5381200"/>
              <a:gd name="connsiteY565" fmla="*/ 3904757 h 5330772"/>
              <a:gd name="connsiteX566" fmla="*/ 4349804 w 5381200"/>
              <a:gd name="connsiteY566" fmla="*/ 4216102 h 5330772"/>
              <a:gd name="connsiteX567" fmla="*/ 4249893 w 5381200"/>
              <a:gd name="connsiteY567" fmla="*/ 4315968 h 5330772"/>
              <a:gd name="connsiteX568" fmla="*/ 4149982 w 5381200"/>
              <a:gd name="connsiteY568" fmla="*/ 4216102 h 5330772"/>
              <a:gd name="connsiteX569" fmla="*/ 4249893 w 5381200"/>
              <a:gd name="connsiteY569" fmla="*/ 4116234 h 5330772"/>
              <a:gd name="connsiteX570" fmla="*/ 4349804 w 5381200"/>
              <a:gd name="connsiteY570" fmla="*/ 4216102 h 5330772"/>
              <a:gd name="connsiteX571" fmla="*/ 3989084 w 5381200"/>
              <a:gd name="connsiteY571" fmla="*/ 4468547 h 5330772"/>
              <a:gd name="connsiteX572" fmla="*/ 3889263 w 5381200"/>
              <a:gd name="connsiteY572" fmla="*/ 4568414 h 5330772"/>
              <a:gd name="connsiteX573" fmla="*/ 3789442 w 5381200"/>
              <a:gd name="connsiteY573" fmla="*/ 4468547 h 5330772"/>
              <a:gd name="connsiteX574" fmla="*/ 3889263 w 5381200"/>
              <a:gd name="connsiteY574" fmla="*/ 4368770 h 5330772"/>
              <a:gd name="connsiteX575" fmla="*/ 3989084 w 5381200"/>
              <a:gd name="connsiteY575" fmla="*/ 4468547 h 5330772"/>
              <a:gd name="connsiteX576" fmla="*/ 3991595 w 5381200"/>
              <a:gd name="connsiteY576" fmla="*/ 99777 h 5330772"/>
              <a:gd name="connsiteX577" fmla="*/ 3891684 w 5381200"/>
              <a:gd name="connsiteY577" fmla="*/ 199644 h 5330772"/>
              <a:gd name="connsiteX578" fmla="*/ 3791773 w 5381200"/>
              <a:gd name="connsiteY578" fmla="*/ 99777 h 5330772"/>
              <a:gd name="connsiteX579" fmla="*/ 3891684 w 5381200"/>
              <a:gd name="connsiteY579" fmla="*/ 0 h 5330772"/>
              <a:gd name="connsiteX580" fmla="*/ 3991595 w 5381200"/>
              <a:gd name="connsiteY580" fmla="*/ 99777 h 533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Lst>
            <a:rect l="l" t="t" r="r" b="b"/>
            <a:pathLst>
              <a:path w="5381200" h="5330772">
                <a:moveTo>
                  <a:pt x="2797238" y="2292455"/>
                </a:moveTo>
                <a:lnTo>
                  <a:pt x="2797238" y="2290393"/>
                </a:lnTo>
                <a:cubicBezTo>
                  <a:pt x="2797238" y="2185416"/>
                  <a:pt x="2726116" y="2116477"/>
                  <a:pt x="2641721" y="2116477"/>
                </a:cubicBezTo>
                <a:cubicBezTo>
                  <a:pt x="2557236" y="2116477"/>
                  <a:pt x="2483155" y="2186492"/>
                  <a:pt x="2483155" y="2290393"/>
                </a:cubicBezTo>
                <a:lnTo>
                  <a:pt x="2483155" y="2292455"/>
                </a:lnTo>
                <a:cubicBezTo>
                  <a:pt x="2483155" y="2396445"/>
                  <a:pt x="2557236" y="2466370"/>
                  <a:pt x="2641721" y="2466370"/>
                </a:cubicBezTo>
                <a:cubicBezTo>
                  <a:pt x="2727193" y="2466370"/>
                  <a:pt x="2797238" y="2399493"/>
                  <a:pt x="2797238" y="2292455"/>
                </a:cubicBezTo>
                <a:moveTo>
                  <a:pt x="3472309" y="1857218"/>
                </a:moveTo>
                <a:lnTo>
                  <a:pt x="3472309" y="1856949"/>
                </a:lnTo>
                <a:cubicBezTo>
                  <a:pt x="3472309" y="1845295"/>
                  <a:pt x="3463700" y="1838661"/>
                  <a:pt x="3449350" y="1838661"/>
                </a:cubicBezTo>
                <a:lnTo>
                  <a:pt x="3421278" y="1838661"/>
                </a:lnTo>
                <a:lnTo>
                  <a:pt x="3421278" y="1875686"/>
                </a:lnTo>
                <a:lnTo>
                  <a:pt x="3449529" y="1875686"/>
                </a:lnTo>
                <a:cubicBezTo>
                  <a:pt x="3463251" y="1875686"/>
                  <a:pt x="3472309" y="1868424"/>
                  <a:pt x="3472309" y="1857218"/>
                </a:cubicBezTo>
                <a:moveTo>
                  <a:pt x="3490606" y="1856322"/>
                </a:moveTo>
                <a:cubicBezTo>
                  <a:pt x="3490606" y="1873624"/>
                  <a:pt x="3480561" y="1883933"/>
                  <a:pt x="3465673" y="1888236"/>
                </a:cubicBezTo>
                <a:lnTo>
                  <a:pt x="3487108" y="1915130"/>
                </a:lnTo>
                <a:cubicBezTo>
                  <a:pt x="3488902" y="1917371"/>
                  <a:pt x="3490067" y="1919254"/>
                  <a:pt x="3490067" y="1922033"/>
                </a:cubicBezTo>
                <a:cubicBezTo>
                  <a:pt x="3490067" y="1927053"/>
                  <a:pt x="3485762" y="1930549"/>
                  <a:pt x="3481368" y="1930549"/>
                </a:cubicBezTo>
                <a:cubicBezTo>
                  <a:pt x="3477242" y="1930549"/>
                  <a:pt x="3474552" y="1928487"/>
                  <a:pt x="3472489" y="1925708"/>
                </a:cubicBezTo>
                <a:lnTo>
                  <a:pt x="3445852" y="1891732"/>
                </a:lnTo>
                <a:lnTo>
                  <a:pt x="3421278" y="1891732"/>
                </a:lnTo>
                <a:lnTo>
                  <a:pt x="3421278" y="1921406"/>
                </a:lnTo>
                <a:cubicBezTo>
                  <a:pt x="3421278" y="1926426"/>
                  <a:pt x="3417152" y="1930549"/>
                  <a:pt x="3412130" y="1930549"/>
                </a:cubicBezTo>
                <a:cubicBezTo>
                  <a:pt x="3407107" y="1930549"/>
                  <a:pt x="3403161" y="1926426"/>
                  <a:pt x="3403161" y="1921406"/>
                </a:cubicBezTo>
                <a:lnTo>
                  <a:pt x="3403161" y="1831310"/>
                </a:lnTo>
                <a:cubicBezTo>
                  <a:pt x="3403161" y="1826200"/>
                  <a:pt x="3407107" y="1822166"/>
                  <a:pt x="3412130" y="1822166"/>
                </a:cubicBezTo>
                <a:lnTo>
                  <a:pt x="3450874" y="1822166"/>
                </a:lnTo>
                <a:cubicBezTo>
                  <a:pt x="3464327" y="1822166"/>
                  <a:pt x="3475000" y="1826111"/>
                  <a:pt x="3481906" y="1832924"/>
                </a:cubicBezTo>
                <a:cubicBezTo>
                  <a:pt x="3487466" y="1838571"/>
                  <a:pt x="3490606" y="1846640"/>
                  <a:pt x="3490606" y="1855963"/>
                </a:cubicBezTo>
                <a:lnTo>
                  <a:pt x="3490606" y="1856322"/>
                </a:lnTo>
                <a:close/>
                <a:moveTo>
                  <a:pt x="3533297" y="1877837"/>
                </a:moveTo>
                <a:lnTo>
                  <a:pt x="3533297" y="1877299"/>
                </a:lnTo>
                <a:cubicBezTo>
                  <a:pt x="3533297" y="1827366"/>
                  <a:pt x="3494552" y="1786845"/>
                  <a:pt x="3443161" y="1786845"/>
                </a:cubicBezTo>
                <a:cubicBezTo>
                  <a:pt x="3391502" y="1786845"/>
                  <a:pt x="3352398" y="1827903"/>
                  <a:pt x="3352398" y="1877837"/>
                </a:cubicBezTo>
                <a:lnTo>
                  <a:pt x="3352398" y="1878375"/>
                </a:lnTo>
                <a:cubicBezTo>
                  <a:pt x="3352398" y="1928308"/>
                  <a:pt x="3391233" y="1968829"/>
                  <a:pt x="3442533" y="1968829"/>
                </a:cubicBezTo>
                <a:cubicBezTo>
                  <a:pt x="3494193" y="1968829"/>
                  <a:pt x="3533297" y="1927770"/>
                  <a:pt x="3533297" y="1877837"/>
                </a:cubicBezTo>
                <a:moveTo>
                  <a:pt x="3543879" y="1877299"/>
                </a:moveTo>
                <a:lnTo>
                  <a:pt x="3543879" y="1877837"/>
                </a:lnTo>
                <a:cubicBezTo>
                  <a:pt x="3543879" y="1932791"/>
                  <a:pt x="3499215" y="1978869"/>
                  <a:pt x="3442533" y="1978869"/>
                </a:cubicBezTo>
                <a:cubicBezTo>
                  <a:pt x="3385852" y="1978869"/>
                  <a:pt x="3341726" y="1933418"/>
                  <a:pt x="3341726" y="1878465"/>
                </a:cubicBezTo>
                <a:lnTo>
                  <a:pt x="3341726" y="1877927"/>
                </a:lnTo>
                <a:cubicBezTo>
                  <a:pt x="3341726" y="1822973"/>
                  <a:pt x="3386390" y="1776895"/>
                  <a:pt x="3443071" y="1776895"/>
                </a:cubicBezTo>
                <a:cubicBezTo>
                  <a:pt x="3499843" y="1776805"/>
                  <a:pt x="3543879" y="1822345"/>
                  <a:pt x="3543879" y="1877299"/>
                </a:cubicBezTo>
                <a:moveTo>
                  <a:pt x="3285313" y="2008363"/>
                </a:moveTo>
                <a:cubicBezTo>
                  <a:pt x="3407825" y="2008363"/>
                  <a:pt x="3478946" y="2090659"/>
                  <a:pt x="3478946" y="2216255"/>
                </a:cubicBezTo>
                <a:lnTo>
                  <a:pt x="3478946" y="2506532"/>
                </a:lnTo>
                <a:cubicBezTo>
                  <a:pt x="3478946" y="2541494"/>
                  <a:pt x="3452130" y="2568299"/>
                  <a:pt x="3417152" y="2568299"/>
                </a:cubicBezTo>
                <a:cubicBezTo>
                  <a:pt x="3382085" y="2568299"/>
                  <a:pt x="3354371" y="2541494"/>
                  <a:pt x="3354371" y="2506532"/>
                </a:cubicBezTo>
                <a:lnTo>
                  <a:pt x="3354371" y="2254355"/>
                </a:lnTo>
                <a:cubicBezTo>
                  <a:pt x="3354371" y="2169997"/>
                  <a:pt x="3312129" y="2121587"/>
                  <a:pt x="3237958" y="2121587"/>
                </a:cubicBezTo>
                <a:cubicBezTo>
                  <a:pt x="3165850" y="2121587"/>
                  <a:pt x="3115446" y="2171969"/>
                  <a:pt x="3115446" y="2256327"/>
                </a:cubicBezTo>
                <a:lnTo>
                  <a:pt x="3115446" y="2506442"/>
                </a:lnTo>
                <a:cubicBezTo>
                  <a:pt x="3115446" y="2541405"/>
                  <a:pt x="3087643" y="2568209"/>
                  <a:pt x="3052665" y="2568209"/>
                </a:cubicBezTo>
                <a:cubicBezTo>
                  <a:pt x="3018674" y="2568209"/>
                  <a:pt x="2990871" y="2541405"/>
                  <a:pt x="2990871" y="2506442"/>
                </a:cubicBezTo>
                <a:lnTo>
                  <a:pt x="2990871" y="2076226"/>
                </a:lnTo>
                <a:cubicBezTo>
                  <a:pt x="2990871" y="2041174"/>
                  <a:pt x="3017688" y="2013383"/>
                  <a:pt x="3052665" y="2013383"/>
                </a:cubicBezTo>
                <a:cubicBezTo>
                  <a:pt x="3087643" y="2013383"/>
                  <a:pt x="3115446" y="2041174"/>
                  <a:pt x="3115446" y="2076226"/>
                </a:cubicBezTo>
                <a:lnTo>
                  <a:pt x="3115446" y="2102941"/>
                </a:lnTo>
                <a:cubicBezTo>
                  <a:pt x="3150424" y="2052649"/>
                  <a:pt x="3200917" y="2008363"/>
                  <a:pt x="3285313" y="2008363"/>
                </a:cubicBezTo>
                <a:moveTo>
                  <a:pt x="2923875" y="2292455"/>
                </a:moveTo>
                <a:cubicBezTo>
                  <a:pt x="2923875" y="2472556"/>
                  <a:pt x="2800287" y="2574484"/>
                  <a:pt x="2671677" y="2574484"/>
                </a:cubicBezTo>
                <a:cubicBezTo>
                  <a:pt x="2581093" y="2574484"/>
                  <a:pt x="2524411" y="2529213"/>
                  <a:pt x="2486294" y="2478741"/>
                </a:cubicBezTo>
                <a:lnTo>
                  <a:pt x="2486294" y="2506532"/>
                </a:lnTo>
                <a:cubicBezTo>
                  <a:pt x="2486294" y="2540508"/>
                  <a:pt x="2458491" y="2568299"/>
                  <a:pt x="2423424" y="2568299"/>
                </a:cubicBezTo>
                <a:cubicBezTo>
                  <a:pt x="2389433" y="2568299"/>
                  <a:pt x="2361630" y="2540508"/>
                  <a:pt x="2361630" y="2506532"/>
                </a:cubicBezTo>
                <a:lnTo>
                  <a:pt x="2361630" y="1868424"/>
                </a:lnTo>
                <a:cubicBezTo>
                  <a:pt x="2361630" y="1833462"/>
                  <a:pt x="2388446" y="1806747"/>
                  <a:pt x="2423424" y="1806747"/>
                </a:cubicBezTo>
                <a:cubicBezTo>
                  <a:pt x="2458402" y="1806747"/>
                  <a:pt x="2486294" y="1833462"/>
                  <a:pt x="2486294" y="1868424"/>
                </a:cubicBezTo>
                <a:lnTo>
                  <a:pt x="2486294" y="2110292"/>
                </a:lnTo>
                <a:cubicBezTo>
                  <a:pt x="2526474" y="2053724"/>
                  <a:pt x="2583066" y="2008453"/>
                  <a:pt x="2671677" y="2008453"/>
                </a:cubicBezTo>
                <a:cubicBezTo>
                  <a:pt x="2799390" y="2008453"/>
                  <a:pt x="2923875" y="2109306"/>
                  <a:pt x="2923875" y="2290482"/>
                </a:cubicBezTo>
                <a:lnTo>
                  <a:pt x="2923875" y="2292455"/>
                </a:lnTo>
                <a:close/>
                <a:moveTo>
                  <a:pt x="2273109" y="2506532"/>
                </a:moveTo>
                <a:cubicBezTo>
                  <a:pt x="2273109" y="2541494"/>
                  <a:pt x="2246293" y="2568299"/>
                  <a:pt x="2211315" y="2568299"/>
                </a:cubicBezTo>
                <a:cubicBezTo>
                  <a:pt x="2176247" y="2568299"/>
                  <a:pt x="2148534" y="2541494"/>
                  <a:pt x="2148534" y="2506532"/>
                </a:cubicBezTo>
                <a:lnTo>
                  <a:pt x="2148534" y="2254355"/>
                </a:lnTo>
                <a:cubicBezTo>
                  <a:pt x="2148534" y="2169997"/>
                  <a:pt x="2106292" y="2121587"/>
                  <a:pt x="2032210" y="2121587"/>
                </a:cubicBezTo>
                <a:cubicBezTo>
                  <a:pt x="1960192" y="2121587"/>
                  <a:pt x="1909699" y="2171969"/>
                  <a:pt x="1909699" y="2256327"/>
                </a:cubicBezTo>
                <a:lnTo>
                  <a:pt x="1909699" y="2506442"/>
                </a:lnTo>
                <a:cubicBezTo>
                  <a:pt x="1909699" y="2541405"/>
                  <a:pt x="1881896" y="2568209"/>
                  <a:pt x="1846828" y="2568209"/>
                </a:cubicBezTo>
                <a:cubicBezTo>
                  <a:pt x="1812837" y="2568209"/>
                  <a:pt x="1785034" y="2541405"/>
                  <a:pt x="1785034" y="2506442"/>
                </a:cubicBezTo>
                <a:lnTo>
                  <a:pt x="1785034" y="2076226"/>
                </a:lnTo>
                <a:cubicBezTo>
                  <a:pt x="1785034" y="2041174"/>
                  <a:pt x="1811850" y="2013383"/>
                  <a:pt x="1846828" y="2013383"/>
                </a:cubicBezTo>
                <a:cubicBezTo>
                  <a:pt x="1881896" y="2013383"/>
                  <a:pt x="1909699" y="2041174"/>
                  <a:pt x="1909699" y="2076226"/>
                </a:cubicBezTo>
                <a:lnTo>
                  <a:pt x="1909699" y="2102941"/>
                </a:lnTo>
                <a:cubicBezTo>
                  <a:pt x="1944676" y="2052559"/>
                  <a:pt x="1995170" y="2008274"/>
                  <a:pt x="2079565" y="2008274"/>
                </a:cubicBezTo>
                <a:cubicBezTo>
                  <a:pt x="2202077" y="2008274"/>
                  <a:pt x="2273199" y="2090570"/>
                  <a:pt x="2273199" y="2216165"/>
                </a:cubicBezTo>
                <a:lnTo>
                  <a:pt x="2273199" y="2506532"/>
                </a:lnTo>
                <a:close/>
                <a:moveTo>
                  <a:pt x="3700652" y="2281966"/>
                </a:moveTo>
                <a:cubicBezTo>
                  <a:pt x="3700652" y="1688861"/>
                  <a:pt x="3219572" y="1207994"/>
                  <a:pt x="2626116" y="1207994"/>
                </a:cubicBezTo>
                <a:cubicBezTo>
                  <a:pt x="2032659" y="1207994"/>
                  <a:pt x="1551669" y="1688861"/>
                  <a:pt x="1551669" y="2281966"/>
                </a:cubicBezTo>
                <a:cubicBezTo>
                  <a:pt x="1551669" y="2875161"/>
                  <a:pt x="2032748" y="3356027"/>
                  <a:pt x="2626116" y="3356027"/>
                </a:cubicBezTo>
                <a:cubicBezTo>
                  <a:pt x="3219483" y="3356027"/>
                  <a:pt x="3700652" y="2875161"/>
                  <a:pt x="3700652" y="2281966"/>
                </a:cubicBezTo>
                <a:moveTo>
                  <a:pt x="4064869" y="2408010"/>
                </a:moveTo>
                <a:cubicBezTo>
                  <a:pt x="4109085" y="2383357"/>
                  <a:pt x="4139489" y="2336651"/>
                  <a:pt x="4139399" y="2282414"/>
                </a:cubicBezTo>
                <a:cubicBezTo>
                  <a:pt x="4139578" y="2227909"/>
                  <a:pt x="4109085" y="2181203"/>
                  <a:pt x="4064869" y="2156460"/>
                </a:cubicBezTo>
                <a:cubicBezTo>
                  <a:pt x="4104242" y="2124456"/>
                  <a:pt x="4125946" y="2073088"/>
                  <a:pt x="4116439" y="2019659"/>
                </a:cubicBezTo>
                <a:cubicBezTo>
                  <a:pt x="4106932" y="1966139"/>
                  <a:pt x="4069084" y="1925260"/>
                  <a:pt x="4021102" y="1908586"/>
                </a:cubicBezTo>
                <a:cubicBezTo>
                  <a:pt x="4054376" y="1870217"/>
                  <a:pt x="4066753" y="1815981"/>
                  <a:pt x="4048188" y="1764971"/>
                </a:cubicBezTo>
                <a:cubicBezTo>
                  <a:pt x="4029623" y="1713873"/>
                  <a:pt x="3985138" y="1680165"/>
                  <a:pt x="3935003" y="1672097"/>
                </a:cubicBezTo>
                <a:cubicBezTo>
                  <a:pt x="3961012" y="1628618"/>
                  <a:pt x="3963882" y="1572947"/>
                  <a:pt x="3936618" y="1525883"/>
                </a:cubicBezTo>
                <a:cubicBezTo>
                  <a:pt x="3909532" y="1478908"/>
                  <a:pt x="3859936" y="1453538"/>
                  <a:pt x="3809173" y="1454165"/>
                </a:cubicBezTo>
                <a:cubicBezTo>
                  <a:pt x="3827110" y="1406831"/>
                  <a:pt x="3820383" y="1351519"/>
                  <a:pt x="3785406" y="1310013"/>
                </a:cubicBezTo>
                <a:cubicBezTo>
                  <a:pt x="3750518" y="1268327"/>
                  <a:pt x="3697154" y="1251921"/>
                  <a:pt x="3647288" y="1261424"/>
                </a:cubicBezTo>
                <a:cubicBezTo>
                  <a:pt x="3656885" y="1211670"/>
                  <a:pt x="3640562" y="1158419"/>
                  <a:pt x="3598947" y="1123547"/>
                </a:cubicBezTo>
                <a:cubicBezTo>
                  <a:pt x="3557153" y="1088584"/>
                  <a:pt x="3501906" y="1081681"/>
                  <a:pt x="3454462" y="1099701"/>
                </a:cubicBezTo>
                <a:cubicBezTo>
                  <a:pt x="3455179" y="1048960"/>
                  <a:pt x="3429888" y="999385"/>
                  <a:pt x="3382713" y="972312"/>
                </a:cubicBezTo>
                <a:cubicBezTo>
                  <a:pt x="3335717" y="945059"/>
                  <a:pt x="3279932" y="947838"/>
                  <a:pt x="3236254" y="973746"/>
                </a:cubicBezTo>
                <a:cubicBezTo>
                  <a:pt x="3228272" y="923723"/>
                  <a:pt x="3194819" y="879348"/>
                  <a:pt x="3143608" y="860881"/>
                </a:cubicBezTo>
                <a:cubicBezTo>
                  <a:pt x="3092576" y="842144"/>
                  <a:pt x="3038136" y="854605"/>
                  <a:pt x="2999750" y="887775"/>
                </a:cubicBezTo>
                <a:cubicBezTo>
                  <a:pt x="2983158" y="839903"/>
                  <a:pt x="2942441" y="801983"/>
                  <a:pt x="2888898" y="792659"/>
                </a:cubicBezTo>
                <a:cubicBezTo>
                  <a:pt x="2835265" y="783157"/>
                  <a:pt x="2783785" y="804851"/>
                  <a:pt x="2751767" y="844206"/>
                </a:cubicBezTo>
                <a:cubicBezTo>
                  <a:pt x="2727013" y="800010"/>
                  <a:pt x="2680376" y="769799"/>
                  <a:pt x="2625936" y="769799"/>
                </a:cubicBezTo>
                <a:cubicBezTo>
                  <a:pt x="2571586" y="769799"/>
                  <a:pt x="2524860" y="800010"/>
                  <a:pt x="2500016" y="844386"/>
                </a:cubicBezTo>
                <a:cubicBezTo>
                  <a:pt x="2467998" y="805031"/>
                  <a:pt x="2416608" y="783336"/>
                  <a:pt x="2363154" y="792659"/>
                </a:cubicBezTo>
                <a:cubicBezTo>
                  <a:pt x="2309611" y="802162"/>
                  <a:pt x="2268804" y="840083"/>
                  <a:pt x="2252212" y="887954"/>
                </a:cubicBezTo>
                <a:cubicBezTo>
                  <a:pt x="2213736" y="854785"/>
                  <a:pt x="2159386" y="842324"/>
                  <a:pt x="2108355" y="860881"/>
                </a:cubicBezTo>
                <a:cubicBezTo>
                  <a:pt x="2057233" y="879438"/>
                  <a:pt x="2023690" y="923903"/>
                  <a:pt x="2015619" y="974015"/>
                </a:cubicBezTo>
                <a:cubicBezTo>
                  <a:pt x="1972120" y="948107"/>
                  <a:pt x="1916335" y="945149"/>
                  <a:pt x="1869340" y="972312"/>
                </a:cubicBezTo>
                <a:cubicBezTo>
                  <a:pt x="1822344" y="999385"/>
                  <a:pt x="1796962" y="1049050"/>
                  <a:pt x="1797680" y="1099790"/>
                </a:cubicBezTo>
                <a:cubicBezTo>
                  <a:pt x="1750235" y="1081771"/>
                  <a:pt x="1694989" y="1088674"/>
                  <a:pt x="1653284" y="1123547"/>
                </a:cubicBezTo>
                <a:cubicBezTo>
                  <a:pt x="1611670" y="1158419"/>
                  <a:pt x="1595436" y="1211670"/>
                  <a:pt x="1604853" y="1261603"/>
                </a:cubicBezTo>
                <a:cubicBezTo>
                  <a:pt x="1555077" y="1252011"/>
                  <a:pt x="1501803" y="1268327"/>
                  <a:pt x="1466826" y="1309923"/>
                </a:cubicBezTo>
                <a:cubicBezTo>
                  <a:pt x="1431937" y="1351519"/>
                  <a:pt x="1425032" y="1406831"/>
                  <a:pt x="1443148" y="1454255"/>
                </a:cubicBezTo>
                <a:cubicBezTo>
                  <a:pt x="1392386" y="1453538"/>
                  <a:pt x="1342789" y="1478908"/>
                  <a:pt x="1315524" y="1525883"/>
                </a:cubicBezTo>
                <a:cubicBezTo>
                  <a:pt x="1288439" y="1573037"/>
                  <a:pt x="1291219" y="1628618"/>
                  <a:pt x="1317318" y="1672187"/>
                </a:cubicBezTo>
                <a:cubicBezTo>
                  <a:pt x="1267183" y="1680255"/>
                  <a:pt x="1222698" y="1713873"/>
                  <a:pt x="1204133" y="1764971"/>
                </a:cubicBezTo>
                <a:cubicBezTo>
                  <a:pt x="1185568" y="1815891"/>
                  <a:pt x="1198124" y="1870217"/>
                  <a:pt x="1231129" y="1908586"/>
                </a:cubicBezTo>
                <a:cubicBezTo>
                  <a:pt x="1183236" y="1925260"/>
                  <a:pt x="1145209" y="1966050"/>
                  <a:pt x="1135702" y="2019659"/>
                </a:cubicBezTo>
                <a:cubicBezTo>
                  <a:pt x="1126375" y="2073088"/>
                  <a:pt x="1148169" y="2124456"/>
                  <a:pt x="1187452" y="2156460"/>
                </a:cubicBezTo>
                <a:cubicBezTo>
                  <a:pt x="1143146" y="2181113"/>
                  <a:pt x="1112832" y="2227909"/>
                  <a:pt x="1112832" y="2282324"/>
                </a:cubicBezTo>
                <a:cubicBezTo>
                  <a:pt x="1112832" y="2336561"/>
                  <a:pt x="1143146" y="2383267"/>
                  <a:pt x="1187452" y="2408010"/>
                </a:cubicBezTo>
                <a:cubicBezTo>
                  <a:pt x="1148079" y="2440014"/>
                  <a:pt x="1126285" y="2491382"/>
                  <a:pt x="1135702" y="2544811"/>
                </a:cubicBezTo>
                <a:cubicBezTo>
                  <a:pt x="1145209" y="2598241"/>
                  <a:pt x="1183236" y="2638851"/>
                  <a:pt x="1231129" y="2655525"/>
                </a:cubicBezTo>
                <a:cubicBezTo>
                  <a:pt x="1197945" y="2693894"/>
                  <a:pt x="1185479" y="2748041"/>
                  <a:pt x="1204133" y="2799050"/>
                </a:cubicBezTo>
                <a:cubicBezTo>
                  <a:pt x="1222698" y="2850059"/>
                  <a:pt x="1267183" y="2883587"/>
                  <a:pt x="1317228" y="2891656"/>
                </a:cubicBezTo>
                <a:cubicBezTo>
                  <a:pt x="1291219" y="2935224"/>
                  <a:pt x="1288260" y="2990895"/>
                  <a:pt x="1315524" y="3037960"/>
                </a:cubicBezTo>
                <a:cubicBezTo>
                  <a:pt x="1342699" y="3084935"/>
                  <a:pt x="1392386" y="3110305"/>
                  <a:pt x="1443148" y="3109588"/>
                </a:cubicBezTo>
                <a:cubicBezTo>
                  <a:pt x="1425032" y="3157011"/>
                  <a:pt x="1431937" y="3212323"/>
                  <a:pt x="1466915" y="3253919"/>
                </a:cubicBezTo>
                <a:cubicBezTo>
                  <a:pt x="1501803" y="3295516"/>
                  <a:pt x="1555077" y="3311921"/>
                  <a:pt x="1604943" y="3302329"/>
                </a:cubicBezTo>
                <a:cubicBezTo>
                  <a:pt x="1595347" y="3352262"/>
                  <a:pt x="1611759" y="3405423"/>
                  <a:pt x="1653374" y="3440385"/>
                </a:cubicBezTo>
                <a:cubicBezTo>
                  <a:pt x="1695078" y="3475348"/>
                  <a:pt x="1750325" y="3482250"/>
                  <a:pt x="1797770" y="3464052"/>
                </a:cubicBezTo>
                <a:cubicBezTo>
                  <a:pt x="1796962" y="3514792"/>
                  <a:pt x="1822344" y="3564457"/>
                  <a:pt x="1869429" y="3591530"/>
                </a:cubicBezTo>
                <a:cubicBezTo>
                  <a:pt x="1916515" y="3618783"/>
                  <a:pt x="1972210" y="3615914"/>
                  <a:pt x="2015619" y="3590006"/>
                </a:cubicBezTo>
                <a:cubicBezTo>
                  <a:pt x="2023780" y="3640119"/>
                  <a:pt x="2057502" y="3684494"/>
                  <a:pt x="2108444" y="3703051"/>
                </a:cubicBezTo>
                <a:cubicBezTo>
                  <a:pt x="2159476" y="3721608"/>
                  <a:pt x="2213826" y="3709058"/>
                  <a:pt x="2252212" y="3675978"/>
                </a:cubicBezTo>
                <a:cubicBezTo>
                  <a:pt x="2268894" y="3723939"/>
                  <a:pt x="2309701" y="3761860"/>
                  <a:pt x="2363334" y="3771273"/>
                </a:cubicBezTo>
                <a:cubicBezTo>
                  <a:pt x="2416697" y="3780775"/>
                  <a:pt x="2468088" y="3759081"/>
                  <a:pt x="2500106" y="3719815"/>
                </a:cubicBezTo>
                <a:cubicBezTo>
                  <a:pt x="2524770" y="3764101"/>
                  <a:pt x="2571676" y="3794491"/>
                  <a:pt x="2626026" y="3794491"/>
                </a:cubicBezTo>
                <a:cubicBezTo>
                  <a:pt x="2680466" y="3794491"/>
                  <a:pt x="2727282" y="3764191"/>
                  <a:pt x="2751856" y="3719815"/>
                </a:cubicBezTo>
                <a:cubicBezTo>
                  <a:pt x="2783964" y="3759170"/>
                  <a:pt x="2835355" y="3780954"/>
                  <a:pt x="2888898" y="3771542"/>
                </a:cubicBezTo>
                <a:cubicBezTo>
                  <a:pt x="2942351" y="3762039"/>
                  <a:pt x="2983248" y="3724029"/>
                  <a:pt x="2999930" y="3676157"/>
                </a:cubicBezTo>
                <a:cubicBezTo>
                  <a:pt x="3038316" y="3709327"/>
                  <a:pt x="3092576" y="3721787"/>
                  <a:pt x="3143608" y="3703230"/>
                </a:cubicBezTo>
                <a:cubicBezTo>
                  <a:pt x="3194729" y="3684584"/>
                  <a:pt x="3228451" y="3640029"/>
                  <a:pt x="3236434" y="3590096"/>
                </a:cubicBezTo>
                <a:cubicBezTo>
                  <a:pt x="3280021" y="3616004"/>
                  <a:pt x="3335717" y="3618962"/>
                  <a:pt x="3382713" y="3591709"/>
                </a:cubicBezTo>
                <a:cubicBezTo>
                  <a:pt x="3429888" y="3564457"/>
                  <a:pt x="3455179" y="3514972"/>
                  <a:pt x="3454552" y="3464232"/>
                </a:cubicBezTo>
                <a:cubicBezTo>
                  <a:pt x="3501996" y="3482250"/>
                  <a:pt x="3557243" y="3475348"/>
                  <a:pt x="3598857" y="3440475"/>
                </a:cubicBezTo>
                <a:cubicBezTo>
                  <a:pt x="3640472" y="3405602"/>
                  <a:pt x="3656974" y="3352352"/>
                  <a:pt x="3647288" y="3302418"/>
                </a:cubicBezTo>
                <a:cubicBezTo>
                  <a:pt x="3697154" y="3312011"/>
                  <a:pt x="3750428" y="3295695"/>
                  <a:pt x="3785406" y="3254009"/>
                </a:cubicBezTo>
                <a:cubicBezTo>
                  <a:pt x="3820294" y="3212323"/>
                  <a:pt x="3827110" y="3157011"/>
                  <a:pt x="3809173" y="3109677"/>
                </a:cubicBezTo>
                <a:cubicBezTo>
                  <a:pt x="3859936" y="3110484"/>
                  <a:pt x="3909532" y="3085114"/>
                  <a:pt x="3936618" y="3038049"/>
                </a:cubicBezTo>
                <a:cubicBezTo>
                  <a:pt x="3963882" y="2991074"/>
                  <a:pt x="3961102" y="2935314"/>
                  <a:pt x="3935092" y="2891745"/>
                </a:cubicBezTo>
                <a:cubicBezTo>
                  <a:pt x="3985228" y="2883677"/>
                  <a:pt x="4029623" y="2850149"/>
                  <a:pt x="4048188" y="2799140"/>
                </a:cubicBezTo>
                <a:cubicBezTo>
                  <a:pt x="4066753" y="2748131"/>
                  <a:pt x="4054286" y="2693894"/>
                  <a:pt x="4021102" y="2655525"/>
                </a:cubicBezTo>
                <a:cubicBezTo>
                  <a:pt x="4068995" y="2638940"/>
                  <a:pt x="4106843" y="2598241"/>
                  <a:pt x="4116439" y="2544811"/>
                </a:cubicBezTo>
                <a:cubicBezTo>
                  <a:pt x="4125766" y="2491471"/>
                  <a:pt x="4104152" y="2440014"/>
                  <a:pt x="4064869" y="2408010"/>
                </a:cubicBezTo>
                <a:moveTo>
                  <a:pt x="3814913" y="2491740"/>
                </a:moveTo>
                <a:cubicBezTo>
                  <a:pt x="3807379" y="2535488"/>
                  <a:pt x="3820652" y="2577622"/>
                  <a:pt x="3847021" y="2609178"/>
                </a:cubicBezTo>
                <a:cubicBezTo>
                  <a:pt x="3808455" y="2623252"/>
                  <a:pt x="3775720" y="2653105"/>
                  <a:pt x="3760563" y="2694612"/>
                </a:cubicBezTo>
                <a:cubicBezTo>
                  <a:pt x="3745405" y="2736297"/>
                  <a:pt x="3751145" y="2780135"/>
                  <a:pt x="3771773" y="2815814"/>
                </a:cubicBezTo>
                <a:cubicBezTo>
                  <a:pt x="3731235" y="2822986"/>
                  <a:pt x="3693746" y="2846743"/>
                  <a:pt x="3671593" y="2885112"/>
                </a:cubicBezTo>
                <a:cubicBezTo>
                  <a:pt x="3649530" y="2923570"/>
                  <a:pt x="3647467" y="2967766"/>
                  <a:pt x="3661548" y="3006493"/>
                </a:cubicBezTo>
                <a:cubicBezTo>
                  <a:pt x="3620292" y="3006583"/>
                  <a:pt x="3579485" y="3023437"/>
                  <a:pt x="3550875" y="3057413"/>
                </a:cubicBezTo>
                <a:cubicBezTo>
                  <a:pt x="3522444" y="3091479"/>
                  <a:pt x="3512848" y="3134689"/>
                  <a:pt x="3519933" y="3175120"/>
                </a:cubicBezTo>
                <a:cubicBezTo>
                  <a:pt x="3479395" y="3168038"/>
                  <a:pt x="3436166" y="3177630"/>
                  <a:pt x="3402085" y="3206138"/>
                </a:cubicBezTo>
                <a:cubicBezTo>
                  <a:pt x="3368094" y="3234824"/>
                  <a:pt x="3351143" y="3275614"/>
                  <a:pt x="3351143" y="3316762"/>
                </a:cubicBezTo>
                <a:cubicBezTo>
                  <a:pt x="3312398" y="3302777"/>
                  <a:pt x="3268182" y="3304660"/>
                  <a:pt x="3229617" y="3326892"/>
                </a:cubicBezTo>
                <a:cubicBezTo>
                  <a:pt x="3191231" y="3348945"/>
                  <a:pt x="3167464" y="3386418"/>
                  <a:pt x="3160200" y="3426849"/>
                </a:cubicBezTo>
                <a:cubicBezTo>
                  <a:pt x="3124415" y="3406409"/>
                  <a:pt x="3080648" y="3400582"/>
                  <a:pt x="3038764" y="3415822"/>
                </a:cubicBezTo>
                <a:cubicBezTo>
                  <a:pt x="2997150" y="3430972"/>
                  <a:pt x="2967284" y="3463604"/>
                  <a:pt x="2953024" y="3502242"/>
                </a:cubicBezTo>
                <a:cubicBezTo>
                  <a:pt x="2921364" y="3475886"/>
                  <a:pt x="2879301" y="3462528"/>
                  <a:pt x="2835444" y="3470238"/>
                </a:cubicBezTo>
                <a:cubicBezTo>
                  <a:pt x="2791857" y="3477948"/>
                  <a:pt x="2756699" y="3504842"/>
                  <a:pt x="2735982" y="3540521"/>
                </a:cubicBezTo>
                <a:cubicBezTo>
                  <a:pt x="2709435" y="3509055"/>
                  <a:pt x="2670242" y="3488526"/>
                  <a:pt x="2625757" y="3488526"/>
                </a:cubicBezTo>
                <a:cubicBezTo>
                  <a:pt x="2581452" y="3488526"/>
                  <a:pt x="2542169" y="3508965"/>
                  <a:pt x="2515711" y="3540342"/>
                </a:cubicBezTo>
                <a:cubicBezTo>
                  <a:pt x="2494994" y="3504662"/>
                  <a:pt x="2459926" y="3477768"/>
                  <a:pt x="2416159" y="3470148"/>
                </a:cubicBezTo>
                <a:cubicBezTo>
                  <a:pt x="2372482" y="3462349"/>
                  <a:pt x="2330239" y="3475706"/>
                  <a:pt x="2298580" y="3502062"/>
                </a:cubicBezTo>
                <a:cubicBezTo>
                  <a:pt x="2284499" y="3463424"/>
                  <a:pt x="2254544" y="3430793"/>
                  <a:pt x="2212839" y="3415732"/>
                </a:cubicBezTo>
                <a:cubicBezTo>
                  <a:pt x="2171225" y="3400492"/>
                  <a:pt x="2127368" y="3406230"/>
                  <a:pt x="2091583" y="3426669"/>
                </a:cubicBezTo>
                <a:cubicBezTo>
                  <a:pt x="2084408" y="3386149"/>
                  <a:pt x="2060551" y="3348945"/>
                  <a:pt x="2022076" y="3326802"/>
                </a:cubicBezTo>
                <a:cubicBezTo>
                  <a:pt x="1983690" y="3304570"/>
                  <a:pt x="1939474" y="3302687"/>
                  <a:pt x="1900819" y="3316583"/>
                </a:cubicBezTo>
                <a:cubicBezTo>
                  <a:pt x="1900730" y="3275524"/>
                  <a:pt x="1883869" y="3234556"/>
                  <a:pt x="1849788" y="3206048"/>
                </a:cubicBezTo>
                <a:cubicBezTo>
                  <a:pt x="1815797" y="3177630"/>
                  <a:pt x="1772568" y="3167948"/>
                  <a:pt x="1731940" y="3175030"/>
                </a:cubicBezTo>
                <a:cubicBezTo>
                  <a:pt x="1739114" y="3134420"/>
                  <a:pt x="1729518" y="3091300"/>
                  <a:pt x="1700908" y="3057323"/>
                </a:cubicBezTo>
                <a:cubicBezTo>
                  <a:pt x="1672387" y="3023347"/>
                  <a:pt x="1631580" y="3006493"/>
                  <a:pt x="1590414" y="3006404"/>
                </a:cubicBezTo>
                <a:cubicBezTo>
                  <a:pt x="1604405" y="2967587"/>
                  <a:pt x="1602432" y="2923480"/>
                  <a:pt x="1580279" y="2885022"/>
                </a:cubicBezTo>
                <a:cubicBezTo>
                  <a:pt x="1558127" y="2846563"/>
                  <a:pt x="1520817" y="2822807"/>
                  <a:pt x="1480279" y="2815635"/>
                </a:cubicBezTo>
                <a:cubicBezTo>
                  <a:pt x="1500817" y="2780045"/>
                  <a:pt x="1506467" y="2736297"/>
                  <a:pt x="1491220" y="2694612"/>
                </a:cubicBezTo>
                <a:cubicBezTo>
                  <a:pt x="1476153" y="2653015"/>
                  <a:pt x="1443507" y="2623163"/>
                  <a:pt x="1404852" y="2609088"/>
                </a:cubicBezTo>
                <a:cubicBezTo>
                  <a:pt x="1431310" y="2577532"/>
                  <a:pt x="1444583" y="2535398"/>
                  <a:pt x="1436781" y="2491740"/>
                </a:cubicBezTo>
                <a:cubicBezTo>
                  <a:pt x="1429157" y="2448082"/>
                  <a:pt x="1402162" y="2413030"/>
                  <a:pt x="1366646" y="2392322"/>
                </a:cubicBezTo>
                <a:cubicBezTo>
                  <a:pt x="1398126" y="2365786"/>
                  <a:pt x="1418574" y="2326610"/>
                  <a:pt x="1418484" y="2282235"/>
                </a:cubicBezTo>
                <a:cubicBezTo>
                  <a:pt x="1418484" y="2237860"/>
                  <a:pt x="1398126" y="2198684"/>
                  <a:pt x="1366646" y="2172059"/>
                </a:cubicBezTo>
                <a:cubicBezTo>
                  <a:pt x="1402341" y="2151440"/>
                  <a:pt x="1429247" y="2116388"/>
                  <a:pt x="1436960" y="2072640"/>
                </a:cubicBezTo>
                <a:cubicBezTo>
                  <a:pt x="1444673" y="2028892"/>
                  <a:pt x="1431399" y="1986758"/>
                  <a:pt x="1404942" y="1955202"/>
                </a:cubicBezTo>
                <a:cubicBezTo>
                  <a:pt x="1443686" y="1941038"/>
                  <a:pt x="1476243" y="1911096"/>
                  <a:pt x="1491579" y="1869500"/>
                </a:cubicBezTo>
                <a:cubicBezTo>
                  <a:pt x="1506736" y="1827814"/>
                  <a:pt x="1500907" y="1783887"/>
                  <a:pt x="1480368" y="1748207"/>
                </a:cubicBezTo>
                <a:cubicBezTo>
                  <a:pt x="1520907" y="1741036"/>
                  <a:pt x="1558216" y="1717190"/>
                  <a:pt x="1580369" y="1678821"/>
                </a:cubicBezTo>
                <a:cubicBezTo>
                  <a:pt x="1602522" y="1640362"/>
                  <a:pt x="1604405" y="1596166"/>
                  <a:pt x="1590503" y="1557528"/>
                </a:cubicBezTo>
                <a:cubicBezTo>
                  <a:pt x="1631670" y="1557438"/>
                  <a:pt x="1672567" y="1540495"/>
                  <a:pt x="1701087" y="1506519"/>
                </a:cubicBezTo>
                <a:cubicBezTo>
                  <a:pt x="1729608" y="1472453"/>
                  <a:pt x="1739204" y="1429333"/>
                  <a:pt x="1732029" y="1388812"/>
                </a:cubicBezTo>
                <a:cubicBezTo>
                  <a:pt x="1772568" y="1395894"/>
                  <a:pt x="1815797" y="1386302"/>
                  <a:pt x="1849877" y="1357794"/>
                </a:cubicBezTo>
                <a:cubicBezTo>
                  <a:pt x="1883869" y="1329287"/>
                  <a:pt x="1900730" y="1288408"/>
                  <a:pt x="1900819" y="1247260"/>
                </a:cubicBezTo>
                <a:cubicBezTo>
                  <a:pt x="1939564" y="1261244"/>
                  <a:pt x="1983690" y="1259362"/>
                  <a:pt x="2022165" y="1237130"/>
                </a:cubicBezTo>
                <a:cubicBezTo>
                  <a:pt x="2060641" y="1214987"/>
                  <a:pt x="2084318" y="1177693"/>
                  <a:pt x="2091673" y="1137173"/>
                </a:cubicBezTo>
                <a:cubicBezTo>
                  <a:pt x="2127368" y="1157702"/>
                  <a:pt x="2171225" y="1163440"/>
                  <a:pt x="2212929" y="1148289"/>
                </a:cubicBezTo>
                <a:cubicBezTo>
                  <a:pt x="2254544" y="1133139"/>
                  <a:pt x="2284499" y="1100507"/>
                  <a:pt x="2298490" y="1061959"/>
                </a:cubicBezTo>
                <a:cubicBezTo>
                  <a:pt x="2330150" y="1088315"/>
                  <a:pt x="2372392" y="1101583"/>
                  <a:pt x="2416070" y="1093873"/>
                </a:cubicBezTo>
                <a:cubicBezTo>
                  <a:pt x="2459747" y="1086164"/>
                  <a:pt x="2494904" y="1059270"/>
                  <a:pt x="2515532" y="1023590"/>
                </a:cubicBezTo>
                <a:cubicBezTo>
                  <a:pt x="2542079" y="1055146"/>
                  <a:pt x="2581272" y="1075496"/>
                  <a:pt x="2625667" y="1075496"/>
                </a:cubicBezTo>
                <a:cubicBezTo>
                  <a:pt x="2670062" y="1075496"/>
                  <a:pt x="2709345" y="1055056"/>
                  <a:pt x="2735892" y="1023590"/>
                </a:cubicBezTo>
                <a:cubicBezTo>
                  <a:pt x="2756699" y="1059090"/>
                  <a:pt x="2791767" y="1085895"/>
                  <a:pt x="2835355" y="1093784"/>
                </a:cubicBezTo>
                <a:cubicBezTo>
                  <a:pt x="2879122" y="1101314"/>
                  <a:pt x="2921274" y="1088046"/>
                  <a:pt x="2952934" y="1061690"/>
                </a:cubicBezTo>
                <a:cubicBezTo>
                  <a:pt x="2967104" y="1100328"/>
                  <a:pt x="2996970" y="1132960"/>
                  <a:pt x="3038674" y="1148200"/>
                </a:cubicBezTo>
                <a:cubicBezTo>
                  <a:pt x="3080558" y="1163260"/>
                  <a:pt x="3124325" y="1157523"/>
                  <a:pt x="3160110" y="1136994"/>
                </a:cubicBezTo>
                <a:cubicBezTo>
                  <a:pt x="3167285" y="1177514"/>
                  <a:pt x="3191142" y="1214807"/>
                  <a:pt x="3229528" y="1237040"/>
                </a:cubicBezTo>
                <a:cubicBezTo>
                  <a:pt x="3268093" y="1259093"/>
                  <a:pt x="3312219" y="1261065"/>
                  <a:pt x="3351053" y="1247170"/>
                </a:cubicBezTo>
                <a:cubicBezTo>
                  <a:pt x="3351053" y="1288228"/>
                  <a:pt x="3368004" y="1329107"/>
                  <a:pt x="3401995" y="1357794"/>
                </a:cubicBezTo>
                <a:cubicBezTo>
                  <a:pt x="3435986" y="1386213"/>
                  <a:pt x="3479215" y="1395805"/>
                  <a:pt x="3519844" y="1388812"/>
                </a:cubicBezTo>
                <a:cubicBezTo>
                  <a:pt x="3512758" y="1429243"/>
                  <a:pt x="3522355" y="1472453"/>
                  <a:pt x="3550785" y="1506519"/>
                </a:cubicBezTo>
                <a:cubicBezTo>
                  <a:pt x="3579395" y="1540495"/>
                  <a:pt x="3620382" y="1557349"/>
                  <a:pt x="3661548" y="1557438"/>
                </a:cubicBezTo>
                <a:cubicBezTo>
                  <a:pt x="3647378" y="1596076"/>
                  <a:pt x="3649441" y="1640272"/>
                  <a:pt x="3671503" y="1678821"/>
                </a:cubicBezTo>
                <a:cubicBezTo>
                  <a:pt x="3693746" y="1717190"/>
                  <a:pt x="3731145" y="1740946"/>
                  <a:pt x="3771684" y="1748207"/>
                </a:cubicBezTo>
                <a:cubicBezTo>
                  <a:pt x="3751056" y="1783887"/>
                  <a:pt x="3745316" y="1827635"/>
                  <a:pt x="3760473" y="1869410"/>
                </a:cubicBezTo>
                <a:cubicBezTo>
                  <a:pt x="3775630" y="1911096"/>
                  <a:pt x="3808365" y="1940949"/>
                  <a:pt x="3846931" y="1955202"/>
                </a:cubicBezTo>
                <a:cubicBezTo>
                  <a:pt x="3820563" y="1986758"/>
                  <a:pt x="3807289" y="2028803"/>
                  <a:pt x="3814823" y="2072550"/>
                </a:cubicBezTo>
                <a:cubicBezTo>
                  <a:pt x="3822626" y="2116298"/>
                  <a:pt x="3849621" y="2151350"/>
                  <a:pt x="3885227" y="2171969"/>
                </a:cubicBezTo>
                <a:cubicBezTo>
                  <a:pt x="3853836" y="2198505"/>
                  <a:pt x="3833298" y="2237680"/>
                  <a:pt x="3833209" y="2282056"/>
                </a:cubicBezTo>
                <a:cubicBezTo>
                  <a:pt x="3833298" y="2326431"/>
                  <a:pt x="3853836" y="2365696"/>
                  <a:pt x="3885227" y="2392232"/>
                </a:cubicBezTo>
                <a:cubicBezTo>
                  <a:pt x="3849890" y="2413030"/>
                  <a:pt x="3822895" y="2447992"/>
                  <a:pt x="3814913" y="2491740"/>
                </a:cubicBezTo>
                <a:moveTo>
                  <a:pt x="1648441" y="3620755"/>
                </a:moveTo>
                <a:cubicBezTo>
                  <a:pt x="1648441" y="3701796"/>
                  <a:pt x="1582701" y="3767597"/>
                  <a:pt x="1501624" y="3767597"/>
                </a:cubicBezTo>
                <a:cubicBezTo>
                  <a:pt x="1420547" y="3767597"/>
                  <a:pt x="1354717" y="3701886"/>
                  <a:pt x="1354717" y="3620755"/>
                </a:cubicBezTo>
                <a:cubicBezTo>
                  <a:pt x="1354717" y="3539714"/>
                  <a:pt x="1420547" y="3473913"/>
                  <a:pt x="1501624" y="3473913"/>
                </a:cubicBezTo>
                <a:cubicBezTo>
                  <a:pt x="1582701" y="3473913"/>
                  <a:pt x="1648441" y="3539714"/>
                  <a:pt x="1648441" y="3620755"/>
                </a:cubicBezTo>
                <a:moveTo>
                  <a:pt x="1433373" y="3405871"/>
                </a:moveTo>
                <a:cubicBezTo>
                  <a:pt x="1433373" y="3487002"/>
                  <a:pt x="1367632" y="3552713"/>
                  <a:pt x="1286555" y="3552713"/>
                </a:cubicBezTo>
                <a:cubicBezTo>
                  <a:pt x="1205479" y="3552713"/>
                  <a:pt x="1139738" y="3487002"/>
                  <a:pt x="1139738" y="3405871"/>
                </a:cubicBezTo>
                <a:cubicBezTo>
                  <a:pt x="1139738" y="3324830"/>
                  <a:pt x="1205479" y="3259119"/>
                  <a:pt x="1286555" y="3259119"/>
                </a:cubicBezTo>
                <a:cubicBezTo>
                  <a:pt x="1367632" y="3259119"/>
                  <a:pt x="1433373" y="3324830"/>
                  <a:pt x="1433373" y="3405871"/>
                </a:cubicBezTo>
                <a:moveTo>
                  <a:pt x="1258304" y="3155666"/>
                </a:moveTo>
                <a:cubicBezTo>
                  <a:pt x="1258304" y="3236707"/>
                  <a:pt x="1192564" y="3302418"/>
                  <a:pt x="1111487" y="3302418"/>
                </a:cubicBezTo>
                <a:cubicBezTo>
                  <a:pt x="1030410" y="3302418"/>
                  <a:pt x="964670" y="3236707"/>
                  <a:pt x="964670" y="3155666"/>
                </a:cubicBezTo>
                <a:cubicBezTo>
                  <a:pt x="964670" y="3074625"/>
                  <a:pt x="1030410" y="3008824"/>
                  <a:pt x="1111487" y="3008824"/>
                </a:cubicBezTo>
                <a:cubicBezTo>
                  <a:pt x="1192564" y="3008914"/>
                  <a:pt x="1258304" y="3074625"/>
                  <a:pt x="1258304" y="3155666"/>
                </a:cubicBezTo>
                <a:moveTo>
                  <a:pt x="1129514" y="2879553"/>
                </a:moveTo>
                <a:cubicBezTo>
                  <a:pt x="1129514" y="2960684"/>
                  <a:pt x="1063774" y="3026395"/>
                  <a:pt x="982697" y="3026395"/>
                </a:cubicBezTo>
                <a:cubicBezTo>
                  <a:pt x="901620" y="3026395"/>
                  <a:pt x="835880" y="2960594"/>
                  <a:pt x="835880" y="2879553"/>
                </a:cubicBezTo>
                <a:cubicBezTo>
                  <a:pt x="835880" y="2798512"/>
                  <a:pt x="901620" y="2732891"/>
                  <a:pt x="982697" y="2732891"/>
                </a:cubicBezTo>
                <a:cubicBezTo>
                  <a:pt x="1063774" y="2732891"/>
                  <a:pt x="1129514" y="2798512"/>
                  <a:pt x="1129514" y="2879553"/>
                </a:cubicBezTo>
                <a:moveTo>
                  <a:pt x="1050590" y="2585511"/>
                </a:moveTo>
                <a:cubicBezTo>
                  <a:pt x="1050590" y="2666552"/>
                  <a:pt x="984849" y="2732353"/>
                  <a:pt x="903862" y="2732353"/>
                </a:cubicBezTo>
                <a:cubicBezTo>
                  <a:pt x="822786" y="2732353"/>
                  <a:pt x="756956" y="2666552"/>
                  <a:pt x="756956" y="2585511"/>
                </a:cubicBezTo>
                <a:cubicBezTo>
                  <a:pt x="756956" y="2504470"/>
                  <a:pt x="822786" y="2438759"/>
                  <a:pt x="903862" y="2438759"/>
                </a:cubicBezTo>
                <a:cubicBezTo>
                  <a:pt x="984849" y="2438759"/>
                  <a:pt x="1050590" y="2504470"/>
                  <a:pt x="1050590" y="2585511"/>
                </a:cubicBezTo>
                <a:moveTo>
                  <a:pt x="1024042" y="2282145"/>
                </a:moveTo>
                <a:cubicBezTo>
                  <a:pt x="1024042" y="2363186"/>
                  <a:pt x="958302" y="2428987"/>
                  <a:pt x="877315" y="2428987"/>
                </a:cubicBezTo>
                <a:cubicBezTo>
                  <a:pt x="796149" y="2428987"/>
                  <a:pt x="730408" y="2363276"/>
                  <a:pt x="730408" y="2282145"/>
                </a:cubicBezTo>
                <a:cubicBezTo>
                  <a:pt x="730408" y="2201015"/>
                  <a:pt x="796238" y="2135393"/>
                  <a:pt x="877315" y="2135393"/>
                </a:cubicBezTo>
                <a:cubicBezTo>
                  <a:pt x="958302" y="2135303"/>
                  <a:pt x="1024042" y="2201015"/>
                  <a:pt x="1024042" y="2282145"/>
                </a:cubicBezTo>
                <a:moveTo>
                  <a:pt x="1050590" y="1978511"/>
                </a:moveTo>
                <a:cubicBezTo>
                  <a:pt x="1050590" y="2059641"/>
                  <a:pt x="984849" y="2125353"/>
                  <a:pt x="903862" y="2125353"/>
                </a:cubicBezTo>
                <a:cubicBezTo>
                  <a:pt x="822786" y="2125353"/>
                  <a:pt x="756956" y="2059641"/>
                  <a:pt x="756956" y="1978511"/>
                </a:cubicBezTo>
                <a:cubicBezTo>
                  <a:pt x="756956" y="1897470"/>
                  <a:pt x="822786" y="1831759"/>
                  <a:pt x="903862" y="1831759"/>
                </a:cubicBezTo>
                <a:cubicBezTo>
                  <a:pt x="984849" y="1831759"/>
                  <a:pt x="1050590" y="1897470"/>
                  <a:pt x="1050590" y="1978511"/>
                </a:cubicBezTo>
                <a:moveTo>
                  <a:pt x="1129514" y="1684199"/>
                </a:moveTo>
                <a:cubicBezTo>
                  <a:pt x="1129514" y="1765330"/>
                  <a:pt x="1063774" y="1831041"/>
                  <a:pt x="982697" y="1831041"/>
                </a:cubicBezTo>
                <a:cubicBezTo>
                  <a:pt x="901620" y="1831041"/>
                  <a:pt x="835880" y="1765330"/>
                  <a:pt x="835880" y="1684199"/>
                </a:cubicBezTo>
                <a:cubicBezTo>
                  <a:pt x="835880" y="1603159"/>
                  <a:pt x="901620" y="1537447"/>
                  <a:pt x="982697" y="1537447"/>
                </a:cubicBezTo>
                <a:cubicBezTo>
                  <a:pt x="1063774" y="1537447"/>
                  <a:pt x="1129514" y="1603159"/>
                  <a:pt x="1129514" y="1684199"/>
                </a:cubicBezTo>
                <a:moveTo>
                  <a:pt x="1258304" y="1408086"/>
                </a:moveTo>
                <a:cubicBezTo>
                  <a:pt x="1258304" y="1489217"/>
                  <a:pt x="1192564" y="1554928"/>
                  <a:pt x="1111487" y="1554928"/>
                </a:cubicBezTo>
                <a:cubicBezTo>
                  <a:pt x="1030410" y="1554928"/>
                  <a:pt x="964670" y="1489217"/>
                  <a:pt x="964670" y="1408086"/>
                </a:cubicBezTo>
                <a:cubicBezTo>
                  <a:pt x="964670" y="1327046"/>
                  <a:pt x="1030410" y="1261334"/>
                  <a:pt x="1111487" y="1261334"/>
                </a:cubicBezTo>
                <a:cubicBezTo>
                  <a:pt x="1192564" y="1261334"/>
                  <a:pt x="1258304" y="1327046"/>
                  <a:pt x="1258304" y="1408086"/>
                </a:cubicBezTo>
                <a:moveTo>
                  <a:pt x="1433373" y="1158509"/>
                </a:moveTo>
                <a:cubicBezTo>
                  <a:pt x="1433373" y="1239550"/>
                  <a:pt x="1367632" y="1305261"/>
                  <a:pt x="1286555" y="1305261"/>
                </a:cubicBezTo>
                <a:cubicBezTo>
                  <a:pt x="1205479" y="1305261"/>
                  <a:pt x="1139738" y="1239550"/>
                  <a:pt x="1139738" y="1158509"/>
                </a:cubicBezTo>
                <a:cubicBezTo>
                  <a:pt x="1139738" y="1077378"/>
                  <a:pt x="1205479" y="1011757"/>
                  <a:pt x="1286555" y="1011757"/>
                </a:cubicBezTo>
                <a:cubicBezTo>
                  <a:pt x="1367632" y="1011757"/>
                  <a:pt x="1433373" y="1077378"/>
                  <a:pt x="1433373" y="1158509"/>
                </a:cubicBezTo>
                <a:moveTo>
                  <a:pt x="2772933" y="534117"/>
                </a:moveTo>
                <a:cubicBezTo>
                  <a:pt x="2772933" y="615158"/>
                  <a:pt x="2707192" y="680869"/>
                  <a:pt x="2626116" y="680869"/>
                </a:cubicBezTo>
                <a:cubicBezTo>
                  <a:pt x="2545039" y="680869"/>
                  <a:pt x="2479299" y="615158"/>
                  <a:pt x="2479299" y="534117"/>
                </a:cubicBezTo>
                <a:cubicBezTo>
                  <a:pt x="2479299" y="453076"/>
                  <a:pt x="2545129" y="387275"/>
                  <a:pt x="2626116" y="387275"/>
                </a:cubicBezTo>
                <a:cubicBezTo>
                  <a:pt x="2707192" y="387275"/>
                  <a:pt x="2772933" y="452987"/>
                  <a:pt x="2772933" y="534117"/>
                </a:cubicBezTo>
                <a:moveTo>
                  <a:pt x="3076612" y="560384"/>
                </a:moveTo>
                <a:cubicBezTo>
                  <a:pt x="3076612" y="641425"/>
                  <a:pt x="3010872" y="707136"/>
                  <a:pt x="2929705" y="707136"/>
                </a:cubicBezTo>
                <a:cubicBezTo>
                  <a:pt x="2848628" y="707136"/>
                  <a:pt x="2782798" y="641425"/>
                  <a:pt x="2782798" y="560384"/>
                </a:cubicBezTo>
                <a:cubicBezTo>
                  <a:pt x="2782798" y="479343"/>
                  <a:pt x="2848628" y="413542"/>
                  <a:pt x="2929705" y="413542"/>
                </a:cubicBezTo>
                <a:cubicBezTo>
                  <a:pt x="3010872" y="413632"/>
                  <a:pt x="3076612" y="479343"/>
                  <a:pt x="3076612" y="560384"/>
                </a:cubicBezTo>
                <a:moveTo>
                  <a:pt x="3897514" y="942908"/>
                </a:moveTo>
                <a:cubicBezTo>
                  <a:pt x="3897514" y="1023949"/>
                  <a:pt x="3831774" y="1089750"/>
                  <a:pt x="3750607" y="1089750"/>
                </a:cubicBezTo>
                <a:cubicBezTo>
                  <a:pt x="3669620" y="1089750"/>
                  <a:pt x="3603790" y="1024038"/>
                  <a:pt x="3603790" y="942908"/>
                </a:cubicBezTo>
                <a:cubicBezTo>
                  <a:pt x="3603790" y="861867"/>
                  <a:pt x="3669620" y="796066"/>
                  <a:pt x="3750607" y="796066"/>
                </a:cubicBezTo>
                <a:cubicBezTo>
                  <a:pt x="3831774" y="796156"/>
                  <a:pt x="3897514" y="861867"/>
                  <a:pt x="3897514" y="942908"/>
                </a:cubicBezTo>
                <a:moveTo>
                  <a:pt x="4112672" y="1158509"/>
                </a:moveTo>
                <a:cubicBezTo>
                  <a:pt x="4112672" y="1239550"/>
                  <a:pt x="4046932" y="1305261"/>
                  <a:pt x="3965855" y="1305261"/>
                </a:cubicBezTo>
                <a:cubicBezTo>
                  <a:pt x="3884778" y="1305261"/>
                  <a:pt x="3819128" y="1239550"/>
                  <a:pt x="3819128" y="1158509"/>
                </a:cubicBezTo>
                <a:cubicBezTo>
                  <a:pt x="3819128" y="1077378"/>
                  <a:pt x="3884868" y="1011757"/>
                  <a:pt x="3965855" y="1011757"/>
                </a:cubicBezTo>
                <a:cubicBezTo>
                  <a:pt x="4046932" y="1011757"/>
                  <a:pt x="4112672" y="1077378"/>
                  <a:pt x="4112672" y="1158509"/>
                </a:cubicBezTo>
                <a:moveTo>
                  <a:pt x="4286216" y="1408086"/>
                </a:moveTo>
                <a:cubicBezTo>
                  <a:pt x="4286216" y="1489217"/>
                  <a:pt x="4220386" y="1554928"/>
                  <a:pt x="4139399" y="1554928"/>
                </a:cubicBezTo>
                <a:cubicBezTo>
                  <a:pt x="4058322" y="1554928"/>
                  <a:pt x="3992492" y="1489217"/>
                  <a:pt x="3992492" y="1408086"/>
                </a:cubicBezTo>
                <a:cubicBezTo>
                  <a:pt x="3992492" y="1327046"/>
                  <a:pt x="4058322" y="1261334"/>
                  <a:pt x="4139399" y="1261334"/>
                </a:cubicBezTo>
                <a:cubicBezTo>
                  <a:pt x="4220386" y="1261334"/>
                  <a:pt x="4286216" y="1327046"/>
                  <a:pt x="4286216" y="1408086"/>
                </a:cubicBezTo>
                <a:moveTo>
                  <a:pt x="4416441" y="1684199"/>
                </a:moveTo>
                <a:cubicBezTo>
                  <a:pt x="4416441" y="1765330"/>
                  <a:pt x="4350701" y="1831041"/>
                  <a:pt x="4269624" y="1831041"/>
                </a:cubicBezTo>
                <a:cubicBezTo>
                  <a:pt x="4188547" y="1831041"/>
                  <a:pt x="4122896" y="1765330"/>
                  <a:pt x="4122896" y="1684199"/>
                </a:cubicBezTo>
                <a:cubicBezTo>
                  <a:pt x="4122896" y="1603159"/>
                  <a:pt x="4188547" y="1537447"/>
                  <a:pt x="4269624" y="1537447"/>
                </a:cubicBezTo>
                <a:cubicBezTo>
                  <a:pt x="4350701" y="1537447"/>
                  <a:pt x="4416441" y="1603159"/>
                  <a:pt x="4416441" y="1684199"/>
                </a:cubicBezTo>
                <a:moveTo>
                  <a:pt x="4495276" y="1978511"/>
                </a:moveTo>
                <a:cubicBezTo>
                  <a:pt x="4495276" y="2059641"/>
                  <a:pt x="4429535" y="2125353"/>
                  <a:pt x="4348459" y="2125353"/>
                </a:cubicBezTo>
                <a:cubicBezTo>
                  <a:pt x="4267382" y="2125353"/>
                  <a:pt x="4201642" y="2059641"/>
                  <a:pt x="4201642" y="1978511"/>
                </a:cubicBezTo>
                <a:cubicBezTo>
                  <a:pt x="4201642" y="1897470"/>
                  <a:pt x="4267382" y="1831759"/>
                  <a:pt x="4348459" y="1831759"/>
                </a:cubicBezTo>
                <a:cubicBezTo>
                  <a:pt x="4429535" y="1831759"/>
                  <a:pt x="4495276" y="1897470"/>
                  <a:pt x="4495276" y="1978511"/>
                </a:cubicBezTo>
                <a:moveTo>
                  <a:pt x="4521913" y="2282145"/>
                </a:moveTo>
                <a:cubicBezTo>
                  <a:pt x="4521913" y="2363186"/>
                  <a:pt x="4456172" y="2428987"/>
                  <a:pt x="4375006" y="2428987"/>
                </a:cubicBezTo>
                <a:cubicBezTo>
                  <a:pt x="4293929" y="2428987"/>
                  <a:pt x="4228099" y="2363276"/>
                  <a:pt x="4228099" y="2282145"/>
                </a:cubicBezTo>
                <a:cubicBezTo>
                  <a:pt x="4228099" y="2201015"/>
                  <a:pt x="4293929" y="2135393"/>
                  <a:pt x="4375006" y="2135393"/>
                </a:cubicBezTo>
                <a:cubicBezTo>
                  <a:pt x="4456172" y="2135303"/>
                  <a:pt x="4521913" y="2201015"/>
                  <a:pt x="4521913" y="2282145"/>
                </a:cubicBezTo>
                <a:moveTo>
                  <a:pt x="4495276" y="2585511"/>
                </a:moveTo>
                <a:cubicBezTo>
                  <a:pt x="4495276" y="2666552"/>
                  <a:pt x="4429535" y="2732353"/>
                  <a:pt x="4348459" y="2732353"/>
                </a:cubicBezTo>
                <a:cubicBezTo>
                  <a:pt x="4267382" y="2732353"/>
                  <a:pt x="4201642" y="2666552"/>
                  <a:pt x="4201642" y="2585511"/>
                </a:cubicBezTo>
                <a:cubicBezTo>
                  <a:pt x="4201642" y="2504470"/>
                  <a:pt x="4267382" y="2438759"/>
                  <a:pt x="4348459" y="2438759"/>
                </a:cubicBezTo>
                <a:cubicBezTo>
                  <a:pt x="4429535" y="2438759"/>
                  <a:pt x="4495276" y="2504470"/>
                  <a:pt x="4495276" y="2585511"/>
                </a:cubicBezTo>
                <a:moveTo>
                  <a:pt x="4416352" y="2879553"/>
                </a:moveTo>
                <a:cubicBezTo>
                  <a:pt x="4416352" y="2960684"/>
                  <a:pt x="4350611" y="3026395"/>
                  <a:pt x="4269624" y="3026395"/>
                </a:cubicBezTo>
                <a:cubicBezTo>
                  <a:pt x="4188457" y="3026395"/>
                  <a:pt x="4122628" y="2960594"/>
                  <a:pt x="4122628" y="2879553"/>
                </a:cubicBezTo>
                <a:cubicBezTo>
                  <a:pt x="4122628" y="2798512"/>
                  <a:pt x="4188457" y="2732891"/>
                  <a:pt x="4269624" y="2732891"/>
                </a:cubicBezTo>
                <a:cubicBezTo>
                  <a:pt x="4350701" y="2732891"/>
                  <a:pt x="4416352" y="2798512"/>
                  <a:pt x="4416352" y="2879553"/>
                </a:cubicBezTo>
                <a:moveTo>
                  <a:pt x="4287562" y="3155666"/>
                </a:moveTo>
                <a:cubicBezTo>
                  <a:pt x="4287562" y="3236707"/>
                  <a:pt x="4221911" y="3302418"/>
                  <a:pt x="4140744" y="3302418"/>
                </a:cubicBezTo>
                <a:cubicBezTo>
                  <a:pt x="4059757" y="3302418"/>
                  <a:pt x="3993927" y="3236707"/>
                  <a:pt x="3993927" y="3155666"/>
                </a:cubicBezTo>
                <a:cubicBezTo>
                  <a:pt x="3993927" y="3074625"/>
                  <a:pt x="4059757" y="3008824"/>
                  <a:pt x="4140744" y="3008824"/>
                </a:cubicBezTo>
                <a:cubicBezTo>
                  <a:pt x="4221911" y="3008914"/>
                  <a:pt x="4287562" y="3074625"/>
                  <a:pt x="4287562" y="3155666"/>
                </a:cubicBezTo>
                <a:moveTo>
                  <a:pt x="4112672" y="3405244"/>
                </a:moveTo>
                <a:cubicBezTo>
                  <a:pt x="4112672" y="3486285"/>
                  <a:pt x="4046932" y="3551996"/>
                  <a:pt x="3965855" y="3551996"/>
                </a:cubicBezTo>
                <a:cubicBezTo>
                  <a:pt x="3884778" y="3551996"/>
                  <a:pt x="3819038" y="3486285"/>
                  <a:pt x="3819038" y="3405244"/>
                </a:cubicBezTo>
                <a:cubicBezTo>
                  <a:pt x="3819038" y="3324113"/>
                  <a:pt x="3884778" y="3258491"/>
                  <a:pt x="3965855" y="3258491"/>
                </a:cubicBezTo>
                <a:cubicBezTo>
                  <a:pt x="4046932" y="3258491"/>
                  <a:pt x="4112672" y="3324203"/>
                  <a:pt x="4112672" y="3405244"/>
                </a:cubicBezTo>
                <a:moveTo>
                  <a:pt x="3897155" y="3620845"/>
                </a:moveTo>
                <a:cubicBezTo>
                  <a:pt x="3897155" y="3701886"/>
                  <a:pt x="3831415" y="3767687"/>
                  <a:pt x="3750338" y="3767687"/>
                </a:cubicBezTo>
                <a:cubicBezTo>
                  <a:pt x="3669261" y="3767687"/>
                  <a:pt x="3603521" y="3701975"/>
                  <a:pt x="3603521" y="3620845"/>
                </a:cubicBezTo>
                <a:cubicBezTo>
                  <a:pt x="3603521" y="3539804"/>
                  <a:pt x="3669261" y="3474003"/>
                  <a:pt x="3750338" y="3474003"/>
                </a:cubicBezTo>
                <a:cubicBezTo>
                  <a:pt x="3831415" y="3474093"/>
                  <a:pt x="3897155" y="3539804"/>
                  <a:pt x="3897155" y="3620845"/>
                </a:cubicBezTo>
                <a:moveTo>
                  <a:pt x="3647378" y="3795656"/>
                </a:moveTo>
                <a:cubicBezTo>
                  <a:pt x="3647378" y="3876698"/>
                  <a:pt x="3581637" y="3942409"/>
                  <a:pt x="3500650" y="3942409"/>
                </a:cubicBezTo>
                <a:cubicBezTo>
                  <a:pt x="3419484" y="3942409"/>
                  <a:pt x="3353744" y="3876698"/>
                  <a:pt x="3353744" y="3795656"/>
                </a:cubicBezTo>
                <a:cubicBezTo>
                  <a:pt x="3353744" y="3714616"/>
                  <a:pt x="3419574" y="3648904"/>
                  <a:pt x="3500650" y="3648904"/>
                </a:cubicBezTo>
                <a:cubicBezTo>
                  <a:pt x="3581727" y="3648904"/>
                  <a:pt x="3647378" y="3714616"/>
                  <a:pt x="3647378" y="3795656"/>
                </a:cubicBezTo>
                <a:moveTo>
                  <a:pt x="3371143" y="3924390"/>
                </a:moveTo>
                <a:cubicBezTo>
                  <a:pt x="3371143" y="4005521"/>
                  <a:pt x="3305403" y="4071231"/>
                  <a:pt x="3224236" y="4071231"/>
                </a:cubicBezTo>
                <a:cubicBezTo>
                  <a:pt x="3143159" y="4071231"/>
                  <a:pt x="3077419" y="4005521"/>
                  <a:pt x="3077419" y="3924390"/>
                </a:cubicBezTo>
                <a:cubicBezTo>
                  <a:pt x="3077419" y="3843349"/>
                  <a:pt x="3143159" y="3777638"/>
                  <a:pt x="3224236" y="3777638"/>
                </a:cubicBezTo>
                <a:cubicBezTo>
                  <a:pt x="3305313" y="3777638"/>
                  <a:pt x="3371143" y="3843349"/>
                  <a:pt x="3371143" y="3924390"/>
                </a:cubicBezTo>
                <a:moveTo>
                  <a:pt x="2469164" y="560653"/>
                </a:moveTo>
                <a:cubicBezTo>
                  <a:pt x="2469164" y="641694"/>
                  <a:pt x="2403424" y="707495"/>
                  <a:pt x="2322347" y="707495"/>
                </a:cubicBezTo>
                <a:cubicBezTo>
                  <a:pt x="2241270" y="707495"/>
                  <a:pt x="2175530" y="641783"/>
                  <a:pt x="2175530" y="560653"/>
                </a:cubicBezTo>
                <a:cubicBezTo>
                  <a:pt x="2175530" y="479612"/>
                  <a:pt x="2241270" y="413901"/>
                  <a:pt x="2322347" y="413901"/>
                </a:cubicBezTo>
                <a:cubicBezTo>
                  <a:pt x="2403424" y="413901"/>
                  <a:pt x="2469164" y="479522"/>
                  <a:pt x="2469164" y="560653"/>
                </a:cubicBezTo>
                <a:moveTo>
                  <a:pt x="1115433" y="3655000"/>
                </a:moveTo>
                <a:cubicBezTo>
                  <a:pt x="1115433" y="3725015"/>
                  <a:pt x="1058662" y="3781761"/>
                  <a:pt x="988616" y="3781761"/>
                </a:cubicBezTo>
                <a:cubicBezTo>
                  <a:pt x="918571" y="3781761"/>
                  <a:pt x="861799" y="3725015"/>
                  <a:pt x="861799" y="3655000"/>
                </a:cubicBezTo>
                <a:cubicBezTo>
                  <a:pt x="861799" y="3584986"/>
                  <a:pt x="918571" y="3528239"/>
                  <a:pt x="988616" y="3528239"/>
                </a:cubicBezTo>
                <a:cubicBezTo>
                  <a:pt x="1058662" y="3528239"/>
                  <a:pt x="1115433" y="3584986"/>
                  <a:pt x="1115433" y="3655000"/>
                </a:cubicBezTo>
                <a:moveTo>
                  <a:pt x="3821729" y="4132102"/>
                </a:moveTo>
                <a:cubicBezTo>
                  <a:pt x="3821729" y="4202206"/>
                  <a:pt x="3765047" y="4258863"/>
                  <a:pt x="3694912" y="4258863"/>
                </a:cubicBezTo>
                <a:cubicBezTo>
                  <a:pt x="3624867" y="4258863"/>
                  <a:pt x="3568095" y="4202206"/>
                  <a:pt x="3568095" y="4132102"/>
                </a:cubicBezTo>
                <a:cubicBezTo>
                  <a:pt x="3568095" y="4062178"/>
                  <a:pt x="3624867" y="4005341"/>
                  <a:pt x="3694912" y="4005341"/>
                </a:cubicBezTo>
                <a:cubicBezTo>
                  <a:pt x="3764957" y="4005341"/>
                  <a:pt x="3821729" y="4062178"/>
                  <a:pt x="3821729" y="4132102"/>
                </a:cubicBezTo>
                <a:moveTo>
                  <a:pt x="4126932" y="3918473"/>
                </a:moveTo>
                <a:cubicBezTo>
                  <a:pt x="4126932" y="3988487"/>
                  <a:pt x="4070161" y="4045234"/>
                  <a:pt x="4000115" y="4045234"/>
                </a:cubicBezTo>
                <a:cubicBezTo>
                  <a:pt x="3930070" y="4045234"/>
                  <a:pt x="3873299" y="3988398"/>
                  <a:pt x="3873299" y="3918473"/>
                </a:cubicBezTo>
                <a:cubicBezTo>
                  <a:pt x="3873299" y="3848459"/>
                  <a:pt x="3930070" y="3791712"/>
                  <a:pt x="4000115" y="3791712"/>
                </a:cubicBezTo>
                <a:cubicBezTo>
                  <a:pt x="4070161" y="3791712"/>
                  <a:pt x="4126932" y="3848459"/>
                  <a:pt x="4126932" y="3918473"/>
                </a:cubicBezTo>
                <a:moveTo>
                  <a:pt x="4390432" y="3655090"/>
                </a:moveTo>
                <a:cubicBezTo>
                  <a:pt x="4390432" y="3725194"/>
                  <a:pt x="4333571" y="3781851"/>
                  <a:pt x="4263526" y="3781851"/>
                </a:cubicBezTo>
                <a:cubicBezTo>
                  <a:pt x="4193480" y="3781851"/>
                  <a:pt x="4136708" y="3725194"/>
                  <a:pt x="4136708" y="3655090"/>
                </a:cubicBezTo>
                <a:cubicBezTo>
                  <a:pt x="4136708" y="3585165"/>
                  <a:pt x="4193480" y="3528329"/>
                  <a:pt x="4263526" y="3528329"/>
                </a:cubicBezTo>
                <a:cubicBezTo>
                  <a:pt x="4333660" y="3528329"/>
                  <a:pt x="4390432" y="3585165"/>
                  <a:pt x="4390432" y="3655090"/>
                </a:cubicBezTo>
                <a:moveTo>
                  <a:pt x="4604155" y="3350021"/>
                </a:moveTo>
                <a:cubicBezTo>
                  <a:pt x="4604155" y="3420035"/>
                  <a:pt x="4547473" y="3476782"/>
                  <a:pt x="4477338" y="3476782"/>
                </a:cubicBezTo>
                <a:cubicBezTo>
                  <a:pt x="4407293" y="3476782"/>
                  <a:pt x="4350521" y="3420035"/>
                  <a:pt x="4350521" y="3350021"/>
                </a:cubicBezTo>
                <a:cubicBezTo>
                  <a:pt x="4350521" y="3280007"/>
                  <a:pt x="4407293" y="3223350"/>
                  <a:pt x="4477338" y="3223350"/>
                </a:cubicBezTo>
                <a:cubicBezTo>
                  <a:pt x="4547384" y="3223350"/>
                  <a:pt x="4604155" y="3280007"/>
                  <a:pt x="4604155" y="3350021"/>
                </a:cubicBezTo>
                <a:moveTo>
                  <a:pt x="4761555" y="3012500"/>
                </a:moveTo>
                <a:cubicBezTo>
                  <a:pt x="4761555" y="3082604"/>
                  <a:pt x="4704873" y="3139261"/>
                  <a:pt x="4634828" y="3139261"/>
                </a:cubicBezTo>
                <a:cubicBezTo>
                  <a:pt x="4564783" y="3139261"/>
                  <a:pt x="4508011" y="3082604"/>
                  <a:pt x="4508011" y="3012500"/>
                </a:cubicBezTo>
                <a:cubicBezTo>
                  <a:pt x="4508011" y="2942575"/>
                  <a:pt x="4564783" y="2885739"/>
                  <a:pt x="4634828" y="2885739"/>
                </a:cubicBezTo>
                <a:cubicBezTo>
                  <a:pt x="4704873" y="2885649"/>
                  <a:pt x="4761555" y="2942486"/>
                  <a:pt x="4761555" y="3012500"/>
                </a:cubicBezTo>
                <a:moveTo>
                  <a:pt x="4857969" y="2652926"/>
                </a:moveTo>
                <a:cubicBezTo>
                  <a:pt x="4857969" y="2722940"/>
                  <a:pt x="4801197" y="2779686"/>
                  <a:pt x="4731241" y="2779686"/>
                </a:cubicBezTo>
                <a:cubicBezTo>
                  <a:pt x="4661196" y="2779686"/>
                  <a:pt x="4604335" y="2722940"/>
                  <a:pt x="4604335" y="2652926"/>
                </a:cubicBezTo>
                <a:cubicBezTo>
                  <a:pt x="4604335" y="2582911"/>
                  <a:pt x="4661196" y="2526165"/>
                  <a:pt x="4731241" y="2526165"/>
                </a:cubicBezTo>
                <a:cubicBezTo>
                  <a:pt x="4801197" y="2526165"/>
                  <a:pt x="4857969" y="2582911"/>
                  <a:pt x="4857969" y="2652926"/>
                </a:cubicBezTo>
                <a:moveTo>
                  <a:pt x="4890525" y="2282145"/>
                </a:moveTo>
                <a:cubicBezTo>
                  <a:pt x="4890525" y="2352160"/>
                  <a:pt x="4833753" y="2408906"/>
                  <a:pt x="4763708" y="2408906"/>
                </a:cubicBezTo>
                <a:cubicBezTo>
                  <a:pt x="4693573" y="2408906"/>
                  <a:pt x="4636802" y="2352160"/>
                  <a:pt x="4636802" y="2282145"/>
                </a:cubicBezTo>
                <a:cubicBezTo>
                  <a:pt x="4636802" y="2212131"/>
                  <a:pt x="4693663" y="2155384"/>
                  <a:pt x="4763708" y="2155384"/>
                </a:cubicBezTo>
                <a:cubicBezTo>
                  <a:pt x="4833753" y="2155295"/>
                  <a:pt x="4890525" y="2212131"/>
                  <a:pt x="4890525" y="2282145"/>
                </a:cubicBezTo>
                <a:moveTo>
                  <a:pt x="4857969" y="1911006"/>
                </a:moveTo>
                <a:cubicBezTo>
                  <a:pt x="4857969" y="1981021"/>
                  <a:pt x="4801197" y="2037767"/>
                  <a:pt x="4731241" y="2037767"/>
                </a:cubicBezTo>
                <a:cubicBezTo>
                  <a:pt x="4661196" y="2037767"/>
                  <a:pt x="4604335" y="1981021"/>
                  <a:pt x="4604335" y="1911006"/>
                </a:cubicBezTo>
                <a:cubicBezTo>
                  <a:pt x="4604335" y="1840992"/>
                  <a:pt x="4661196" y="1784245"/>
                  <a:pt x="4731241" y="1784245"/>
                </a:cubicBezTo>
                <a:cubicBezTo>
                  <a:pt x="4801197" y="1784335"/>
                  <a:pt x="4857969" y="1840992"/>
                  <a:pt x="4857969" y="1911006"/>
                </a:cubicBezTo>
                <a:moveTo>
                  <a:pt x="4761645" y="1551253"/>
                </a:moveTo>
                <a:cubicBezTo>
                  <a:pt x="4761645" y="1621357"/>
                  <a:pt x="4704873" y="1678014"/>
                  <a:pt x="4634828" y="1678014"/>
                </a:cubicBezTo>
                <a:cubicBezTo>
                  <a:pt x="4564783" y="1678014"/>
                  <a:pt x="4508011" y="1621357"/>
                  <a:pt x="4508011" y="1551253"/>
                </a:cubicBezTo>
                <a:cubicBezTo>
                  <a:pt x="4508011" y="1481238"/>
                  <a:pt x="4564783" y="1424492"/>
                  <a:pt x="4634828" y="1424492"/>
                </a:cubicBezTo>
                <a:cubicBezTo>
                  <a:pt x="4704873" y="1424492"/>
                  <a:pt x="4761645" y="1481328"/>
                  <a:pt x="4761645" y="1551253"/>
                </a:cubicBezTo>
                <a:moveTo>
                  <a:pt x="4604155" y="1213732"/>
                </a:moveTo>
                <a:cubicBezTo>
                  <a:pt x="4604155" y="1283746"/>
                  <a:pt x="4547384" y="1340493"/>
                  <a:pt x="4477338" y="1340493"/>
                </a:cubicBezTo>
                <a:cubicBezTo>
                  <a:pt x="4407293" y="1340493"/>
                  <a:pt x="4350432" y="1283746"/>
                  <a:pt x="4350432" y="1213732"/>
                </a:cubicBezTo>
                <a:cubicBezTo>
                  <a:pt x="4350432" y="1143717"/>
                  <a:pt x="4407293" y="1086971"/>
                  <a:pt x="4477338" y="1086971"/>
                </a:cubicBezTo>
                <a:cubicBezTo>
                  <a:pt x="4547384" y="1087060"/>
                  <a:pt x="4604155" y="1143717"/>
                  <a:pt x="4604155" y="1213732"/>
                </a:cubicBezTo>
                <a:moveTo>
                  <a:pt x="4390432" y="908663"/>
                </a:moveTo>
                <a:cubicBezTo>
                  <a:pt x="4390432" y="978677"/>
                  <a:pt x="4333660" y="1035424"/>
                  <a:pt x="4263615" y="1035424"/>
                </a:cubicBezTo>
                <a:cubicBezTo>
                  <a:pt x="4193659" y="1035424"/>
                  <a:pt x="4136798" y="978677"/>
                  <a:pt x="4136798" y="908663"/>
                </a:cubicBezTo>
                <a:cubicBezTo>
                  <a:pt x="4136798" y="838559"/>
                  <a:pt x="4193659" y="781902"/>
                  <a:pt x="4263615" y="781902"/>
                </a:cubicBezTo>
                <a:cubicBezTo>
                  <a:pt x="4333660" y="781902"/>
                  <a:pt x="4390432" y="838648"/>
                  <a:pt x="4390432" y="908663"/>
                </a:cubicBezTo>
                <a:moveTo>
                  <a:pt x="4127022" y="645369"/>
                </a:moveTo>
                <a:cubicBezTo>
                  <a:pt x="4127022" y="715384"/>
                  <a:pt x="4070340" y="772130"/>
                  <a:pt x="4000205" y="772130"/>
                </a:cubicBezTo>
                <a:cubicBezTo>
                  <a:pt x="3930250" y="772130"/>
                  <a:pt x="3873299" y="715384"/>
                  <a:pt x="3873299" y="645369"/>
                </a:cubicBezTo>
                <a:cubicBezTo>
                  <a:pt x="3873299" y="575355"/>
                  <a:pt x="3930160" y="518608"/>
                  <a:pt x="4000205" y="518608"/>
                </a:cubicBezTo>
                <a:cubicBezTo>
                  <a:pt x="4070340" y="518519"/>
                  <a:pt x="4127022" y="575355"/>
                  <a:pt x="4127022" y="645369"/>
                </a:cubicBezTo>
                <a:moveTo>
                  <a:pt x="3821729" y="431740"/>
                </a:moveTo>
                <a:cubicBezTo>
                  <a:pt x="3821729" y="501755"/>
                  <a:pt x="3765047" y="558501"/>
                  <a:pt x="3694912" y="558501"/>
                </a:cubicBezTo>
                <a:cubicBezTo>
                  <a:pt x="3624867" y="558501"/>
                  <a:pt x="3568095" y="501755"/>
                  <a:pt x="3568095" y="431740"/>
                </a:cubicBezTo>
                <a:cubicBezTo>
                  <a:pt x="3568095" y="361636"/>
                  <a:pt x="3624867" y="304979"/>
                  <a:pt x="3694912" y="304979"/>
                </a:cubicBezTo>
                <a:cubicBezTo>
                  <a:pt x="3764957" y="304890"/>
                  <a:pt x="3821729" y="361636"/>
                  <a:pt x="3821729" y="431740"/>
                </a:cubicBezTo>
                <a:moveTo>
                  <a:pt x="901710" y="3349932"/>
                </a:moveTo>
                <a:cubicBezTo>
                  <a:pt x="901710" y="3419856"/>
                  <a:pt x="845028" y="3476692"/>
                  <a:pt x="774983" y="3476692"/>
                </a:cubicBezTo>
                <a:cubicBezTo>
                  <a:pt x="704937" y="3476692"/>
                  <a:pt x="648076" y="3419856"/>
                  <a:pt x="648076" y="3349932"/>
                </a:cubicBezTo>
                <a:cubicBezTo>
                  <a:pt x="648076" y="3279827"/>
                  <a:pt x="704937" y="3223170"/>
                  <a:pt x="774983" y="3223170"/>
                </a:cubicBezTo>
                <a:cubicBezTo>
                  <a:pt x="845028" y="3223170"/>
                  <a:pt x="901710" y="3279917"/>
                  <a:pt x="901710" y="3349932"/>
                </a:cubicBezTo>
                <a:moveTo>
                  <a:pt x="744310" y="3012321"/>
                </a:moveTo>
                <a:cubicBezTo>
                  <a:pt x="744310" y="3082424"/>
                  <a:pt x="687628" y="3139171"/>
                  <a:pt x="617493" y="3139171"/>
                </a:cubicBezTo>
                <a:cubicBezTo>
                  <a:pt x="547448" y="3139171"/>
                  <a:pt x="490676" y="3082424"/>
                  <a:pt x="490676" y="3012321"/>
                </a:cubicBezTo>
                <a:cubicBezTo>
                  <a:pt x="490676" y="2942306"/>
                  <a:pt x="547358" y="2885560"/>
                  <a:pt x="617493" y="2885560"/>
                </a:cubicBezTo>
                <a:cubicBezTo>
                  <a:pt x="687538" y="2885560"/>
                  <a:pt x="744310" y="2942306"/>
                  <a:pt x="744310" y="3012321"/>
                </a:cubicBezTo>
                <a:moveTo>
                  <a:pt x="647807" y="2652836"/>
                </a:moveTo>
                <a:cubicBezTo>
                  <a:pt x="647807" y="2722850"/>
                  <a:pt x="591035" y="2779686"/>
                  <a:pt x="520990" y="2779686"/>
                </a:cubicBezTo>
                <a:cubicBezTo>
                  <a:pt x="450855" y="2779686"/>
                  <a:pt x="394083" y="2722850"/>
                  <a:pt x="394083" y="2652836"/>
                </a:cubicBezTo>
                <a:cubicBezTo>
                  <a:pt x="394083" y="2582822"/>
                  <a:pt x="450855" y="2526075"/>
                  <a:pt x="520990" y="2526075"/>
                </a:cubicBezTo>
                <a:cubicBezTo>
                  <a:pt x="591035" y="2526075"/>
                  <a:pt x="647807" y="2582822"/>
                  <a:pt x="647807" y="2652836"/>
                </a:cubicBezTo>
                <a:moveTo>
                  <a:pt x="615340" y="2282145"/>
                </a:moveTo>
                <a:cubicBezTo>
                  <a:pt x="615340" y="2352160"/>
                  <a:pt x="558658" y="2408906"/>
                  <a:pt x="488613" y="2408906"/>
                </a:cubicBezTo>
                <a:cubicBezTo>
                  <a:pt x="418568" y="2408906"/>
                  <a:pt x="361796" y="2352160"/>
                  <a:pt x="361796" y="2282145"/>
                </a:cubicBezTo>
                <a:cubicBezTo>
                  <a:pt x="361796" y="2212131"/>
                  <a:pt x="418568" y="2155384"/>
                  <a:pt x="488613" y="2155384"/>
                </a:cubicBezTo>
                <a:cubicBezTo>
                  <a:pt x="558658" y="2155384"/>
                  <a:pt x="615340" y="2212131"/>
                  <a:pt x="615340" y="2282145"/>
                </a:cubicBezTo>
                <a:moveTo>
                  <a:pt x="647807" y="1911096"/>
                </a:moveTo>
                <a:cubicBezTo>
                  <a:pt x="647807" y="1981111"/>
                  <a:pt x="591035" y="2037857"/>
                  <a:pt x="520990" y="2037857"/>
                </a:cubicBezTo>
                <a:cubicBezTo>
                  <a:pt x="450855" y="2037857"/>
                  <a:pt x="394083" y="1981111"/>
                  <a:pt x="394083" y="1911096"/>
                </a:cubicBezTo>
                <a:cubicBezTo>
                  <a:pt x="394083" y="1840992"/>
                  <a:pt x="450855" y="1784335"/>
                  <a:pt x="520990" y="1784335"/>
                </a:cubicBezTo>
                <a:cubicBezTo>
                  <a:pt x="591035" y="1784335"/>
                  <a:pt x="647807" y="1840992"/>
                  <a:pt x="647807" y="1911096"/>
                </a:cubicBezTo>
                <a:moveTo>
                  <a:pt x="744310" y="1551343"/>
                </a:moveTo>
                <a:cubicBezTo>
                  <a:pt x="744310" y="1621357"/>
                  <a:pt x="687628" y="1678103"/>
                  <a:pt x="617493" y="1678103"/>
                </a:cubicBezTo>
                <a:cubicBezTo>
                  <a:pt x="547448" y="1678103"/>
                  <a:pt x="490676" y="1621267"/>
                  <a:pt x="490676" y="1551343"/>
                </a:cubicBezTo>
                <a:cubicBezTo>
                  <a:pt x="490676" y="1481328"/>
                  <a:pt x="547358" y="1424581"/>
                  <a:pt x="617493" y="1424581"/>
                </a:cubicBezTo>
                <a:cubicBezTo>
                  <a:pt x="687538" y="1424581"/>
                  <a:pt x="744310" y="1481328"/>
                  <a:pt x="744310" y="1551343"/>
                </a:cubicBezTo>
                <a:moveTo>
                  <a:pt x="4471060" y="5013422"/>
                </a:moveTo>
                <a:cubicBezTo>
                  <a:pt x="4471060" y="5054212"/>
                  <a:pt x="4438056" y="5087292"/>
                  <a:pt x="4397158" y="5087292"/>
                </a:cubicBezTo>
                <a:cubicBezTo>
                  <a:pt x="4356351" y="5087292"/>
                  <a:pt x="4323257" y="5054212"/>
                  <a:pt x="4323257" y="5013422"/>
                </a:cubicBezTo>
                <a:cubicBezTo>
                  <a:pt x="4323257" y="4972633"/>
                  <a:pt x="4356351" y="4939553"/>
                  <a:pt x="4397158" y="4939553"/>
                </a:cubicBezTo>
                <a:cubicBezTo>
                  <a:pt x="4438056" y="4939553"/>
                  <a:pt x="4471060" y="4972633"/>
                  <a:pt x="4471060" y="5013422"/>
                </a:cubicBezTo>
                <a:moveTo>
                  <a:pt x="4176170" y="5013422"/>
                </a:moveTo>
                <a:cubicBezTo>
                  <a:pt x="4176170" y="5054212"/>
                  <a:pt x="4143076" y="5087292"/>
                  <a:pt x="4102269" y="5087292"/>
                </a:cubicBezTo>
                <a:cubicBezTo>
                  <a:pt x="4061461" y="5087292"/>
                  <a:pt x="4028277" y="5054212"/>
                  <a:pt x="4028277" y="5013422"/>
                </a:cubicBezTo>
                <a:cubicBezTo>
                  <a:pt x="4028277" y="4972633"/>
                  <a:pt x="4061371" y="4939553"/>
                  <a:pt x="4102269" y="4939553"/>
                </a:cubicBezTo>
                <a:cubicBezTo>
                  <a:pt x="4143076" y="4939553"/>
                  <a:pt x="4176170" y="4972633"/>
                  <a:pt x="4176170" y="5013422"/>
                </a:cubicBezTo>
                <a:moveTo>
                  <a:pt x="4359759" y="5256904"/>
                </a:moveTo>
                <a:cubicBezTo>
                  <a:pt x="4359759" y="5297693"/>
                  <a:pt x="4326575" y="5330773"/>
                  <a:pt x="4285858" y="5330773"/>
                </a:cubicBezTo>
                <a:cubicBezTo>
                  <a:pt x="4244960" y="5330773"/>
                  <a:pt x="4211866" y="5297693"/>
                  <a:pt x="4211866" y="5256904"/>
                </a:cubicBezTo>
                <a:cubicBezTo>
                  <a:pt x="4211866" y="5216025"/>
                  <a:pt x="4244960" y="5183035"/>
                  <a:pt x="4285858" y="5183035"/>
                </a:cubicBezTo>
                <a:cubicBezTo>
                  <a:pt x="4326575" y="5183035"/>
                  <a:pt x="4359759" y="5216025"/>
                  <a:pt x="4359759" y="5256904"/>
                </a:cubicBezTo>
                <a:moveTo>
                  <a:pt x="4535007" y="4475092"/>
                </a:moveTo>
                <a:cubicBezTo>
                  <a:pt x="4535007" y="4515881"/>
                  <a:pt x="4502002" y="4548961"/>
                  <a:pt x="4461105" y="4548961"/>
                </a:cubicBezTo>
                <a:cubicBezTo>
                  <a:pt x="4420298" y="4548961"/>
                  <a:pt x="4387203" y="4515881"/>
                  <a:pt x="4387203" y="4475092"/>
                </a:cubicBezTo>
                <a:cubicBezTo>
                  <a:pt x="4387203" y="4434302"/>
                  <a:pt x="4420298" y="4401222"/>
                  <a:pt x="4461105" y="4401222"/>
                </a:cubicBezTo>
                <a:cubicBezTo>
                  <a:pt x="4502002" y="4401222"/>
                  <a:pt x="4535007" y="4434302"/>
                  <a:pt x="4535007" y="4475092"/>
                </a:cubicBezTo>
                <a:moveTo>
                  <a:pt x="4894381" y="4115966"/>
                </a:moveTo>
                <a:cubicBezTo>
                  <a:pt x="4894381" y="4156755"/>
                  <a:pt x="4861287" y="4189925"/>
                  <a:pt x="4820480" y="4189925"/>
                </a:cubicBezTo>
                <a:cubicBezTo>
                  <a:pt x="4779672" y="4189925"/>
                  <a:pt x="4746488" y="4156845"/>
                  <a:pt x="4746488" y="4115966"/>
                </a:cubicBezTo>
                <a:cubicBezTo>
                  <a:pt x="4746488" y="4075176"/>
                  <a:pt x="4779583" y="4042096"/>
                  <a:pt x="4820480" y="4042096"/>
                </a:cubicBezTo>
                <a:cubicBezTo>
                  <a:pt x="4861287" y="4042096"/>
                  <a:pt x="4894381" y="4075176"/>
                  <a:pt x="4894381" y="4115966"/>
                </a:cubicBezTo>
                <a:moveTo>
                  <a:pt x="5185773" y="3699913"/>
                </a:moveTo>
                <a:cubicBezTo>
                  <a:pt x="5185773" y="3740703"/>
                  <a:pt x="5152589" y="3773783"/>
                  <a:pt x="5111872" y="3773783"/>
                </a:cubicBezTo>
                <a:cubicBezTo>
                  <a:pt x="5071064" y="3773783"/>
                  <a:pt x="5037970" y="3740703"/>
                  <a:pt x="5037970" y="3699913"/>
                </a:cubicBezTo>
                <a:cubicBezTo>
                  <a:pt x="5037970" y="3659034"/>
                  <a:pt x="5071064" y="3626044"/>
                  <a:pt x="5111872" y="3626044"/>
                </a:cubicBezTo>
                <a:cubicBezTo>
                  <a:pt x="5152679" y="3626044"/>
                  <a:pt x="5185773" y="3659034"/>
                  <a:pt x="5185773" y="3699913"/>
                </a:cubicBezTo>
                <a:moveTo>
                  <a:pt x="5381201" y="3258940"/>
                </a:moveTo>
                <a:cubicBezTo>
                  <a:pt x="5381201" y="3299729"/>
                  <a:pt x="5348107" y="3332809"/>
                  <a:pt x="5307299" y="3332809"/>
                </a:cubicBezTo>
                <a:cubicBezTo>
                  <a:pt x="5266491" y="3332809"/>
                  <a:pt x="5233397" y="3299639"/>
                  <a:pt x="5233397" y="3258940"/>
                </a:cubicBezTo>
                <a:cubicBezTo>
                  <a:pt x="5233397" y="3218150"/>
                  <a:pt x="5266491" y="3185070"/>
                  <a:pt x="5307299" y="3185070"/>
                </a:cubicBezTo>
                <a:cubicBezTo>
                  <a:pt x="5348107" y="3185070"/>
                  <a:pt x="5381201" y="3218150"/>
                  <a:pt x="5381201" y="3258940"/>
                </a:cubicBezTo>
                <a:moveTo>
                  <a:pt x="790767" y="3904668"/>
                </a:moveTo>
                <a:cubicBezTo>
                  <a:pt x="790767" y="3959890"/>
                  <a:pt x="746103" y="4004534"/>
                  <a:pt x="690857" y="4004534"/>
                </a:cubicBezTo>
                <a:cubicBezTo>
                  <a:pt x="635610" y="4004534"/>
                  <a:pt x="590946" y="3959890"/>
                  <a:pt x="590946" y="3904668"/>
                </a:cubicBezTo>
                <a:cubicBezTo>
                  <a:pt x="590946" y="3849624"/>
                  <a:pt x="635610" y="3804890"/>
                  <a:pt x="690857" y="3804890"/>
                </a:cubicBezTo>
                <a:cubicBezTo>
                  <a:pt x="746103" y="3804890"/>
                  <a:pt x="790767" y="3849624"/>
                  <a:pt x="790767" y="3904668"/>
                </a:cubicBezTo>
                <a:moveTo>
                  <a:pt x="538210" y="3544197"/>
                </a:moveTo>
                <a:cubicBezTo>
                  <a:pt x="538210" y="3599419"/>
                  <a:pt x="493456" y="3644064"/>
                  <a:pt x="438299" y="3644064"/>
                </a:cubicBezTo>
                <a:cubicBezTo>
                  <a:pt x="383052" y="3644064"/>
                  <a:pt x="338478" y="3599419"/>
                  <a:pt x="338478" y="3544197"/>
                </a:cubicBezTo>
                <a:cubicBezTo>
                  <a:pt x="338478" y="3489153"/>
                  <a:pt x="383142" y="3444419"/>
                  <a:pt x="438299" y="3444419"/>
                </a:cubicBezTo>
                <a:cubicBezTo>
                  <a:pt x="493456" y="3444419"/>
                  <a:pt x="538210" y="3489064"/>
                  <a:pt x="538210" y="3544197"/>
                </a:cubicBezTo>
                <a:moveTo>
                  <a:pt x="352110" y="3145267"/>
                </a:moveTo>
                <a:cubicBezTo>
                  <a:pt x="352110" y="3200400"/>
                  <a:pt x="307446" y="3245134"/>
                  <a:pt x="252199" y="3245134"/>
                </a:cubicBezTo>
                <a:cubicBezTo>
                  <a:pt x="197042" y="3245134"/>
                  <a:pt x="152288" y="3200400"/>
                  <a:pt x="152288" y="3145267"/>
                </a:cubicBezTo>
                <a:cubicBezTo>
                  <a:pt x="152288" y="3090134"/>
                  <a:pt x="197042" y="3045490"/>
                  <a:pt x="252199" y="3045490"/>
                </a:cubicBezTo>
                <a:cubicBezTo>
                  <a:pt x="307446" y="3045490"/>
                  <a:pt x="352110" y="3090134"/>
                  <a:pt x="352110" y="3145267"/>
                </a:cubicBezTo>
                <a:moveTo>
                  <a:pt x="238118" y="2720430"/>
                </a:moveTo>
                <a:cubicBezTo>
                  <a:pt x="238118" y="2775563"/>
                  <a:pt x="193454" y="2820207"/>
                  <a:pt x="138297" y="2820207"/>
                </a:cubicBezTo>
                <a:cubicBezTo>
                  <a:pt x="83140" y="2820207"/>
                  <a:pt x="38386" y="2775563"/>
                  <a:pt x="38386" y="2720430"/>
                </a:cubicBezTo>
                <a:cubicBezTo>
                  <a:pt x="38386" y="2665207"/>
                  <a:pt x="83140" y="2620563"/>
                  <a:pt x="138297" y="2620563"/>
                </a:cubicBezTo>
                <a:cubicBezTo>
                  <a:pt x="193364" y="2620563"/>
                  <a:pt x="238118" y="2665207"/>
                  <a:pt x="238118" y="2720430"/>
                </a:cubicBezTo>
                <a:moveTo>
                  <a:pt x="199732" y="2282145"/>
                </a:moveTo>
                <a:cubicBezTo>
                  <a:pt x="199732" y="2337278"/>
                  <a:pt x="154979" y="2382012"/>
                  <a:pt x="99911" y="2382012"/>
                </a:cubicBezTo>
                <a:cubicBezTo>
                  <a:pt x="44664" y="2382012"/>
                  <a:pt x="0" y="2337278"/>
                  <a:pt x="0" y="2282145"/>
                </a:cubicBezTo>
                <a:cubicBezTo>
                  <a:pt x="0" y="2227012"/>
                  <a:pt x="44664" y="2182368"/>
                  <a:pt x="99911" y="2182368"/>
                </a:cubicBezTo>
                <a:cubicBezTo>
                  <a:pt x="154979" y="2182279"/>
                  <a:pt x="199732" y="2226923"/>
                  <a:pt x="199732" y="2282145"/>
                </a:cubicBezTo>
                <a:moveTo>
                  <a:pt x="238118" y="1843592"/>
                </a:moveTo>
                <a:cubicBezTo>
                  <a:pt x="238118" y="1898725"/>
                  <a:pt x="193454" y="1943369"/>
                  <a:pt x="138297" y="1943369"/>
                </a:cubicBezTo>
                <a:cubicBezTo>
                  <a:pt x="83140" y="1943369"/>
                  <a:pt x="38386" y="1898725"/>
                  <a:pt x="38386" y="1843592"/>
                </a:cubicBezTo>
                <a:cubicBezTo>
                  <a:pt x="38386" y="1788459"/>
                  <a:pt x="83140" y="1743725"/>
                  <a:pt x="138297" y="1743725"/>
                </a:cubicBezTo>
                <a:cubicBezTo>
                  <a:pt x="193364" y="1743815"/>
                  <a:pt x="238118" y="1788459"/>
                  <a:pt x="238118" y="1843592"/>
                </a:cubicBezTo>
                <a:moveTo>
                  <a:pt x="4349535" y="351506"/>
                </a:moveTo>
                <a:cubicBezTo>
                  <a:pt x="4349535" y="406729"/>
                  <a:pt x="4304781" y="451373"/>
                  <a:pt x="4249714" y="451373"/>
                </a:cubicBezTo>
                <a:cubicBezTo>
                  <a:pt x="4194557" y="451373"/>
                  <a:pt x="4149802" y="406729"/>
                  <a:pt x="4149802" y="351506"/>
                </a:cubicBezTo>
                <a:cubicBezTo>
                  <a:pt x="4149802" y="296373"/>
                  <a:pt x="4194557" y="251729"/>
                  <a:pt x="4249714" y="251729"/>
                </a:cubicBezTo>
                <a:cubicBezTo>
                  <a:pt x="4304781" y="251729"/>
                  <a:pt x="4349535" y="296373"/>
                  <a:pt x="4349535" y="351506"/>
                </a:cubicBezTo>
                <a:moveTo>
                  <a:pt x="5250348" y="2281966"/>
                </a:moveTo>
                <a:cubicBezTo>
                  <a:pt x="5250348" y="2337099"/>
                  <a:pt x="5205684" y="2381833"/>
                  <a:pt x="5150527" y="2381833"/>
                </a:cubicBezTo>
                <a:cubicBezTo>
                  <a:pt x="5095280" y="2381833"/>
                  <a:pt x="5050615" y="2337099"/>
                  <a:pt x="5050615" y="2281966"/>
                </a:cubicBezTo>
                <a:cubicBezTo>
                  <a:pt x="5050615" y="2226833"/>
                  <a:pt x="5095370" y="2182189"/>
                  <a:pt x="5150527" y="2182189"/>
                </a:cubicBezTo>
                <a:cubicBezTo>
                  <a:pt x="5205684" y="2182189"/>
                  <a:pt x="5250348" y="2226833"/>
                  <a:pt x="5250348" y="2281966"/>
                </a:cubicBezTo>
                <a:moveTo>
                  <a:pt x="5213935" y="2720430"/>
                </a:moveTo>
                <a:cubicBezTo>
                  <a:pt x="5213935" y="2775563"/>
                  <a:pt x="5169271" y="2820297"/>
                  <a:pt x="5114114" y="2820297"/>
                </a:cubicBezTo>
                <a:cubicBezTo>
                  <a:pt x="5058867" y="2820297"/>
                  <a:pt x="5014203" y="2775563"/>
                  <a:pt x="5014203" y="2720430"/>
                </a:cubicBezTo>
                <a:cubicBezTo>
                  <a:pt x="5014203" y="2665207"/>
                  <a:pt x="5058867" y="2620563"/>
                  <a:pt x="5114114" y="2620563"/>
                </a:cubicBezTo>
                <a:cubicBezTo>
                  <a:pt x="5169182" y="2620563"/>
                  <a:pt x="5213935" y="2665207"/>
                  <a:pt x="5213935" y="2720430"/>
                </a:cubicBezTo>
                <a:moveTo>
                  <a:pt x="5099854" y="3145357"/>
                </a:moveTo>
                <a:cubicBezTo>
                  <a:pt x="5099854" y="3200580"/>
                  <a:pt x="5055190" y="3245224"/>
                  <a:pt x="5000033" y="3245224"/>
                </a:cubicBezTo>
                <a:cubicBezTo>
                  <a:pt x="4944875" y="3245224"/>
                  <a:pt x="4900122" y="3200580"/>
                  <a:pt x="4900122" y="3145357"/>
                </a:cubicBezTo>
                <a:cubicBezTo>
                  <a:pt x="4900122" y="3090313"/>
                  <a:pt x="4944875" y="3045580"/>
                  <a:pt x="5000033" y="3045580"/>
                </a:cubicBezTo>
                <a:cubicBezTo>
                  <a:pt x="5055190" y="3045490"/>
                  <a:pt x="5099854" y="3090224"/>
                  <a:pt x="5099854" y="3145357"/>
                </a:cubicBezTo>
                <a:moveTo>
                  <a:pt x="4913843" y="3544286"/>
                </a:moveTo>
                <a:cubicBezTo>
                  <a:pt x="4913843" y="3599509"/>
                  <a:pt x="4869090" y="3644153"/>
                  <a:pt x="4813933" y="3644153"/>
                </a:cubicBezTo>
                <a:cubicBezTo>
                  <a:pt x="4758685" y="3644153"/>
                  <a:pt x="4714022" y="3599509"/>
                  <a:pt x="4714022" y="3544286"/>
                </a:cubicBezTo>
                <a:cubicBezTo>
                  <a:pt x="4714022" y="3489243"/>
                  <a:pt x="4758685" y="3444509"/>
                  <a:pt x="4813933" y="3444509"/>
                </a:cubicBezTo>
                <a:cubicBezTo>
                  <a:pt x="4869090" y="3444509"/>
                  <a:pt x="4913843" y="3489153"/>
                  <a:pt x="4913843" y="3544286"/>
                </a:cubicBezTo>
                <a:moveTo>
                  <a:pt x="4661196" y="3904757"/>
                </a:moveTo>
                <a:cubicBezTo>
                  <a:pt x="4661196" y="3959890"/>
                  <a:pt x="4616443" y="4004624"/>
                  <a:pt x="4561285" y="4004624"/>
                </a:cubicBezTo>
                <a:cubicBezTo>
                  <a:pt x="4506128" y="4004624"/>
                  <a:pt x="4461374" y="3959980"/>
                  <a:pt x="4461374" y="3904757"/>
                </a:cubicBezTo>
                <a:cubicBezTo>
                  <a:pt x="4461374" y="3849624"/>
                  <a:pt x="4506128" y="3804980"/>
                  <a:pt x="4561285" y="3804980"/>
                </a:cubicBezTo>
                <a:cubicBezTo>
                  <a:pt x="4616443" y="3804980"/>
                  <a:pt x="4661196" y="3849714"/>
                  <a:pt x="4661196" y="3904757"/>
                </a:cubicBezTo>
                <a:moveTo>
                  <a:pt x="4349804" y="4216102"/>
                </a:moveTo>
                <a:cubicBezTo>
                  <a:pt x="4349804" y="4271234"/>
                  <a:pt x="4305050" y="4315968"/>
                  <a:pt x="4249893" y="4315968"/>
                </a:cubicBezTo>
                <a:cubicBezTo>
                  <a:pt x="4194736" y="4315968"/>
                  <a:pt x="4149982" y="4271234"/>
                  <a:pt x="4149982" y="4216102"/>
                </a:cubicBezTo>
                <a:cubicBezTo>
                  <a:pt x="4149982" y="4160968"/>
                  <a:pt x="4194646" y="4116234"/>
                  <a:pt x="4249893" y="4116234"/>
                </a:cubicBezTo>
                <a:cubicBezTo>
                  <a:pt x="4305050" y="4116234"/>
                  <a:pt x="4349804" y="4160968"/>
                  <a:pt x="4349804" y="4216102"/>
                </a:cubicBezTo>
                <a:moveTo>
                  <a:pt x="3989084" y="4468547"/>
                </a:moveTo>
                <a:cubicBezTo>
                  <a:pt x="3989084" y="4523681"/>
                  <a:pt x="3944420" y="4568414"/>
                  <a:pt x="3889263" y="4568414"/>
                </a:cubicBezTo>
                <a:cubicBezTo>
                  <a:pt x="3834106" y="4568414"/>
                  <a:pt x="3789442" y="4523681"/>
                  <a:pt x="3789442" y="4468547"/>
                </a:cubicBezTo>
                <a:cubicBezTo>
                  <a:pt x="3789442" y="4413505"/>
                  <a:pt x="3834106" y="4368770"/>
                  <a:pt x="3889263" y="4368770"/>
                </a:cubicBezTo>
                <a:cubicBezTo>
                  <a:pt x="3944420" y="4368681"/>
                  <a:pt x="3989084" y="4413415"/>
                  <a:pt x="3989084" y="4468547"/>
                </a:cubicBezTo>
                <a:moveTo>
                  <a:pt x="3991595" y="99777"/>
                </a:moveTo>
                <a:cubicBezTo>
                  <a:pt x="3991595" y="154910"/>
                  <a:pt x="3946842" y="199644"/>
                  <a:pt x="3891684" y="199644"/>
                </a:cubicBezTo>
                <a:cubicBezTo>
                  <a:pt x="3836527" y="199644"/>
                  <a:pt x="3791773" y="154910"/>
                  <a:pt x="3791773" y="99777"/>
                </a:cubicBezTo>
                <a:cubicBezTo>
                  <a:pt x="3791773" y="44644"/>
                  <a:pt x="3836437" y="0"/>
                  <a:pt x="3891684" y="0"/>
                </a:cubicBezTo>
                <a:cubicBezTo>
                  <a:pt x="3946931" y="0"/>
                  <a:pt x="3991595" y="44644"/>
                  <a:pt x="3991595" y="99777"/>
                </a:cubicBezTo>
              </a:path>
            </a:pathLst>
          </a:custGeom>
          <a:solidFill>
            <a:schemeClr val="accent1"/>
          </a:solidFill>
          <a:ln w="8968" cap="flat">
            <a:noFill/>
            <a:prstDash val="solid"/>
            <a:miter/>
          </a:ln>
        </p:spPr>
        <p:txBody>
          <a:bodyPr rtlCol="0" anchor="ctr"/>
          <a:lstStyle/>
          <a:p>
            <a:endParaRPr lang="en-US"/>
          </a:p>
        </p:txBody>
      </p:sp>
      <p:sp>
        <p:nvSpPr>
          <p:cNvPr id="23" name="Text Placeholder 34">
            <a:extLst>
              <a:ext uri="{FF2B5EF4-FFF2-40B4-BE49-F238E27FC236}">
                <a16:creationId xmlns:a16="http://schemas.microsoft.com/office/drawing/2014/main" id="{CCAAB9C2-FCE2-55EB-2C9F-DF16F73AB0B2}"/>
              </a:ext>
            </a:extLst>
          </p:cNvPr>
          <p:cNvSpPr>
            <a:spLocks noGrp="1"/>
          </p:cNvSpPr>
          <p:nvPr>
            <p:ph type="body" sz="quarter" idx="10"/>
          </p:nvPr>
        </p:nvSpPr>
        <p:spPr>
          <a:xfrm>
            <a:off x="328743" y="5971977"/>
            <a:ext cx="5583600" cy="403200"/>
          </a:xfrm>
        </p:spPr>
        <p:txBody>
          <a:bodyPr anchor="b" anchorCtr="0"/>
          <a:lstStyle>
            <a:lvl1pPr>
              <a:defRPr sz="570">
                <a:solidFill>
                  <a:schemeClr val="tx1"/>
                </a:solidFill>
              </a:defRPr>
            </a:lvl1pPr>
            <a:lvl2pPr marL="92075" indent="-92075">
              <a:tabLst/>
              <a:defRPr sz="570"/>
            </a:lvl2pPr>
            <a:lvl3pPr marL="179388" indent="-87313">
              <a:tabLst/>
              <a:defRPr sz="570"/>
            </a:lvl3pPr>
            <a:lvl4pPr marL="271463" indent="-92075">
              <a:tabLst/>
              <a:defRPr sz="570"/>
            </a:lvl4pPr>
            <a:lvl5pPr marL="358775" indent="-87313">
              <a:tabLst/>
              <a:defRPr sz="570"/>
            </a:lvl5pPr>
          </a:lstStyle>
          <a:p>
            <a:pPr lvl="0"/>
            <a:r>
              <a:rPr lang="en-US"/>
              <a:t>Click to edit Master text styles</a:t>
            </a:r>
          </a:p>
        </p:txBody>
      </p:sp>
      <p:sp>
        <p:nvSpPr>
          <p:cNvPr id="24" name="Text Placeholder 34">
            <a:extLst>
              <a:ext uri="{FF2B5EF4-FFF2-40B4-BE49-F238E27FC236}">
                <a16:creationId xmlns:a16="http://schemas.microsoft.com/office/drawing/2014/main" id="{A2EFB387-755E-875D-931A-A03F5B67E708}"/>
              </a:ext>
            </a:extLst>
          </p:cNvPr>
          <p:cNvSpPr>
            <a:spLocks noGrp="1"/>
          </p:cNvSpPr>
          <p:nvPr>
            <p:ph type="body" sz="quarter" idx="11"/>
          </p:nvPr>
        </p:nvSpPr>
        <p:spPr>
          <a:xfrm>
            <a:off x="328743" y="6392076"/>
            <a:ext cx="5583600" cy="155265"/>
          </a:xfrm>
        </p:spPr>
        <p:txBody>
          <a:bodyPr anchor="b" anchorCtr="0"/>
          <a:lstStyle>
            <a:lvl1pPr>
              <a:defRPr sz="570">
                <a:solidFill>
                  <a:schemeClr val="tx1"/>
                </a:solidFill>
              </a:defRPr>
            </a:lvl1pPr>
            <a:lvl2pPr marL="92075" indent="-92075">
              <a:tabLst/>
              <a:defRPr sz="570"/>
            </a:lvl2pPr>
            <a:lvl3pPr marL="179388" indent="-87313">
              <a:tabLst/>
              <a:defRPr sz="570"/>
            </a:lvl3pPr>
            <a:lvl4pPr marL="271463" indent="-92075">
              <a:tabLst/>
              <a:defRPr sz="570"/>
            </a:lvl4pPr>
            <a:lvl5pPr marL="358775" indent="-87313">
              <a:tabLst/>
              <a:defRPr sz="570"/>
            </a:lvl5pPr>
          </a:lstStyle>
          <a:p>
            <a:pPr lvl="0"/>
            <a:r>
              <a:rPr lang="en-US"/>
              <a:t>Click to edit Master text styles</a:t>
            </a:r>
          </a:p>
        </p:txBody>
      </p:sp>
    </p:spTree>
    <p:extLst>
      <p:ext uri="{BB962C8B-B14F-4D97-AF65-F5344CB8AC3E}">
        <p14:creationId xmlns:p14="http://schemas.microsoft.com/office/powerpoint/2010/main" val="7945035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AA7A8-67C2-393E-3A13-A863E64EFEE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8131D463-E06B-3782-41C9-9BD445FBC1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1BD18E0A-E9E8-3F77-D3F4-E1C9111B2FDB}"/>
              </a:ext>
            </a:extLst>
          </p:cNvPr>
          <p:cNvSpPr>
            <a:spLocks noGrp="1"/>
          </p:cNvSpPr>
          <p:nvPr>
            <p:ph type="dt" sz="half" idx="10"/>
          </p:nvPr>
        </p:nvSpPr>
        <p:spPr/>
        <p:txBody>
          <a:bodyPr/>
          <a:lstStyle/>
          <a:p>
            <a:fld id="{A350B4B8-FB90-4B9F-AF8C-05FB7479526F}" type="datetimeFigureOut">
              <a:rPr lang="en-AU" smtClean="0"/>
              <a:t>24/02/2025</a:t>
            </a:fld>
            <a:endParaRPr lang="en-AU"/>
          </a:p>
        </p:txBody>
      </p:sp>
      <p:sp>
        <p:nvSpPr>
          <p:cNvPr id="5" name="Footer Placeholder 4">
            <a:extLst>
              <a:ext uri="{FF2B5EF4-FFF2-40B4-BE49-F238E27FC236}">
                <a16:creationId xmlns:a16="http://schemas.microsoft.com/office/drawing/2014/main" id="{94A520EA-9BAB-4B63-A436-86D5A347DA5F}"/>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6D5B74F2-31AF-AEFE-3624-24E504A61DB2}"/>
              </a:ext>
            </a:extLst>
          </p:cNvPr>
          <p:cNvSpPr>
            <a:spLocks noGrp="1"/>
          </p:cNvSpPr>
          <p:nvPr>
            <p:ph type="sldNum" sz="quarter" idx="12"/>
          </p:nvPr>
        </p:nvSpPr>
        <p:spPr/>
        <p:txBody>
          <a:bodyPr/>
          <a:lstStyle/>
          <a:p>
            <a:fld id="{A2FF043B-E10C-4246-9AD2-884F0766A0A6}" type="slidenum">
              <a:rPr lang="en-AU" smtClean="0"/>
              <a:t>‹#›</a:t>
            </a:fld>
            <a:endParaRPr lang="en-AU"/>
          </a:p>
        </p:txBody>
      </p:sp>
    </p:spTree>
    <p:extLst>
      <p:ext uri="{BB962C8B-B14F-4D97-AF65-F5344CB8AC3E}">
        <p14:creationId xmlns:p14="http://schemas.microsoft.com/office/powerpoint/2010/main" val="40855817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4A516-FFFC-EFBE-0D14-50B1D7EBF09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F76E6197-05BB-56B4-82CE-72B337971EA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25330ABB-ED65-4409-07E4-D5F9E4F386C8}"/>
              </a:ext>
            </a:extLst>
          </p:cNvPr>
          <p:cNvSpPr>
            <a:spLocks noGrp="1"/>
          </p:cNvSpPr>
          <p:nvPr>
            <p:ph type="dt" sz="half" idx="10"/>
          </p:nvPr>
        </p:nvSpPr>
        <p:spPr/>
        <p:txBody>
          <a:bodyPr/>
          <a:lstStyle/>
          <a:p>
            <a:fld id="{A350B4B8-FB90-4B9F-AF8C-05FB7479526F}" type="datetimeFigureOut">
              <a:rPr lang="en-AU" smtClean="0"/>
              <a:t>24/02/2025</a:t>
            </a:fld>
            <a:endParaRPr lang="en-AU"/>
          </a:p>
        </p:txBody>
      </p:sp>
      <p:sp>
        <p:nvSpPr>
          <p:cNvPr id="5" name="Footer Placeholder 4">
            <a:extLst>
              <a:ext uri="{FF2B5EF4-FFF2-40B4-BE49-F238E27FC236}">
                <a16:creationId xmlns:a16="http://schemas.microsoft.com/office/drawing/2014/main" id="{300ED038-46C3-1346-124C-75CEDB221ACF}"/>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5AFC22B6-9D5A-ED9B-23C8-7E91448F5612}"/>
              </a:ext>
            </a:extLst>
          </p:cNvPr>
          <p:cNvSpPr>
            <a:spLocks noGrp="1"/>
          </p:cNvSpPr>
          <p:nvPr>
            <p:ph type="sldNum" sz="quarter" idx="12"/>
          </p:nvPr>
        </p:nvSpPr>
        <p:spPr/>
        <p:txBody>
          <a:bodyPr/>
          <a:lstStyle/>
          <a:p>
            <a:fld id="{A2FF043B-E10C-4246-9AD2-884F0766A0A6}" type="slidenum">
              <a:rPr lang="en-AU" smtClean="0"/>
              <a:t>‹#›</a:t>
            </a:fld>
            <a:endParaRPr lang="en-AU"/>
          </a:p>
        </p:txBody>
      </p:sp>
    </p:spTree>
    <p:extLst>
      <p:ext uri="{BB962C8B-B14F-4D97-AF65-F5344CB8AC3E}">
        <p14:creationId xmlns:p14="http://schemas.microsoft.com/office/powerpoint/2010/main" val="42580960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61DF1-DAA6-F072-ED3D-E9F9624EB82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1F8EB2E7-418F-E151-C649-BAAA39D527E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42603F5-88FE-30E7-105A-79DEE55458F2}"/>
              </a:ext>
            </a:extLst>
          </p:cNvPr>
          <p:cNvSpPr>
            <a:spLocks noGrp="1"/>
          </p:cNvSpPr>
          <p:nvPr>
            <p:ph type="dt" sz="half" idx="10"/>
          </p:nvPr>
        </p:nvSpPr>
        <p:spPr/>
        <p:txBody>
          <a:bodyPr/>
          <a:lstStyle/>
          <a:p>
            <a:fld id="{A350B4B8-FB90-4B9F-AF8C-05FB7479526F}" type="datetimeFigureOut">
              <a:rPr lang="en-AU" smtClean="0"/>
              <a:t>24/02/2025</a:t>
            </a:fld>
            <a:endParaRPr lang="en-AU"/>
          </a:p>
        </p:txBody>
      </p:sp>
      <p:sp>
        <p:nvSpPr>
          <p:cNvPr id="5" name="Footer Placeholder 4">
            <a:extLst>
              <a:ext uri="{FF2B5EF4-FFF2-40B4-BE49-F238E27FC236}">
                <a16:creationId xmlns:a16="http://schemas.microsoft.com/office/drawing/2014/main" id="{92948F4C-73D4-0540-69A4-90B0D8BBA3C8}"/>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158859F8-A76F-5455-7E09-9C0EA0867D41}"/>
              </a:ext>
            </a:extLst>
          </p:cNvPr>
          <p:cNvSpPr>
            <a:spLocks noGrp="1"/>
          </p:cNvSpPr>
          <p:nvPr>
            <p:ph type="sldNum" sz="quarter" idx="12"/>
          </p:nvPr>
        </p:nvSpPr>
        <p:spPr/>
        <p:txBody>
          <a:bodyPr/>
          <a:lstStyle/>
          <a:p>
            <a:fld id="{A2FF043B-E10C-4246-9AD2-884F0766A0A6}" type="slidenum">
              <a:rPr lang="en-AU" smtClean="0"/>
              <a:t>‹#›</a:t>
            </a:fld>
            <a:endParaRPr lang="en-AU"/>
          </a:p>
        </p:txBody>
      </p:sp>
    </p:spTree>
    <p:extLst>
      <p:ext uri="{BB962C8B-B14F-4D97-AF65-F5344CB8AC3E}">
        <p14:creationId xmlns:p14="http://schemas.microsoft.com/office/powerpoint/2010/main" val="13928629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02AAD-8B40-F9E8-7871-2CFF19F59CED}"/>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CC7A8B3-EC25-944B-73BF-F5FEA8A7D10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C312EB7A-D038-80F8-388F-3B0D8E14748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5BAF4E2F-DF9A-0E55-E05A-F73E3C6D7B22}"/>
              </a:ext>
            </a:extLst>
          </p:cNvPr>
          <p:cNvSpPr>
            <a:spLocks noGrp="1"/>
          </p:cNvSpPr>
          <p:nvPr>
            <p:ph type="dt" sz="half" idx="10"/>
          </p:nvPr>
        </p:nvSpPr>
        <p:spPr/>
        <p:txBody>
          <a:bodyPr/>
          <a:lstStyle/>
          <a:p>
            <a:fld id="{A350B4B8-FB90-4B9F-AF8C-05FB7479526F}" type="datetimeFigureOut">
              <a:rPr lang="en-AU" smtClean="0"/>
              <a:t>24/02/2025</a:t>
            </a:fld>
            <a:endParaRPr lang="en-AU"/>
          </a:p>
        </p:txBody>
      </p:sp>
      <p:sp>
        <p:nvSpPr>
          <p:cNvPr id="6" name="Footer Placeholder 5">
            <a:extLst>
              <a:ext uri="{FF2B5EF4-FFF2-40B4-BE49-F238E27FC236}">
                <a16:creationId xmlns:a16="http://schemas.microsoft.com/office/drawing/2014/main" id="{5BD4D38C-E399-C8D6-0941-B6099A768A7C}"/>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65CB7847-2327-6446-E61B-B12F24A45D70}"/>
              </a:ext>
            </a:extLst>
          </p:cNvPr>
          <p:cNvSpPr>
            <a:spLocks noGrp="1"/>
          </p:cNvSpPr>
          <p:nvPr>
            <p:ph type="sldNum" sz="quarter" idx="12"/>
          </p:nvPr>
        </p:nvSpPr>
        <p:spPr/>
        <p:txBody>
          <a:bodyPr/>
          <a:lstStyle/>
          <a:p>
            <a:fld id="{A2FF043B-E10C-4246-9AD2-884F0766A0A6}" type="slidenum">
              <a:rPr lang="en-AU" smtClean="0"/>
              <a:t>‹#›</a:t>
            </a:fld>
            <a:endParaRPr lang="en-AU"/>
          </a:p>
        </p:txBody>
      </p:sp>
    </p:spTree>
    <p:extLst>
      <p:ext uri="{BB962C8B-B14F-4D97-AF65-F5344CB8AC3E}">
        <p14:creationId xmlns:p14="http://schemas.microsoft.com/office/powerpoint/2010/main" val="21917151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60F52-AD1F-342D-618F-65D153FAA2BF}"/>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591CBF3C-8C44-D5A9-161B-EA22B7530D2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DCBD619-2267-E198-6556-8A7E223873E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DC80FDA8-BC4A-C8E5-1926-BA1FEC17BD8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43DE6E7-EA61-9145-27BB-BEC31EF1F79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E130D480-76DA-114A-1286-0F8AD155A39B}"/>
              </a:ext>
            </a:extLst>
          </p:cNvPr>
          <p:cNvSpPr>
            <a:spLocks noGrp="1"/>
          </p:cNvSpPr>
          <p:nvPr>
            <p:ph type="dt" sz="half" idx="10"/>
          </p:nvPr>
        </p:nvSpPr>
        <p:spPr/>
        <p:txBody>
          <a:bodyPr/>
          <a:lstStyle/>
          <a:p>
            <a:fld id="{A350B4B8-FB90-4B9F-AF8C-05FB7479526F}" type="datetimeFigureOut">
              <a:rPr lang="en-AU" smtClean="0"/>
              <a:t>24/02/2025</a:t>
            </a:fld>
            <a:endParaRPr lang="en-AU"/>
          </a:p>
        </p:txBody>
      </p:sp>
      <p:sp>
        <p:nvSpPr>
          <p:cNvPr id="8" name="Footer Placeholder 7">
            <a:extLst>
              <a:ext uri="{FF2B5EF4-FFF2-40B4-BE49-F238E27FC236}">
                <a16:creationId xmlns:a16="http://schemas.microsoft.com/office/drawing/2014/main" id="{7B7AA380-8AC4-F61F-591F-B98FD8F99C38}"/>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09687CC7-C130-DA9D-DCD7-A0B5EDB276E1}"/>
              </a:ext>
            </a:extLst>
          </p:cNvPr>
          <p:cNvSpPr>
            <a:spLocks noGrp="1"/>
          </p:cNvSpPr>
          <p:nvPr>
            <p:ph type="sldNum" sz="quarter" idx="12"/>
          </p:nvPr>
        </p:nvSpPr>
        <p:spPr/>
        <p:txBody>
          <a:bodyPr/>
          <a:lstStyle/>
          <a:p>
            <a:fld id="{A2FF043B-E10C-4246-9AD2-884F0766A0A6}" type="slidenum">
              <a:rPr lang="en-AU" smtClean="0"/>
              <a:t>‹#›</a:t>
            </a:fld>
            <a:endParaRPr lang="en-AU"/>
          </a:p>
        </p:txBody>
      </p:sp>
    </p:spTree>
    <p:extLst>
      <p:ext uri="{BB962C8B-B14F-4D97-AF65-F5344CB8AC3E}">
        <p14:creationId xmlns:p14="http://schemas.microsoft.com/office/powerpoint/2010/main" val="30293517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C3A7A-BDF4-F3B6-4B2F-301A015744A9}"/>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E1114519-86B2-A7E4-CD7F-927D79691499}"/>
              </a:ext>
            </a:extLst>
          </p:cNvPr>
          <p:cNvSpPr>
            <a:spLocks noGrp="1"/>
          </p:cNvSpPr>
          <p:nvPr>
            <p:ph type="dt" sz="half" idx="10"/>
          </p:nvPr>
        </p:nvSpPr>
        <p:spPr/>
        <p:txBody>
          <a:bodyPr/>
          <a:lstStyle/>
          <a:p>
            <a:fld id="{A350B4B8-FB90-4B9F-AF8C-05FB7479526F}" type="datetimeFigureOut">
              <a:rPr lang="en-AU" smtClean="0"/>
              <a:t>24/02/2025</a:t>
            </a:fld>
            <a:endParaRPr lang="en-AU"/>
          </a:p>
        </p:txBody>
      </p:sp>
      <p:sp>
        <p:nvSpPr>
          <p:cNvPr id="4" name="Footer Placeholder 3">
            <a:extLst>
              <a:ext uri="{FF2B5EF4-FFF2-40B4-BE49-F238E27FC236}">
                <a16:creationId xmlns:a16="http://schemas.microsoft.com/office/drawing/2014/main" id="{AC40FAA7-16A6-A1DD-7CC9-2883910A2494}"/>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6156C21B-D241-F0A5-0BA2-496AE8F84A5F}"/>
              </a:ext>
            </a:extLst>
          </p:cNvPr>
          <p:cNvSpPr>
            <a:spLocks noGrp="1"/>
          </p:cNvSpPr>
          <p:nvPr>
            <p:ph type="sldNum" sz="quarter" idx="12"/>
          </p:nvPr>
        </p:nvSpPr>
        <p:spPr/>
        <p:txBody>
          <a:bodyPr/>
          <a:lstStyle/>
          <a:p>
            <a:fld id="{A2FF043B-E10C-4246-9AD2-884F0766A0A6}" type="slidenum">
              <a:rPr lang="en-AU" smtClean="0"/>
              <a:t>‹#›</a:t>
            </a:fld>
            <a:endParaRPr lang="en-AU"/>
          </a:p>
        </p:txBody>
      </p:sp>
    </p:spTree>
    <p:extLst>
      <p:ext uri="{BB962C8B-B14F-4D97-AF65-F5344CB8AC3E}">
        <p14:creationId xmlns:p14="http://schemas.microsoft.com/office/powerpoint/2010/main" val="32327185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87BFBDF-841D-5DCA-DDCF-6FEE74C424F8}"/>
              </a:ext>
            </a:extLst>
          </p:cNvPr>
          <p:cNvSpPr>
            <a:spLocks noGrp="1"/>
          </p:cNvSpPr>
          <p:nvPr>
            <p:ph type="dt" sz="half" idx="10"/>
          </p:nvPr>
        </p:nvSpPr>
        <p:spPr/>
        <p:txBody>
          <a:bodyPr/>
          <a:lstStyle/>
          <a:p>
            <a:fld id="{A350B4B8-FB90-4B9F-AF8C-05FB7479526F}" type="datetimeFigureOut">
              <a:rPr lang="en-AU" smtClean="0"/>
              <a:t>24/02/2025</a:t>
            </a:fld>
            <a:endParaRPr lang="en-AU"/>
          </a:p>
        </p:txBody>
      </p:sp>
      <p:sp>
        <p:nvSpPr>
          <p:cNvPr id="3" name="Footer Placeholder 2">
            <a:extLst>
              <a:ext uri="{FF2B5EF4-FFF2-40B4-BE49-F238E27FC236}">
                <a16:creationId xmlns:a16="http://schemas.microsoft.com/office/drawing/2014/main" id="{2B7DB4CD-EAE4-C239-38A2-5809B8A5B674}"/>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36A0A9ED-0A44-2414-C94C-286DC688CF56}"/>
              </a:ext>
            </a:extLst>
          </p:cNvPr>
          <p:cNvSpPr>
            <a:spLocks noGrp="1"/>
          </p:cNvSpPr>
          <p:nvPr>
            <p:ph type="sldNum" sz="quarter" idx="12"/>
          </p:nvPr>
        </p:nvSpPr>
        <p:spPr/>
        <p:txBody>
          <a:bodyPr/>
          <a:lstStyle/>
          <a:p>
            <a:fld id="{A2FF043B-E10C-4246-9AD2-884F0766A0A6}" type="slidenum">
              <a:rPr lang="en-AU" smtClean="0"/>
              <a:t>‹#›</a:t>
            </a:fld>
            <a:endParaRPr lang="en-AU"/>
          </a:p>
        </p:txBody>
      </p:sp>
    </p:spTree>
    <p:extLst>
      <p:ext uri="{BB962C8B-B14F-4D97-AF65-F5344CB8AC3E}">
        <p14:creationId xmlns:p14="http://schemas.microsoft.com/office/powerpoint/2010/main" val="37156073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4C320-0701-506C-8C80-73CF49A561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079260E1-7C3F-78B0-96A4-FB901D71CE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FAAF6D20-B3CB-6BE6-58D4-4F3B7260FE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1926309-712B-0650-92D4-4ECF2A8F4D46}"/>
              </a:ext>
            </a:extLst>
          </p:cNvPr>
          <p:cNvSpPr>
            <a:spLocks noGrp="1"/>
          </p:cNvSpPr>
          <p:nvPr>
            <p:ph type="dt" sz="half" idx="10"/>
          </p:nvPr>
        </p:nvSpPr>
        <p:spPr/>
        <p:txBody>
          <a:bodyPr/>
          <a:lstStyle/>
          <a:p>
            <a:fld id="{A350B4B8-FB90-4B9F-AF8C-05FB7479526F}" type="datetimeFigureOut">
              <a:rPr lang="en-AU" smtClean="0"/>
              <a:t>24/02/2025</a:t>
            </a:fld>
            <a:endParaRPr lang="en-AU"/>
          </a:p>
        </p:txBody>
      </p:sp>
      <p:sp>
        <p:nvSpPr>
          <p:cNvPr id="6" name="Footer Placeholder 5">
            <a:extLst>
              <a:ext uri="{FF2B5EF4-FFF2-40B4-BE49-F238E27FC236}">
                <a16:creationId xmlns:a16="http://schemas.microsoft.com/office/drawing/2014/main" id="{51DCA3AA-A8FE-F0C0-C2A0-EE791E82ABBD}"/>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5323410A-B3E5-E2CF-1C40-704F2DA7C163}"/>
              </a:ext>
            </a:extLst>
          </p:cNvPr>
          <p:cNvSpPr>
            <a:spLocks noGrp="1"/>
          </p:cNvSpPr>
          <p:nvPr>
            <p:ph type="sldNum" sz="quarter" idx="12"/>
          </p:nvPr>
        </p:nvSpPr>
        <p:spPr/>
        <p:txBody>
          <a:bodyPr/>
          <a:lstStyle/>
          <a:p>
            <a:fld id="{A2FF043B-E10C-4246-9AD2-884F0766A0A6}" type="slidenum">
              <a:rPr lang="en-AU" smtClean="0"/>
              <a:t>‹#›</a:t>
            </a:fld>
            <a:endParaRPr lang="en-AU"/>
          </a:p>
        </p:txBody>
      </p:sp>
    </p:spTree>
    <p:extLst>
      <p:ext uri="{BB962C8B-B14F-4D97-AF65-F5344CB8AC3E}">
        <p14:creationId xmlns:p14="http://schemas.microsoft.com/office/powerpoint/2010/main" val="447269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CE178-0CD6-B263-8B9F-17B6264F39A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B036DAB4-914D-CAF4-FEB8-340B5F2CEE1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26F1B645-6C43-4AFB-7F98-176FB3859A2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C984BA7-EC80-9A2F-485B-EEBF02237151}"/>
              </a:ext>
            </a:extLst>
          </p:cNvPr>
          <p:cNvSpPr>
            <a:spLocks noGrp="1"/>
          </p:cNvSpPr>
          <p:nvPr>
            <p:ph type="dt" sz="half" idx="10"/>
          </p:nvPr>
        </p:nvSpPr>
        <p:spPr/>
        <p:txBody>
          <a:bodyPr/>
          <a:lstStyle/>
          <a:p>
            <a:fld id="{A350B4B8-FB90-4B9F-AF8C-05FB7479526F}" type="datetimeFigureOut">
              <a:rPr lang="en-AU" smtClean="0"/>
              <a:t>24/02/2025</a:t>
            </a:fld>
            <a:endParaRPr lang="en-AU"/>
          </a:p>
        </p:txBody>
      </p:sp>
      <p:sp>
        <p:nvSpPr>
          <p:cNvPr id="6" name="Footer Placeholder 5">
            <a:extLst>
              <a:ext uri="{FF2B5EF4-FFF2-40B4-BE49-F238E27FC236}">
                <a16:creationId xmlns:a16="http://schemas.microsoft.com/office/drawing/2014/main" id="{ADAF5724-6FBD-38AD-9C7C-FCF83DE1A072}"/>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0C3C7EF7-FE8B-EA2F-7BC1-E2FD74FDF8E7}"/>
              </a:ext>
            </a:extLst>
          </p:cNvPr>
          <p:cNvSpPr>
            <a:spLocks noGrp="1"/>
          </p:cNvSpPr>
          <p:nvPr>
            <p:ph type="sldNum" sz="quarter" idx="12"/>
          </p:nvPr>
        </p:nvSpPr>
        <p:spPr/>
        <p:txBody>
          <a:bodyPr/>
          <a:lstStyle/>
          <a:p>
            <a:fld id="{A2FF043B-E10C-4246-9AD2-884F0766A0A6}" type="slidenum">
              <a:rPr lang="en-AU" smtClean="0"/>
              <a:t>‹#›</a:t>
            </a:fld>
            <a:endParaRPr lang="en-AU"/>
          </a:p>
        </p:txBody>
      </p:sp>
    </p:spTree>
    <p:extLst>
      <p:ext uri="{BB962C8B-B14F-4D97-AF65-F5344CB8AC3E}">
        <p14:creationId xmlns:p14="http://schemas.microsoft.com/office/powerpoint/2010/main" val="332774564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148C6-665A-6464-018D-E35192B33899}"/>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96ED6451-629F-C3EA-5731-BB69CA350B4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6614110A-5B6E-F536-E92A-51BEE984A4EA}"/>
              </a:ext>
            </a:extLst>
          </p:cNvPr>
          <p:cNvSpPr>
            <a:spLocks noGrp="1"/>
          </p:cNvSpPr>
          <p:nvPr>
            <p:ph type="dt" sz="half" idx="10"/>
          </p:nvPr>
        </p:nvSpPr>
        <p:spPr/>
        <p:txBody>
          <a:bodyPr/>
          <a:lstStyle/>
          <a:p>
            <a:fld id="{A350B4B8-FB90-4B9F-AF8C-05FB7479526F}" type="datetimeFigureOut">
              <a:rPr lang="en-AU" smtClean="0"/>
              <a:t>24/02/2025</a:t>
            </a:fld>
            <a:endParaRPr lang="en-AU"/>
          </a:p>
        </p:txBody>
      </p:sp>
      <p:sp>
        <p:nvSpPr>
          <p:cNvPr id="5" name="Footer Placeholder 4">
            <a:extLst>
              <a:ext uri="{FF2B5EF4-FFF2-40B4-BE49-F238E27FC236}">
                <a16:creationId xmlns:a16="http://schemas.microsoft.com/office/drawing/2014/main" id="{57DB651A-77FA-973A-123E-1854643037D7}"/>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B15C7FE8-ABB9-04B9-3E90-85CAD7D0A9E8}"/>
              </a:ext>
            </a:extLst>
          </p:cNvPr>
          <p:cNvSpPr>
            <a:spLocks noGrp="1"/>
          </p:cNvSpPr>
          <p:nvPr>
            <p:ph type="sldNum" sz="quarter" idx="12"/>
          </p:nvPr>
        </p:nvSpPr>
        <p:spPr/>
        <p:txBody>
          <a:bodyPr/>
          <a:lstStyle/>
          <a:p>
            <a:fld id="{A2FF043B-E10C-4246-9AD2-884F0766A0A6}" type="slidenum">
              <a:rPr lang="en-AU" smtClean="0"/>
              <a:t>‹#›</a:t>
            </a:fld>
            <a:endParaRPr lang="en-AU"/>
          </a:p>
        </p:txBody>
      </p:sp>
    </p:spTree>
    <p:extLst>
      <p:ext uri="{BB962C8B-B14F-4D97-AF65-F5344CB8AC3E}">
        <p14:creationId xmlns:p14="http://schemas.microsoft.com/office/powerpoint/2010/main" val="15950697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03 - White BG">
    <p:bg>
      <p:bgPr>
        <a:solidFill>
          <a:schemeClr val="bg1"/>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0AD70DE-B9A8-5F9D-71F9-F71F72337EDF}"/>
              </a:ext>
            </a:extLst>
          </p:cNvPr>
          <p:cNvGrpSpPr/>
          <p:nvPr/>
        </p:nvGrpSpPr>
        <p:grpSpPr>
          <a:xfrm>
            <a:off x="0" y="1667044"/>
            <a:ext cx="12192000" cy="3524736"/>
            <a:chOff x="98975" y="1673264"/>
            <a:chExt cx="7555953" cy="2184444"/>
          </a:xfrm>
        </p:grpSpPr>
        <p:sp>
          <p:nvSpPr>
            <p:cNvPr id="12" name="Freeform 11">
              <a:extLst>
                <a:ext uri="{FF2B5EF4-FFF2-40B4-BE49-F238E27FC236}">
                  <a16:creationId xmlns:a16="http://schemas.microsoft.com/office/drawing/2014/main" id="{685DFDA4-8A41-D422-EAAA-D5DD1E125A14}"/>
                </a:ext>
              </a:extLst>
            </p:cNvPr>
            <p:cNvSpPr/>
            <p:nvPr/>
          </p:nvSpPr>
          <p:spPr>
            <a:xfrm>
              <a:off x="5005819" y="1673264"/>
              <a:ext cx="2185284" cy="2184444"/>
            </a:xfrm>
            <a:custGeom>
              <a:avLst/>
              <a:gdLst>
                <a:gd name="connsiteX0" fmla="*/ 0 w 2185284"/>
                <a:gd name="connsiteY0" fmla="*/ 1092242 h 2184444"/>
                <a:gd name="connsiteX1" fmla="*/ 1092622 w 2185284"/>
                <a:gd name="connsiteY1" fmla="*/ 2184445 h 2184444"/>
                <a:gd name="connsiteX2" fmla="*/ 2185284 w 2185284"/>
                <a:gd name="connsiteY2" fmla="*/ 1092242 h 2184444"/>
                <a:gd name="connsiteX3" fmla="*/ 1092662 w 2185284"/>
                <a:gd name="connsiteY3" fmla="*/ 0 h 2184444"/>
                <a:gd name="connsiteX4" fmla="*/ 0 w 2185284"/>
                <a:gd name="connsiteY4" fmla="*/ 1092242 h 2184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284" h="2184444">
                  <a:moveTo>
                    <a:pt x="0" y="1092242"/>
                  </a:moveTo>
                  <a:cubicBezTo>
                    <a:pt x="0" y="1695463"/>
                    <a:pt x="489209" y="2184445"/>
                    <a:pt x="1092622" y="2184445"/>
                  </a:cubicBezTo>
                  <a:cubicBezTo>
                    <a:pt x="1696075" y="2184445"/>
                    <a:pt x="2185284" y="1695424"/>
                    <a:pt x="2185284" y="1092242"/>
                  </a:cubicBezTo>
                  <a:cubicBezTo>
                    <a:pt x="2185284" y="489060"/>
                    <a:pt x="1696115" y="0"/>
                    <a:pt x="1092662" y="0"/>
                  </a:cubicBezTo>
                  <a:cubicBezTo>
                    <a:pt x="489209" y="0"/>
                    <a:pt x="0" y="489021"/>
                    <a:pt x="0" y="1092242"/>
                  </a:cubicBezTo>
                </a:path>
              </a:pathLst>
            </a:custGeom>
            <a:solidFill>
              <a:srgbClr val="1B6CFF">
                <a:alpha val="30000"/>
              </a:srgbClr>
            </a:solidFill>
            <a:ln w="3935"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C773679F-1C2D-BBC3-11D8-306C11CF67DF}"/>
                </a:ext>
              </a:extLst>
            </p:cNvPr>
            <p:cNvSpPr/>
            <p:nvPr/>
          </p:nvSpPr>
          <p:spPr>
            <a:xfrm>
              <a:off x="98975" y="1673264"/>
              <a:ext cx="1092622" cy="2184444"/>
            </a:xfrm>
            <a:custGeom>
              <a:avLst/>
              <a:gdLst>
                <a:gd name="connsiteX0" fmla="*/ 0 w 1092622"/>
                <a:gd name="connsiteY0" fmla="*/ 0 h 2184444"/>
                <a:gd name="connsiteX1" fmla="*/ 0 w 1092622"/>
                <a:gd name="connsiteY1" fmla="*/ 2184445 h 2184444"/>
                <a:gd name="connsiteX2" fmla="*/ 1092622 w 1092622"/>
                <a:gd name="connsiteY2" fmla="*/ 1092242 h 2184444"/>
                <a:gd name="connsiteX3" fmla="*/ 0 w 1092622"/>
                <a:gd name="connsiteY3" fmla="*/ 0 h 2184444"/>
              </a:gdLst>
              <a:ahLst/>
              <a:cxnLst>
                <a:cxn ang="0">
                  <a:pos x="connsiteX0" y="connsiteY0"/>
                </a:cxn>
                <a:cxn ang="0">
                  <a:pos x="connsiteX1" y="connsiteY1"/>
                </a:cxn>
                <a:cxn ang="0">
                  <a:pos x="connsiteX2" y="connsiteY2"/>
                </a:cxn>
                <a:cxn ang="0">
                  <a:pos x="connsiteX3" y="connsiteY3"/>
                </a:cxn>
              </a:cxnLst>
              <a:rect l="l" t="t" r="r" b="b"/>
              <a:pathLst>
                <a:path w="1092622" h="2184444">
                  <a:moveTo>
                    <a:pt x="0" y="0"/>
                  </a:moveTo>
                  <a:lnTo>
                    <a:pt x="0" y="2184445"/>
                  </a:lnTo>
                  <a:cubicBezTo>
                    <a:pt x="603453" y="2184445"/>
                    <a:pt x="1092622" y="1695424"/>
                    <a:pt x="1092622" y="1092242"/>
                  </a:cubicBezTo>
                  <a:cubicBezTo>
                    <a:pt x="1092622" y="489060"/>
                    <a:pt x="603453" y="0"/>
                    <a:pt x="0" y="0"/>
                  </a:cubicBezTo>
                  <a:close/>
                </a:path>
              </a:pathLst>
            </a:custGeom>
            <a:solidFill>
              <a:srgbClr val="1B6CFF">
                <a:alpha val="12000"/>
              </a:srgbClr>
            </a:solidFill>
            <a:ln w="3935"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EBE1BC1-D8E3-56B7-F474-F531C3145631}"/>
                </a:ext>
              </a:extLst>
            </p:cNvPr>
            <p:cNvSpPr/>
            <p:nvPr/>
          </p:nvSpPr>
          <p:spPr>
            <a:xfrm>
              <a:off x="6562306" y="1673264"/>
              <a:ext cx="1092622" cy="2184405"/>
            </a:xfrm>
            <a:custGeom>
              <a:avLst/>
              <a:gdLst>
                <a:gd name="connsiteX0" fmla="*/ 1092622 w 1092622"/>
                <a:gd name="connsiteY0" fmla="*/ 0 h 2184405"/>
                <a:gd name="connsiteX1" fmla="*/ 1092622 w 1092622"/>
                <a:gd name="connsiteY1" fmla="*/ 0 h 2184405"/>
                <a:gd name="connsiteX2" fmla="*/ 0 w 1092622"/>
                <a:gd name="connsiteY2" fmla="*/ 1092203 h 2184405"/>
                <a:gd name="connsiteX3" fmla="*/ 1092622 w 1092622"/>
                <a:gd name="connsiteY3" fmla="*/ 2184405 h 2184405"/>
                <a:gd name="connsiteX4" fmla="*/ 1092622 w 1092622"/>
                <a:gd name="connsiteY4" fmla="*/ 2184405 h 2184405"/>
                <a:gd name="connsiteX5" fmla="*/ 1092622 w 1092622"/>
                <a:gd name="connsiteY5" fmla="*/ 0 h 218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2622" h="2184405">
                  <a:moveTo>
                    <a:pt x="1092622" y="0"/>
                  </a:moveTo>
                  <a:cubicBezTo>
                    <a:pt x="1092622" y="0"/>
                    <a:pt x="1092622" y="0"/>
                    <a:pt x="1092622" y="0"/>
                  </a:cubicBezTo>
                  <a:cubicBezTo>
                    <a:pt x="489169" y="0"/>
                    <a:pt x="0" y="489021"/>
                    <a:pt x="0" y="1092203"/>
                  </a:cubicBezTo>
                  <a:cubicBezTo>
                    <a:pt x="0" y="1695385"/>
                    <a:pt x="489208" y="2184405"/>
                    <a:pt x="1092622" y="2184405"/>
                  </a:cubicBezTo>
                  <a:cubicBezTo>
                    <a:pt x="1092622" y="2184405"/>
                    <a:pt x="1092622" y="2184405"/>
                    <a:pt x="1092622" y="2184405"/>
                  </a:cubicBezTo>
                  <a:lnTo>
                    <a:pt x="1092622" y="0"/>
                  </a:lnTo>
                  <a:close/>
                </a:path>
              </a:pathLst>
            </a:custGeom>
            <a:solidFill>
              <a:srgbClr val="1B6CFF"/>
            </a:solidFill>
            <a:ln w="3935"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D895EEE8-FF85-7216-E1D3-A064CC954F9F}"/>
              </a:ext>
            </a:extLst>
          </p:cNvPr>
          <p:cNvSpPr>
            <a:spLocks noGrp="1"/>
          </p:cNvSpPr>
          <p:nvPr>
            <p:ph type="ctrTitle"/>
          </p:nvPr>
        </p:nvSpPr>
        <p:spPr>
          <a:xfrm>
            <a:off x="303433" y="2622725"/>
            <a:ext cx="5613180" cy="1368591"/>
          </a:xfrm>
        </p:spPr>
        <p:txBody>
          <a:bodyPr anchor="t" anchorCtr="0"/>
          <a:lstStyle>
            <a:lvl1pPr algn="l">
              <a:lnSpc>
                <a:spcPct val="85000"/>
              </a:lnSpc>
              <a:defRPr sz="5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7678E90-F782-C178-A610-A05D0932347C}"/>
              </a:ext>
            </a:extLst>
          </p:cNvPr>
          <p:cNvSpPr>
            <a:spLocks noGrp="1"/>
          </p:cNvSpPr>
          <p:nvPr>
            <p:ph type="subTitle" idx="1"/>
          </p:nvPr>
        </p:nvSpPr>
        <p:spPr>
          <a:xfrm>
            <a:off x="322351" y="3979898"/>
            <a:ext cx="4867658" cy="394520"/>
          </a:xfrm>
        </p:spPr>
        <p:txBody>
          <a:bodyPr anchor="t" anchorCtr="0"/>
          <a:lstStyle>
            <a:lvl1pPr marL="0" indent="0" algn="l">
              <a:buNone/>
              <a:defRPr sz="2100" b="1" i="0">
                <a:solidFill>
                  <a:schemeClr val="tx1"/>
                </a:solidFill>
                <a:latin typeface="Aptos" panose="020B00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Graphic 11">
            <a:extLst>
              <a:ext uri="{FF2B5EF4-FFF2-40B4-BE49-F238E27FC236}">
                <a16:creationId xmlns:a16="http://schemas.microsoft.com/office/drawing/2014/main" id="{EB18E0AC-5F1C-D381-D843-F51F83F60A44}"/>
              </a:ext>
            </a:extLst>
          </p:cNvPr>
          <p:cNvSpPr/>
          <p:nvPr userDrawn="1"/>
        </p:nvSpPr>
        <p:spPr>
          <a:xfrm>
            <a:off x="334963" y="382312"/>
            <a:ext cx="1094377" cy="450106"/>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p>
        </p:txBody>
      </p:sp>
      <p:sp>
        <p:nvSpPr>
          <p:cNvPr id="25" name="Freeform 18">
            <a:extLst>
              <a:ext uri="{FF2B5EF4-FFF2-40B4-BE49-F238E27FC236}">
                <a16:creationId xmlns:a16="http://schemas.microsoft.com/office/drawing/2014/main" id="{A3DE54A6-9E32-BC17-C224-9116818A4CCC}"/>
              </a:ext>
            </a:extLst>
          </p:cNvPr>
          <p:cNvSpPr/>
          <p:nvPr userDrawn="1"/>
        </p:nvSpPr>
        <p:spPr>
          <a:xfrm>
            <a:off x="10941742" y="227296"/>
            <a:ext cx="915296" cy="907821"/>
          </a:xfrm>
          <a:custGeom>
            <a:avLst/>
            <a:gdLst>
              <a:gd name="connsiteX0" fmla="*/ 3825502 w 4803292"/>
              <a:gd name="connsiteY0" fmla="*/ 4632114 h 4764066"/>
              <a:gd name="connsiteX1" fmla="*/ 3891547 w 4803292"/>
              <a:gd name="connsiteY1" fmla="*/ 4698050 h 4764066"/>
              <a:gd name="connsiteX2" fmla="*/ 3825502 w 4803292"/>
              <a:gd name="connsiteY2" fmla="*/ 4764066 h 4764066"/>
              <a:gd name="connsiteX3" fmla="*/ 3759537 w 4803292"/>
              <a:gd name="connsiteY3" fmla="*/ 4698050 h 4764066"/>
              <a:gd name="connsiteX4" fmla="*/ 3825502 w 4803292"/>
              <a:gd name="connsiteY4" fmla="*/ 4632114 h 4764066"/>
              <a:gd name="connsiteX5" fmla="*/ 3925010 w 4803292"/>
              <a:gd name="connsiteY5" fmla="*/ 4414517 h 4764066"/>
              <a:gd name="connsiteX6" fmla="*/ 3990895 w 4803292"/>
              <a:gd name="connsiteY6" fmla="*/ 4480453 h 4764066"/>
              <a:gd name="connsiteX7" fmla="*/ 3925010 w 4803292"/>
              <a:gd name="connsiteY7" fmla="*/ 4546710 h 4764066"/>
              <a:gd name="connsiteX8" fmla="*/ 3858965 w 4803292"/>
              <a:gd name="connsiteY8" fmla="*/ 4480453 h 4764066"/>
              <a:gd name="connsiteX9" fmla="*/ 3925010 w 4803292"/>
              <a:gd name="connsiteY9" fmla="*/ 4414517 h 4764066"/>
              <a:gd name="connsiteX10" fmla="*/ 3661709 w 4803292"/>
              <a:gd name="connsiteY10" fmla="*/ 4414517 h 4764066"/>
              <a:gd name="connsiteX11" fmla="*/ 3727595 w 4803292"/>
              <a:gd name="connsiteY11" fmla="*/ 4480453 h 4764066"/>
              <a:gd name="connsiteX12" fmla="*/ 3661709 w 4803292"/>
              <a:gd name="connsiteY12" fmla="*/ 4546710 h 4764066"/>
              <a:gd name="connsiteX13" fmla="*/ 3595664 w 4803292"/>
              <a:gd name="connsiteY13" fmla="*/ 4480453 h 4764066"/>
              <a:gd name="connsiteX14" fmla="*/ 3661709 w 4803292"/>
              <a:gd name="connsiteY14" fmla="*/ 4414517 h 4764066"/>
              <a:gd name="connsiteX15" fmla="*/ 3982170 w 4803292"/>
              <a:gd name="connsiteY15" fmla="*/ 3933336 h 4764066"/>
              <a:gd name="connsiteX16" fmla="*/ 4048055 w 4803292"/>
              <a:gd name="connsiteY16" fmla="*/ 3999352 h 4764066"/>
              <a:gd name="connsiteX17" fmla="*/ 3982170 w 4803292"/>
              <a:gd name="connsiteY17" fmla="*/ 4065288 h 4764066"/>
              <a:gd name="connsiteX18" fmla="*/ 3915964 w 4803292"/>
              <a:gd name="connsiteY18" fmla="*/ 3999352 h 4764066"/>
              <a:gd name="connsiteX19" fmla="*/ 3982170 w 4803292"/>
              <a:gd name="connsiteY19" fmla="*/ 3933336 h 4764066"/>
              <a:gd name="connsiteX20" fmla="*/ 3471579 w 4803292"/>
              <a:gd name="connsiteY20" fmla="*/ 3904333 h 4764066"/>
              <a:gd name="connsiteX21" fmla="*/ 3560680 w 4803292"/>
              <a:gd name="connsiteY21" fmla="*/ 3993503 h 4764066"/>
              <a:gd name="connsiteX22" fmla="*/ 3471579 w 4803292"/>
              <a:gd name="connsiteY22" fmla="*/ 4082753 h 4764066"/>
              <a:gd name="connsiteX23" fmla="*/ 3382558 w 4803292"/>
              <a:gd name="connsiteY23" fmla="*/ 3993503 h 4764066"/>
              <a:gd name="connsiteX24" fmla="*/ 3471579 w 4803292"/>
              <a:gd name="connsiteY24" fmla="*/ 3904333 h 4764066"/>
              <a:gd name="connsiteX25" fmla="*/ 3793560 w 4803292"/>
              <a:gd name="connsiteY25" fmla="*/ 3678564 h 4764066"/>
              <a:gd name="connsiteX26" fmla="*/ 3882661 w 4803292"/>
              <a:gd name="connsiteY26" fmla="*/ 3767975 h 4764066"/>
              <a:gd name="connsiteX27" fmla="*/ 3793560 w 4803292"/>
              <a:gd name="connsiteY27" fmla="*/ 3857145 h 4764066"/>
              <a:gd name="connsiteX28" fmla="*/ 3704379 w 4803292"/>
              <a:gd name="connsiteY28" fmla="*/ 3767975 h 4764066"/>
              <a:gd name="connsiteX29" fmla="*/ 3793560 w 4803292"/>
              <a:gd name="connsiteY29" fmla="*/ 3678564 h 4764066"/>
              <a:gd name="connsiteX30" fmla="*/ 4302789 w 4803292"/>
              <a:gd name="connsiteY30" fmla="*/ 3612387 h 4764066"/>
              <a:gd name="connsiteX31" fmla="*/ 4368674 w 4803292"/>
              <a:gd name="connsiteY31" fmla="*/ 3678323 h 4764066"/>
              <a:gd name="connsiteX32" fmla="*/ 4302789 w 4803292"/>
              <a:gd name="connsiteY32" fmla="*/ 3744580 h 4764066"/>
              <a:gd name="connsiteX33" fmla="*/ 4236744 w 4803292"/>
              <a:gd name="connsiteY33" fmla="*/ 3678323 h 4764066"/>
              <a:gd name="connsiteX34" fmla="*/ 4302789 w 4803292"/>
              <a:gd name="connsiteY34" fmla="*/ 3612387 h 4764066"/>
              <a:gd name="connsiteX35" fmla="*/ 3298021 w 4803292"/>
              <a:gd name="connsiteY35" fmla="*/ 3579620 h 4764066"/>
              <a:gd name="connsiteX36" fmla="*/ 3411218 w 4803292"/>
              <a:gd name="connsiteY36" fmla="*/ 3692745 h 4764066"/>
              <a:gd name="connsiteX37" fmla="*/ 3298021 w 4803292"/>
              <a:gd name="connsiteY37" fmla="*/ 3806190 h 4764066"/>
              <a:gd name="connsiteX38" fmla="*/ 3184823 w 4803292"/>
              <a:gd name="connsiteY38" fmla="*/ 3692745 h 4764066"/>
              <a:gd name="connsiteX39" fmla="*/ 3298021 w 4803292"/>
              <a:gd name="connsiteY39" fmla="*/ 3579620 h 4764066"/>
              <a:gd name="connsiteX40" fmla="*/ 4071430 w 4803292"/>
              <a:gd name="connsiteY40" fmla="*/ 3400478 h 4764066"/>
              <a:gd name="connsiteX41" fmla="*/ 4160611 w 4803292"/>
              <a:gd name="connsiteY41" fmla="*/ 3489648 h 4764066"/>
              <a:gd name="connsiteX42" fmla="*/ 4071430 w 4803292"/>
              <a:gd name="connsiteY42" fmla="*/ 3578898 h 4764066"/>
              <a:gd name="connsiteX43" fmla="*/ 3982249 w 4803292"/>
              <a:gd name="connsiteY43" fmla="*/ 3489648 h 4764066"/>
              <a:gd name="connsiteX44" fmla="*/ 4071430 w 4803292"/>
              <a:gd name="connsiteY44" fmla="*/ 3400478 h 4764066"/>
              <a:gd name="connsiteX45" fmla="*/ 616663 w 4803292"/>
              <a:gd name="connsiteY45" fmla="*/ 3400318 h 4764066"/>
              <a:gd name="connsiteX46" fmla="*/ 705844 w 4803292"/>
              <a:gd name="connsiteY46" fmla="*/ 3489568 h 4764066"/>
              <a:gd name="connsiteX47" fmla="*/ 616663 w 4803292"/>
              <a:gd name="connsiteY47" fmla="*/ 3578738 h 4764066"/>
              <a:gd name="connsiteX48" fmla="*/ 527482 w 4803292"/>
              <a:gd name="connsiteY48" fmla="*/ 3489568 h 4764066"/>
              <a:gd name="connsiteX49" fmla="*/ 616663 w 4803292"/>
              <a:gd name="connsiteY49" fmla="*/ 3400318 h 4764066"/>
              <a:gd name="connsiteX50" fmla="*/ 3570447 w 4803292"/>
              <a:gd name="connsiteY50" fmla="*/ 3388461 h 4764066"/>
              <a:gd name="connsiteX51" fmla="*/ 3683805 w 4803292"/>
              <a:gd name="connsiteY51" fmla="*/ 3501906 h 4764066"/>
              <a:gd name="connsiteX52" fmla="*/ 3570447 w 4803292"/>
              <a:gd name="connsiteY52" fmla="*/ 3615192 h 4764066"/>
              <a:gd name="connsiteX53" fmla="*/ 3457410 w 4803292"/>
              <a:gd name="connsiteY53" fmla="*/ 3501906 h 4764066"/>
              <a:gd name="connsiteX54" fmla="*/ 3570447 w 4803292"/>
              <a:gd name="connsiteY54" fmla="*/ 3388461 h 4764066"/>
              <a:gd name="connsiteX55" fmla="*/ 2878053 w 4803292"/>
              <a:gd name="connsiteY55" fmla="*/ 3376042 h 4764066"/>
              <a:gd name="connsiteX56" fmla="*/ 3009023 w 4803292"/>
              <a:gd name="connsiteY56" fmla="*/ 3507194 h 4764066"/>
              <a:gd name="connsiteX57" fmla="*/ 2878053 w 4803292"/>
              <a:gd name="connsiteY57" fmla="*/ 3638345 h 4764066"/>
              <a:gd name="connsiteX58" fmla="*/ 2746843 w 4803292"/>
              <a:gd name="connsiteY58" fmla="*/ 3507194 h 4764066"/>
              <a:gd name="connsiteX59" fmla="*/ 2878053 w 4803292"/>
              <a:gd name="connsiteY59" fmla="*/ 3376042 h 4764066"/>
              <a:gd name="connsiteX60" fmla="*/ 3124542 w 4803292"/>
              <a:gd name="connsiteY60" fmla="*/ 3260995 h 4764066"/>
              <a:gd name="connsiteX61" fmla="*/ 3255752 w 4803292"/>
              <a:gd name="connsiteY61" fmla="*/ 3392146 h 4764066"/>
              <a:gd name="connsiteX62" fmla="*/ 3124542 w 4803292"/>
              <a:gd name="connsiteY62" fmla="*/ 3523297 h 4764066"/>
              <a:gd name="connsiteX63" fmla="*/ 2993572 w 4803292"/>
              <a:gd name="connsiteY63" fmla="*/ 3392146 h 4764066"/>
              <a:gd name="connsiteX64" fmla="*/ 3124542 w 4803292"/>
              <a:gd name="connsiteY64" fmla="*/ 3260995 h 4764066"/>
              <a:gd name="connsiteX65" fmla="*/ 4562807 w 4803292"/>
              <a:gd name="connsiteY65" fmla="*/ 3240485 h 4764066"/>
              <a:gd name="connsiteX66" fmla="*/ 4628852 w 4803292"/>
              <a:gd name="connsiteY66" fmla="*/ 3306421 h 4764066"/>
              <a:gd name="connsiteX67" fmla="*/ 4562807 w 4803292"/>
              <a:gd name="connsiteY67" fmla="*/ 3372678 h 4764066"/>
              <a:gd name="connsiteX68" fmla="*/ 4496922 w 4803292"/>
              <a:gd name="connsiteY68" fmla="*/ 3306421 h 4764066"/>
              <a:gd name="connsiteX69" fmla="*/ 4562807 w 4803292"/>
              <a:gd name="connsiteY69" fmla="*/ 3240485 h 4764066"/>
              <a:gd name="connsiteX70" fmla="*/ 3805568 w 4803292"/>
              <a:gd name="connsiteY70" fmla="*/ 3153318 h 4764066"/>
              <a:gd name="connsiteX71" fmla="*/ 3918926 w 4803292"/>
              <a:gd name="connsiteY71" fmla="*/ 3266443 h 4764066"/>
              <a:gd name="connsiteX72" fmla="*/ 3805568 w 4803292"/>
              <a:gd name="connsiteY72" fmla="*/ 3379889 h 4764066"/>
              <a:gd name="connsiteX73" fmla="*/ 3692531 w 4803292"/>
              <a:gd name="connsiteY73" fmla="*/ 3266443 h 4764066"/>
              <a:gd name="connsiteX74" fmla="*/ 3805568 w 4803292"/>
              <a:gd name="connsiteY74" fmla="*/ 3153318 h 4764066"/>
              <a:gd name="connsiteX75" fmla="*/ 882365 w 4803292"/>
              <a:gd name="connsiteY75" fmla="*/ 3152997 h 4764066"/>
              <a:gd name="connsiteX76" fmla="*/ 995722 w 4803292"/>
              <a:gd name="connsiteY76" fmla="*/ 3266442 h 4764066"/>
              <a:gd name="connsiteX77" fmla="*/ 882365 w 4803292"/>
              <a:gd name="connsiteY77" fmla="*/ 3379728 h 4764066"/>
              <a:gd name="connsiteX78" fmla="*/ 769327 w 4803292"/>
              <a:gd name="connsiteY78" fmla="*/ 3266442 h 4764066"/>
              <a:gd name="connsiteX79" fmla="*/ 882365 w 4803292"/>
              <a:gd name="connsiteY79" fmla="*/ 3152997 h 4764066"/>
              <a:gd name="connsiteX80" fmla="*/ 3347574 w 4803292"/>
              <a:gd name="connsiteY80" fmla="*/ 3104847 h 4764066"/>
              <a:gd name="connsiteX81" fmla="*/ 3478544 w 4803292"/>
              <a:gd name="connsiteY81" fmla="*/ 3235998 h 4764066"/>
              <a:gd name="connsiteX82" fmla="*/ 3347574 w 4803292"/>
              <a:gd name="connsiteY82" fmla="*/ 3367069 h 4764066"/>
              <a:gd name="connsiteX83" fmla="*/ 3216364 w 4803292"/>
              <a:gd name="connsiteY83" fmla="*/ 3235998 h 4764066"/>
              <a:gd name="connsiteX84" fmla="*/ 3347574 w 4803292"/>
              <a:gd name="connsiteY84" fmla="*/ 3104847 h 4764066"/>
              <a:gd name="connsiteX85" fmla="*/ 1340279 w 4803292"/>
              <a:gd name="connsiteY85" fmla="*/ 3104687 h 4764066"/>
              <a:gd name="connsiteX86" fmla="*/ 1471329 w 4803292"/>
              <a:gd name="connsiteY86" fmla="*/ 3235838 h 4764066"/>
              <a:gd name="connsiteX87" fmla="*/ 1340279 w 4803292"/>
              <a:gd name="connsiteY87" fmla="*/ 3366910 h 4764066"/>
              <a:gd name="connsiteX88" fmla="*/ 1209229 w 4803292"/>
              <a:gd name="connsiteY88" fmla="*/ 3235838 h 4764066"/>
              <a:gd name="connsiteX89" fmla="*/ 1340279 w 4803292"/>
              <a:gd name="connsiteY89" fmla="*/ 3104687 h 4764066"/>
              <a:gd name="connsiteX90" fmla="*/ 4296945 w 4803292"/>
              <a:gd name="connsiteY90" fmla="*/ 3078329 h 4764066"/>
              <a:gd name="connsiteX91" fmla="*/ 4386046 w 4803292"/>
              <a:gd name="connsiteY91" fmla="*/ 3167499 h 4764066"/>
              <a:gd name="connsiteX92" fmla="*/ 4296945 w 4803292"/>
              <a:gd name="connsiteY92" fmla="*/ 3256669 h 4764066"/>
              <a:gd name="connsiteX93" fmla="*/ 4207924 w 4803292"/>
              <a:gd name="connsiteY93" fmla="*/ 3167499 h 4764066"/>
              <a:gd name="connsiteX94" fmla="*/ 4296945 w 4803292"/>
              <a:gd name="connsiteY94" fmla="*/ 3078329 h 4764066"/>
              <a:gd name="connsiteX95" fmla="*/ 391148 w 4803292"/>
              <a:gd name="connsiteY95" fmla="*/ 3078168 h 4764066"/>
              <a:gd name="connsiteX96" fmla="*/ 480329 w 4803292"/>
              <a:gd name="connsiteY96" fmla="*/ 3167258 h 4764066"/>
              <a:gd name="connsiteX97" fmla="*/ 391148 w 4803292"/>
              <a:gd name="connsiteY97" fmla="*/ 3256508 h 4764066"/>
              <a:gd name="connsiteX98" fmla="*/ 302127 w 4803292"/>
              <a:gd name="connsiteY98" fmla="*/ 3167258 h 4764066"/>
              <a:gd name="connsiteX99" fmla="*/ 391148 w 4803292"/>
              <a:gd name="connsiteY99" fmla="*/ 3078168 h 4764066"/>
              <a:gd name="connsiteX100" fmla="*/ 1148227 w 4803292"/>
              <a:gd name="connsiteY100" fmla="*/ 2912647 h 4764066"/>
              <a:gd name="connsiteX101" fmla="*/ 1279437 w 4803292"/>
              <a:gd name="connsiteY101" fmla="*/ 3043798 h 4764066"/>
              <a:gd name="connsiteX102" fmla="*/ 1148227 w 4803292"/>
              <a:gd name="connsiteY102" fmla="*/ 3174869 h 4764066"/>
              <a:gd name="connsiteX103" fmla="*/ 1017257 w 4803292"/>
              <a:gd name="connsiteY103" fmla="*/ 3043798 h 4764066"/>
              <a:gd name="connsiteX104" fmla="*/ 1148227 w 4803292"/>
              <a:gd name="connsiteY104" fmla="*/ 2912647 h 4764066"/>
              <a:gd name="connsiteX105" fmla="*/ 3540026 w 4803292"/>
              <a:gd name="connsiteY105" fmla="*/ 2912086 h 4764066"/>
              <a:gd name="connsiteX106" fmla="*/ 3670996 w 4803292"/>
              <a:gd name="connsiteY106" fmla="*/ 3043237 h 4764066"/>
              <a:gd name="connsiteX107" fmla="*/ 3540026 w 4803292"/>
              <a:gd name="connsiteY107" fmla="*/ 3174388 h 4764066"/>
              <a:gd name="connsiteX108" fmla="*/ 3408816 w 4803292"/>
              <a:gd name="connsiteY108" fmla="*/ 3043237 h 4764066"/>
              <a:gd name="connsiteX109" fmla="*/ 3540026 w 4803292"/>
              <a:gd name="connsiteY109" fmla="*/ 2912086 h 4764066"/>
              <a:gd name="connsiteX110" fmla="*/ 3996499 w 4803292"/>
              <a:gd name="connsiteY110" fmla="*/ 2880680 h 4764066"/>
              <a:gd name="connsiteX111" fmla="*/ 4109696 w 4803292"/>
              <a:gd name="connsiteY111" fmla="*/ 2993805 h 4764066"/>
              <a:gd name="connsiteX112" fmla="*/ 3996499 w 4803292"/>
              <a:gd name="connsiteY112" fmla="*/ 3107250 h 4764066"/>
              <a:gd name="connsiteX113" fmla="*/ 3883301 w 4803292"/>
              <a:gd name="connsiteY113" fmla="*/ 2993805 h 4764066"/>
              <a:gd name="connsiteX114" fmla="*/ 3996499 w 4803292"/>
              <a:gd name="connsiteY114" fmla="*/ 2880680 h 4764066"/>
              <a:gd name="connsiteX115" fmla="*/ 691675 w 4803292"/>
              <a:gd name="connsiteY115" fmla="*/ 2880600 h 4764066"/>
              <a:gd name="connsiteX116" fmla="*/ 804872 w 4803292"/>
              <a:gd name="connsiteY116" fmla="*/ 2993885 h 4764066"/>
              <a:gd name="connsiteX117" fmla="*/ 691675 w 4803292"/>
              <a:gd name="connsiteY117" fmla="*/ 3107170 h 4764066"/>
              <a:gd name="connsiteX118" fmla="*/ 578477 w 4803292"/>
              <a:gd name="connsiteY118" fmla="*/ 2993885 h 4764066"/>
              <a:gd name="connsiteX119" fmla="*/ 691675 w 4803292"/>
              <a:gd name="connsiteY119" fmla="*/ 2880600 h 4764066"/>
              <a:gd name="connsiteX120" fmla="*/ 4737247 w 4803292"/>
              <a:gd name="connsiteY120" fmla="*/ 2846390 h 4764066"/>
              <a:gd name="connsiteX121" fmla="*/ 4803292 w 4803292"/>
              <a:gd name="connsiteY121" fmla="*/ 2912326 h 4764066"/>
              <a:gd name="connsiteX122" fmla="*/ 4737247 w 4803292"/>
              <a:gd name="connsiteY122" fmla="*/ 2978583 h 4764066"/>
              <a:gd name="connsiteX123" fmla="*/ 4671282 w 4803292"/>
              <a:gd name="connsiteY123" fmla="*/ 2912326 h 4764066"/>
              <a:gd name="connsiteX124" fmla="*/ 4737247 w 4803292"/>
              <a:gd name="connsiteY124" fmla="*/ 2846390 h 4764066"/>
              <a:gd name="connsiteX125" fmla="*/ 4463140 w 4803292"/>
              <a:gd name="connsiteY125" fmla="*/ 2721728 h 4764066"/>
              <a:gd name="connsiteX126" fmla="*/ 4552160 w 4803292"/>
              <a:gd name="connsiteY126" fmla="*/ 2810898 h 4764066"/>
              <a:gd name="connsiteX127" fmla="*/ 4463140 w 4803292"/>
              <a:gd name="connsiteY127" fmla="*/ 2900068 h 4764066"/>
              <a:gd name="connsiteX128" fmla="*/ 4373798 w 4803292"/>
              <a:gd name="connsiteY128" fmla="*/ 2810898 h 4764066"/>
              <a:gd name="connsiteX129" fmla="*/ 4463140 w 4803292"/>
              <a:gd name="connsiteY129" fmla="*/ 2721728 h 4764066"/>
              <a:gd name="connsiteX130" fmla="*/ 225114 w 4803292"/>
              <a:gd name="connsiteY130" fmla="*/ 2721728 h 4764066"/>
              <a:gd name="connsiteX131" fmla="*/ 314215 w 4803292"/>
              <a:gd name="connsiteY131" fmla="*/ 2810898 h 4764066"/>
              <a:gd name="connsiteX132" fmla="*/ 225114 w 4803292"/>
              <a:gd name="connsiteY132" fmla="*/ 2900068 h 4764066"/>
              <a:gd name="connsiteX133" fmla="*/ 135933 w 4803292"/>
              <a:gd name="connsiteY133" fmla="*/ 2810898 h 4764066"/>
              <a:gd name="connsiteX134" fmla="*/ 225114 w 4803292"/>
              <a:gd name="connsiteY134" fmla="*/ 2721728 h 4764066"/>
              <a:gd name="connsiteX135" fmla="*/ 3695973 w 4803292"/>
              <a:gd name="connsiteY135" fmla="*/ 2689041 h 4764066"/>
              <a:gd name="connsiteX136" fmla="*/ 3827023 w 4803292"/>
              <a:gd name="connsiteY136" fmla="*/ 2820192 h 4764066"/>
              <a:gd name="connsiteX137" fmla="*/ 3695973 w 4803292"/>
              <a:gd name="connsiteY137" fmla="*/ 2951263 h 4764066"/>
              <a:gd name="connsiteX138" fmla="*/ 3564923 w 4803292"/>
              <a:gd name="connsiteY138" fmla="*/ 2820192 h 4764066"/>
              <a:gd name="connsiteX139" fmla="*/ 3695973 w 4803292"/>
              <a:gd name="connsiteY139" fmla="*/ 2689041 h 4764066"/>
              <a:gd name="connsiteX140" fmla="*/ 992200 w 4803292"/>
              <a:gd name="connsiteY140" fmla="*/ 2689041 h 4764066"/>
              <a:gd name="connsiteX141" fmla="*/ 1123170 w 4803292"/>
              <a:gd name="connsiteY141" fmla="*/ 2820192 h 4764066"/>
              <a:gd name="connsiteX142" fmla="*/ 992200 w 4803292"/>
              <a:gd name="connsiteY142" fmla="*/ 2951264 h 4764066"/>
              <a:gd name="connsiteX143" fmla="*/ 860990 w 4803292"/>
              <a:gd name="connsiteY143" fmla="*/ 2820192 h 4764066"/>
              <a:gd name="connsiteX144" fmla="*/ 992200 w 4803292"/>
              <a:gd name="connsiteY144" fmla="*/ 2689041 h 4764066"/>
              <a:gd name="connsiteX145" fmla="*/ 4137075 w 4803292"/>
              <a:gd name="connsiteY145" fmla="*/ 2579040 h 4764066"/>
              <a:gd name="connsiteX146" fmla="*/ 4250113 w 4803292"/>
              <a:gd name="connsiteY146" fmla="*/ 2692165 h 4764066"/>
              <a:gd name="connsiteX147" fmla="*/ 4137075 w 4803292"/>
              <a:gd name="connsiteY147" fmla="*/ 2805450 h 4764066"/>
              <a:gd name="connsiteX148" fmla="*/ 4023718 w 4803292"/>
              <a:gd name="connsiteY148" fmla="*/ 2692165 h 4764066"/>
              <a:gd name="connsiteX149" fmla="*/ 4137075 w 4803292"/>
              <a:gd name="connsiteY149" fmla="*/ 2579040 h 4764066"/>
              <a:gd name="connsiteX150" fmla="*/ 551018 w 4803292"/>
              <a:gd name="connsiteY150" fmla="*/ 2578880 h 4764066"/>
              <a:gd name="connsiteX151" fmla="*/ 664375 w 4803292"/>
              <a:gd name="connsiteY151" fmla="*/ 2692005 h 4764066"/>
              <a:gd name="connsiteX152" fmla="*/ 551018 w 4803292"/>
              <a:gd name="connsiteY152" fmla="*/ 2805450 h 4764066"/>
              <a:gd name="connsiteX153" fmla="*/ 437980 w 4803292"/>
              <a:gd name="connsiteY153" fmla="*/ 2692005 h 4764066"/>
              <a:gd name="connsiteX154" fmla="*/ 551018 w 4803292"/>
              <a:gd name="connsiteY154" fmla="*/ 2578880 h 4764066"/>
              <a:gd name="connsiteX155" fmla="*/ 3811092 w 4803292"/>
              <a:gd name="connsiteY155" fmla="*/ 2442281 h 4764066"/>
              <a:gd name="connsiteX156" fmla="*/ 3942062 w 4803292"/>
              <a:gd name="connsiteY156" fmla="*/ 2573432 h 4764066"/>
              <a:gd name="connsiteX157" fmla="*/ 3811092 w 4803292"/>
              <a:gd name="connsiteY157" fmla="*/ 2704583 h 4764066"/>
              <a:gd name="connsiteX158" fmla="*/ 3679882 w 4803292"/>
              <a:gd name="connsiteY158" fmla="*/ 2573432 h 4764066"/>
              <a:gd name="connsiteX159" fmla="*/ 3811092 w 4803292"/>
              <a:gd name="connsiteY159" fmla="*/ 2442281 h 4764066"/>
              <a:gd name="connsiteX160" fmla="*/ 877161 w 4803292"/>
              <a:gd name="connsiteY160" fmla="*/ 2442201 h 4764066"/>
              <a:gd name="connsiteX161" fmla="*/ 1008211 w 4803292"/>
              <a:gd name="connsiteY161" fmla="*/ 2573352 h 4764066"/>
              <a:gd name="connsiteX162" fmla="*/ 877161 w 4803292"/>
              <a:gd name="connsiteY162" fmla="*/ 2704503 h 4764066"/>
              <a:gd name="connsiteX163" fmla="*/ 745951 w 4803292"/>
              <a:gd name="connsiteY163" fmla="*/ 2573352 h 4764066"/>
              <a:gd name="connsiteX164" fmla="*/ 877161 w 4803292"/>
              <a:gd name="connsiteY164" fmla="*/ 2442201 h 4764066"/>
              <a:gd name="connsiteX165" fmla="*/ 4564809 w 4803292"/>
              <a:gd name="connsiteY165" fmla="*/ 2341975 h 4764066"/>
              <a:gd name="connsiteX166" fmla="*/ 4653910 w 4803292"/>
              <a:gd name="connsiteY166" fmla="*/ 2431145 h 4764066"/>
              <a:gd name="connsiteX167" fmla="*/ 4564809 w 4803292"/>
              <a:gd name="connsiteY167" fmla="*/ 2520315 h 4764066"/>
              <a:gd name="connsiteX168" fmla="*/ 4475628 w 4803292"/>
              <a:gd name="connsiteY168" fmla="*/ 2431145 h 4764066"/>
              <a:gd name="connsiteX169" fmla="*/ 4564809 w 4803292"/>
              <a:gd name="connsiteY169" fmla="*/ 2341975 h 4764066"/>
              <a:gd name="connsiteX170" fmla="*/ 123365 w 4803292"/>
              <a:gd name="connsiteY170" fmla="*/ 2341975 h 4764066"/>
              <a:gd name="connsiteX171" fmla="*/ 212466 w 4803292"/>
              <a:gd name="connsiteY171" fmla="*/ 2431145 h 4764066"/>
              <a:gd name="connsiteX172" fmla="*/ 123365 w 4803292"/>
              <a:gd name="connsiteY172" fmla="*/ 2520315 h 4764066"/>
              <a:gd name="connsiteX173" fmla="*/ 34184 w 4803292"/>
              <a:gd name="connsiteY173" fmla="*/ 2431145 h 4764066"/>
              <a:gd name="connsiteX174" fmla="*/ 123365 w 4803292"/>
              <a:gd name="connsiteY174" fmla="*/ 2341975 h 4764066"/>
              <a:gd name="connsiteX175" fmla="*/ 4223054 w 4803292"/>
              <a:gd name="connsiteY175" fmla="*/ 2257692 h 4764066"/>
              <a:gd name="connsiteX176" fmla="*/ 4336252 w 4803292"/>
              <a:gd name="connsiteY176" fmla="*/ 2370897 h 4764066"/>
              <a:gd name="connsiteX177" fmla="*/ 4223054 w 4803292"/>
              <a:gd name="connsiteY177" fmla="*/ 2484262 h 4764066"/>
              <a:gd name="connsiteX178" fmla="*/ 4109857 w 4803292"/>
              <a:gd name="connsiteY178" fmla="*/ 2370897 h 4764066"/>
              <a:gd name="connsiteX179" fmla="*/ 4223054 w 4803292"/>
              <a:gd name="connsiteY179" fmla="*/ 2257692 h 4764066"/>
              <a:gd name="connsiteX180" fmla="*/ 464959 w 4803292"/>
              <a:gd name="connsiteY180" fmla="*/ 2257452 h 4764066"/>
              <a:gd name="connsiteX181" fmla="*/ 578156 w 4803292"/>
              <a:gd name="connsiteY181" fmla="*/ 2370817 h 4764066"/>
              <a:gd name="connsiteX182" fmla="*/ 464959 w 4803292"/>
              <a:gd name="connsiteY182" fmla="*/ 2484183 h 4764066"/>
              <a:gd name="connsiteX183" fmla="*/ 351921 w 4803292"/>
              <a:gd name="connsiteY183" fmla="*/ 2370817 h 4764066"/>
              <a:gd name="connsiteX184" fmla="*/ 464959 w 4803292"/>
              <a:gd name="connsiteY184" fmla="*/ 2257452 h 4764066"/>
              <a:gd name="connsiteX185" fmla="*/ 3881460 w 4803292"/>
              <a:gd name="connsiteY185" fmla="*/ 2179498 h 4764066"/>
              <a:gd name="connsiteX186" fmla="*/ 4012510 w 4803292"/>
              <a:gd name="connsiteY186" fmla="*/ 2310569 h 4764066"/>
              <a:gd name="connsiteX187" fmla="*/ 3881460 w 4803292"/>
              <a:gd name="connsiteY187" fmla="*/ 2441800 h 4764066"/>
              <a:gd name="connsiteX188" fmla="*/ 3750330 w 4803292"/>
              <a:gd name="connsiteY188" fmla="*/ 2310569 h 4764066"/>
              <a:gd name="connsiteX189" fmla="*/ 3881460 w 4803292"/>
              <a:gd name="connsiteY189" fmla="*/ 2179498 h 4764066"/>
              <a:gd name="connsiteX190" fmla="*/ 806713 w 4803292"/>
              <a:gd name="connsiteY190" fmla="*/ 2179498 h 4764066"/>
              <a:gd name="connsiteX191" fmla="*/ 937763 w 4803292"/>
              <a:gd name="connsiteY191" fmla="*/ 2310569 h 4764066"/>
              <a:gd name="connsiteX192" fmla="*/ 806713 w 4803292"/>
              <a:gd name="connsiteY192" fmla="*/ 2441800 h 4764066"/>
              <a:gd name="connsiteX193" fmla="*/ 675583 w 4803292"/>
              <a:gd name="connsiteY193" fmla="*/ 2310569 h 4764066"/>
              <a:gd name="connsiteX194" fmla="*/ 806713 w 4803292"/>
              <a:gd name="connsiteY194" fmla="*/ 2179498 h 4764066"/>
              <a:gd name="connsiteX195" fmla="*/ 89181 w 4803292"/>
              <a:gd name="connsiteY195" fmla="*/ 1950284 h 4764066"/>
              <a:gd name="connsiteX196" fmla="*/ 178282 w 4803292"/>
              <a:gd name="connsiteY196" fmla="*/ 2039454 h 4764066"/>
              <a:gd name="connsiteX197" fmla="*/ 89181 w 4803292"/>
              <a:gd name="connsiteY197" fmla="*/ 2128624 h 4764066"/>
              <a:gd name="connsiteX198" fmla="*/ 0 w 4803292"/>
              <a:gd name="connsiteY198" fmla="*/ 2039454 h 4764066"/>
              <a:gd name="connsiteX199" fmla="*/ 89181 w 4803292"/>
              <a:gd name="connsiteY199" fmla="*/ 1950284 h 4764066"/>
              <a:gd name="connsiteX200" fmla="*/ 4597391 w 4803292"/>
              <a:gd name="connsiteY200" fmla="*/ 1950204 h 4764066"/>
              <a:gd name="connsiteX201" fmla="*/ 4686492 w 4803292"/>
              <a:gd name="connsiteY201" fmla="*/ 2039374 h 4764066"/>
              <a:gd name="connsiteX202" fmla="*/ 4597391 w 4803292"/>
              <a:gd name="connsiteY202" fmla="*/ 2128544 h 4764066"/>
              <a:gd name="connsiteX203" fmla="*/ 4508050 w 4803292"/>
              <a:gd name="connsiteY203" fmla="*/ 2039374 h 4764066"/>
              <a:gd name="connsiteX204" fmla="*/ 4597391 w 4803292"/>
              <a:gd name="connsiteY204" fmla="*/ 1950204 h 4764066"/>
              <a:gd name="connsiteX205" fmla="*/ 4252194 w 4803292"/>
              <a:gd name="connsiteY205" fmla="*/ 1926169 h 4764066"/>
              <a:gd name="connsiteX206" fmla="*/ 4365232 w 4803292"/>
              <a:gd name="connsiteY206" fmla="*/ 2039534 h 4764066"/>
              <a:gd name="connsiteX207" fmla="*/ 4252194 w 4803292"/>
              <a:gd name="connsiteY207" fmla="*/ 2152900 h 4764066"/>
              <a:gd name="connsiteX208" fmla="*/ 4138837 w 4803292"/>
              <a:gd name="connsiteY208" fmla="*/ 2039534 h 4764066"/>
              <a:gd name="connsiteX209" fmla="*/ 4252194 w 4803292"/>
              <a:gd name="connsiteY209" fmla="*/ 1926169 h 4764066"/>
              <a:gd name="connsiteX210" fmla="*/ 436060 w 4803292"/>
              <a:gd name="connsiteY210" fmla="*/ 1926088 h 4764066"/>
              <a:gd name="connsiteX211" fmla="*/ 549257 w 4803292"/>
              <a:gd name="connsiteY211" fmla="*/ 2039454 h 4764066"/>
              <a:gd name="connsiteX212" fmla="*/ 436060 w 4803292"/>
              <a:gd name="connsiteY212" fmla="*/ 2152819 h 4764066"/>
              <a:gd name="connsiteX213" fmla="*/ 322862 w 4803292"/>
              <a:gd name="connsiteY213" fmla="*/ 2039454 h 4764066"/>
              <a:gd name="connsiteX214" fmla="*/ 436060 w 4803292"/>
              <a:gd name="connsiteY214" fmla="*/ 1926088 h 4764066"/>
              <a:gd name="connsiteX215" fmla="*/ 3905237 w 4803292"/>
              <a:gd name="connsiteY215" fmla="*/ 1908383 h 4764066"/>
              <a:gd name="connsiteX216" fmla="*/ 4036287 w 4803292"/>
              <a:gd name="connsiteY216" fmla="*/ 2039534 h 4764066"/>
              <a:gd name="connsiteX217" fmla="*/ 3905237 w 4803292"/>
              <a:gd name="connsiteY217" fmla="*/ 2170685 h 4764066"/>
              <a:gd name="connsiteX218" fmla="*/ 3774107 w 4803292"/>
              <a:gd name="connsiteY218" fmla="*/ 2039534 h 4764066"/>
              <a:gd name="connsiteX219" fmla="*/ 3905237 w 4803292"/>
              <a:gd name="connsiteY219" fmla="*/ 1908383 h 4764066"/>
              <a:gd name="connsiteX220" fmla="*/ 783097 w 4803292"/>
              <a:gd name="connsiteY220" fmla="*/ 1908383 h 4764066"/>
              <a:gd name="connsiteX221" fmla="*/ 914067 w 4803292"/>
              <a:gd name="connsiteY221" fmla="*/ 2039534 h 4764066"/>
              <a:gd name="connsiteX222" fmla="*/ 783097 w 4803292"/>
              <a:gd name="connsiteY222" fmla="*/ 2170685 h 4764066"/>
              <a:gd name="connsiteX223" fmla="*/ 651887 w 4803292"/>
              <a:gd name="connsiteY223" fmla="*/ 2039534 h 4764066"/>
              <a:gd name="connsiteX224" fmla="*/ 783097 w 4803292"/>
              <a:gd name="connsiteY224" fmla="*/ 1908383 h 4764066"/>
              <a:gd name="connsiteX225" fmla="*/ 3881460 w 4803292"/>
              <a:gd name="connsiteY225" fmla="*/ 1637027 h 4764066"/>
              <a:gd name="connsiteX226" fmla="*/ 4012510 w 4803292"/>
              <a:gd name="connsiteY226" fmla="*/ 1768178 h 4764066"/>
              <a:gd name="connsiteX227" fmla="*/ 3881460 w 4803292"/>
              <a:gd name="connsiteY227" fmla="*/ 1899329 h 4764066"/>
              <a:gd name="connsiteX228" fmla="*/ 3750330 w 4803292"/>
              <a:gd name="connsiteY228" fmla="*/ 1768178 h 4764066"/>
              <a:gd name="connsiteX229" fmla="*/ 3881460 w 4803292"/>
              <a:gd name="connsiteY229" fmla="*/ 1637027 h 4764066"/>
              <a:gd name="connsiteX230" fmla="*/ 806633 w 4803292"/>
              <a:gd name="connsiteY230" fmla="*/ 1637027 h 4764066"/>
              <a:gd name="connsiteX231" fmla="*/ 937683 w 4803292"/>
              <a:gd name="connsiteY231" fmla="*/ 1768178 h 4764066"/>
              <a:gd name="connsiteX232" fmla="*/ 806633 w 4803292"/>
              <a:gd name="connsiteY232" fmla="*/ 1899329 h 4764066"/>
              <a:gd name="connsiteX233" fmla="*/ 675503 w 4803292"/>
              <a:gd name="connsiteY233" fmla="*/ 1768178 h 4764066"/>
              <a:gd name="connsiteX234" fmla="*/ 806633 w 4803292"/>
              <a:gd name="connsiteY234" fmla="*/ 1637027 h 4764066"/>
              <a:gd name="connsiteX235" fmla="*/ 4222975 w 4803292"/>
              <a:gd name="connsiteY235" fmla="*/ 1594645 h 4764066"/>
              <a:gd name="connsiteX236" fmla="*/ 4336172 w 4803292"/>
              <a:gd name="connsiteY236" fmla="*/ 1707850 h 4764066"/>
              <a:gd name="connsiteX237" fmla="*/ 4222975 w 4803292"/>
              <a:gd name="connsiteY237" fmla="*/ 1821215 h 4764066"/>
              <a:gd name="connsiteX238" fmla="*/ 4109777 w 4803292"/>
              <a:gd name="connsiteY238" fmla="*/ 1707850 h 4764066"/>
              <a:gd name="connsiteX239" fmla="*/ 4222975 w 4803292"/>
              <a:gd name="connsiteY239" fmla="*/ 1594645 h 4764066"/>
              <a:gd name="connsiteX240" fmla="*/ 464959 w 4803292"/>
              <a:gd name="connsiteY240" fmla="*/ 1594645 h 4764066"/>
              <a:gd name="connsiteX241" fmla="*/ 578156 w 4803292"/>
              <a:gd name="connsiteY241" fmla="*/ 1707850 h 4764066"/>
              <a:gd name="connsiteX242" fmla="*/ 464959 w 4803292"/>
              <a:gd name="connsiteY242" fmla="*/ 1821215 h 4764066"/>
              <a:gd name="connsiteX243" fmla="*/ 351921 w 4803292"/>
              <a:gd name="connsiteY243" fmla="*/ 1707850 h 4764066"/>
              <a:gd name="connsiteX244" fmla="*/ 464959 w 4803292"/>
              <a:gd name="connsiteY244" fmla="*/ 1594645 h 4764066"/>
              <a:gd name="connsiteX245" fmla="*/ 123365 w 4803292"/>
              <a:gd name="connsiteY245" fmla="*/ 1558432 h 4764066"/>
              <a:gd name="connsiteX246" fmla="*/ 212466 w 4803292"/>
              <a:gd name="connsiteY246" fmla="*/ 1647602 h 4764066"/>
              <a:gd name="connsiteX247" fmla="*/ 123365 w 4803292"/>
              <a:gd name="connsiteY247" fmla="*/ 1736772 h 4764066"/>
              <a:gd name="connsiteX248" fmla="*/ 34184 w 4803292"/>
              <a:gd name="connsiteY248" fmla="*/ 1647602 h 4764066"/>
              <a:gd name="connsiteX249" fmla="*/ 123365 w 4803292"/>
              <a:gd name="connsiteY249" fmla="*/ 1558432 h 4764066"/>
              <a:gd name="connsiteX250" fmla="*/ 2354654 w 4803292"/>
              <a:gd name="connsiteY250" fmla="*/ 1508840 h 4764066"/>
              <a:gd name="connsiteX251" fmla="*/ 2878293 w 4803292"/>
              <a:gd name="connsiteY251" fmla="*/ 2032884 h 4764066"/>
              <a:gd name="connsiteX252" fmla="*/ 2354654 w 4803292"/>
              <a:gd name="connsiteY252" fmla="*/ 2556928 h 4764066"/>
              <a:gd name="connsiteX253" fmla="*/ 1831015 w 4803292"/>
              <a:gd name="connsiteY253" fmla="*/ 2032884 h 4764066"/>
              <a:gd name="connsiteX254" fmla="*/ 2354654 w 4803292"/>
              <a:gd name="connsiteY254" fmla="*/ 1508840 h 4764066"/>
              <a:gd name="connsiteX255" fmla="*/ 3811092 w 4803292"/>
              <a:gd name="connsiteY255" fmla="*/ 1374003 h 4764066"/>
              <a:gd name="connsiteX256" fmla="*/ 3942142 w 4803292"/>
              <a:gd name="connsiteY256" fmla="*/ 1505074 h 4764066"/>
              <a:gd name="connsiteX257" fmla="*/ 3811092 w 4803292"/>
              <a:gd name="connsiteY257" fmla="*/ 1636306 h 4764066"/>
              <a:gd name="connsiteX258" fmla="*/ 3679962 w 4803292"/>
              <a:gd name="connsiteY258" fmla="*/ 1505074 h 4764066"/>
              <a:gd name="connsiteX259" fmla="*/ 3811092 w 4803292"/>
              <a:gd name="connsiteY259" fmla="*/ 1374003 h 4764066"/>
              <a:gd name="connsiteX260" fmla="*/ 877161 w 4803292"/>
              <a:gd name="connsiteY260" fmla="*/ 1374003 h 4764066"/>
              <a:gd name="connsiteX261" fmla="*/ 1008211 w 4803292"/>
              <a:gd name="connsiteY261" fmla="*/ 1505074 h 4764066"/>
              <a:gd name="connsiteX262" fmla="*/ 877161 w 4803292"/>
              <a:gd name="connsiteY262" fmla="*/ 1636306 h 4764066"/>
              <a:gd name="connsiteX263" fmla="*/ 745951 w 4803292"/>
              <a:gd name="connsiteY263" fmla="*/ 1505074 h 4764066"/>
              <a:gd name="connsiteX264" fmla="*/ 877161 w 4803292"/>
              <a:gd name="connsiteY264" fmla="*/ 1374003 h 4764066"/>
              <a:gd name="connsiteX265" fmla="*/ 2232810 w 4803292"/>
              <a:gd name="connsiteY265" fmla="*/ 1301498 h 4764066"/>
              <a:gd name="connsiteX266" fmla="*/ 2098078 w 4803292"/>
              <a:gd name="connsiteY266" fmla="*/ 1401804 h 4764066"/>
              <a:gd name="connsiteX267" fmla="*/ 2001611 w 4803292"/>
              <a:gd name="connsiteY267" fmla="*/ 1363027 h 4764066"/>
              <a:gd name="connsiteX268" fmla="*/ 2004734 w 4803292"/>
              <a:gd name="connsiteY268" fmla="*/ 1378650 h 4764066"/>
              <a:gd name="connsiteX269" fmla="*/ 1861195 w 4803292"/>
              <a:gd name="connsiteY269" fmla="*/ 1522220 h 4764066"/>
              <a:gd name="connsiteX270" fmla="*/ 1814443 w 4803292"/>
              <a:gd name="connsiteY270" fmla="*/ 1514288 h 4764066"/>
              <a:gd name="connsiteX271" fmla="*/ 1817806 w 4803292"/>
              <a:gd name="connsiteY271" fmla="*/ 1544973 h 4764066"/>
              <a:gd name="connsiteX272" fmla="*/ 1686356 w 4803292"/>
              <a:gd name="connsiteY272" fmla="*/ 1687901 h 4764066"/>
              <a:gd name="connsiteX273" fmla="*/ 1718057 w 4803292"/>
              <a:gd name="connsiteY273" fmla="*/ 1777712 h 4764066"/>
              <a:gd name="connsiteX274" fmla="*/ 1595974 w 4803292"/>
              <a:gd name="connsiteY274" fmla="*/ 1916955 h 4764066"/>
              <a:gd name="connsiteX275" fmla="*/ 1668663 w 4803292"/>
              <a:gd name="connsiteY275" fmla="*/ 2039374 h 4764066"/>
              <a:gd name="connsiteX276" fmla="*/ 1595974 w 4803292"/>
              <a:gd name="connsiteY276" fmla="*/ 2161712 h 4764066"/>
              <a:gd name="connsiteX277" fmla="*/ 1718057 w 4803292"/>
              <a:gd name="connsiteY277" fmla="*/ 2300955 h 4764066"/>
              <a:gd name="connsiteX278" fmla="*/ 1683153 w 4803292"/>
              <a:gd name="connsiteY278" fmla="*/ 2391888 h 4764066"/>
              <a:gd name="connsiteX279" fmla="*/ 1817806 w 4803292"/>
              <a:gd name="connsiteY279" fmla="*/ 2533614 h 4764066"/>
              <a:gd name="connsiteX280" fmla="*/ 1811241 w 4803292"/>
              <a:gd name="connsiteY280" fmla="*/ 2566542 h 4764066"/>
              <a:gd name="connsiteX281" fmla="*/ 1861195 w 4803292"/>
              <a:gd name="connsiteY281" fmla="*/ 2556448 h 4764066"/>
              <a:gd name="connsiteX282" fmla="*/ 2004734 w 4803292"/>
              <a:gd name="connsiteY282" fmla="*/ 2700097 h 4764066"/>
              <a:gd name="connsiteX283" fmla="*/ 2001611 w 4803292"/>
              <a:gd name="connsiteY283" fmla="*/ 2715800 h 4764066"/>
              <a:gd name="connsiteX284" fmla="*/ 2098078 w 4803292"/>
              <a:gd name="connsiteY284" fmla="*/ 2677184 h 4764066"/>
              <a:gd name="connsiteX285" fmla="*/ 2232810 w 4803292"/>
              <a:gd name="connsiteY285" fmla="*/ 2777250 h 4764066"/>
              <a:gd name="connsiteX286" fmla="*/ 2344006 w 4803292"/>
              <a:gd name="connsiteY286" fmla="*/ 2720847 h 4764066"/>
              <a:gd name="connsiteX287" fmla="*/ 2455202 w 4803292"/>
              <a:gd name="connsiteY287" fmla="*/ 2777330 h 4764066"/>
              <a:gd name="connsiteX288" fmla="*/ 2589855 w 4803292"/>
              <a:gd name="connsiteY288" fmla="*/ 2677104 h 4764066"/>
              <a:gd name="connsiteX289" fmla="*/ 2686401 w 4803292"/>
              <a:gd name="connsiteY289" fmla="*/ 2715720 h 4764066"/>
              <a:gd name="connsiteX290" fmla="*/ 2683119 w 4803292"/>
              <a:gd name="connsiteY290" fmla="*/ 2700017 h 4764066"/>
              <a:gd name="connsiteX291" fmla="*/ 2826737 w 4803292"/>
              <a:gd name="connsiteY291" fmla="*/ 2556528 h 4764066"/>
              <a:gd name="connsiteX292" fmla="*/ 2876771 w 4803292"/>
              <a:gd name="connsiteY292" fmla="*/ 2566623 h 4764066"/>
              <a:gd name="connsiteX293" fmla="*/ 2870207 w 4803292"/>
              <a:gd name="connsiteY293" fmla="*/ 2533694 h 4764066"/>
              <a:gd name="connsiteX294" fmla="*/ 3004859 w 4803292"/>
              <a:gd name="connsiteY294" fmla="*/ 2391968 h 4764066"/>
              <a:gd name="connsiteX295" fmla="*/ 2969795 w 4803292"/>
              <a:gd name="connsiteY295" fmla="*/ 2301035 h 4764066"/>
              <a:gd name="connsiteX296" fmla="*/ 3092039 w 4803292"/>
              <a:gd name="connsiteY296" fmla="*/ 2161792 h 4764066"/>
              <a:gd name="connsiteX297" fmla="*/ 3019109 w 4803292"/>
              <a:gd name="connsiteY297" fmla="*/ 2039454 h 4764066"/>
              <a:gd name="connsiteX298" fmla="*/ 3092039 w 4803292"/>
              <a:gd name="connsiteY298" fmla="*/ 1917035 h 4764066"/>
              <a:gd name="connsiteX299" fmla="*/ 2969795 w 4803292"/>
              <a:gd name="connsiteY299" fmla="*/ 1777792 h 4764066"/>
              <a:gd name="connsiteX300" fmla="*/ 3004859 w 4803292"/>
              <a:gd name="connsiteY300" fmla="*/ 1686860 h 4764066"/>
              <a:gd name="connsiteX301" fmla="*/ 2870207 w 4803292"/>
              <a:gd name="connsiteY301" fmla="*/ 1545053 h 4764066"/>
              <a:gd name="connsiteX302" fmla="*/ 2876771 w 4803292"/>
              <a:gd name="connsiteY302" fmla="*/ 1512205 h 4764066"/>
              <a:gd name="connsiteX303" fmla="*/ 2826737 w 4803292"/>
              <a:gd name="connsiteY303" fmla="*/ 1522220 h 4764066"/>
              <a:gd name="connsiteX304" fmla="*/ 2683119 w 4803292"/>
              <a:gd name="connsiteY304" fmla="*/ 1378650 h 4764066"/>
              <a:gd name="connsiteX305" fmla="*/ 2686401 w 4803292"/>
              <a:gd name="connsiteY305" fmla="*/ 1363027 h 4764066"/>
              <a:gd name="connsiteX306" fmla="*/ 2589855 w 4803292"/>
              <a:gd name="connsiteY306" fmla="*/ 1401804 h 4764066"/>
              <a:gd name="connsiteX307" fmla="*/ 2455202 w 4803292"/>
              <a:gd name="connsiteY307" fmla="*/ 1301578 h 4764066"/>
              <a:gd name="connsiteX308" fmla="*/ 2344006 w 4803292"/>
              <a:gd name="connsiteY308" fmla="*/ 1357900 h 4764066"/>
              <a:gd name="connsiteX309" fmla="*/ 2232810 w 4803292"/>
              <a:gd name="connsiteY309" fmla="*/ 1301498 h 4764066"/>
              <a:gd name="connsiteX310" fmla="*/ 551018 w 4803292"/>
              <a:gd name="connsiteY310" fmla="*/ 1273136 h 4764066"/>
              <a:gd name="connsiteX311" fmla="*/ 664375 w 4803292"/>
              <a:gd name="connsiteY311" fmla="*/ 1386502 h 4764066"/>
              <a:gd name="connsiteX312" fmla="*/ 551018 w 4803292"/>
              <a:gd name="connsiteY312" fmla="*/ 1499787 h 4764066"/>
              <a:gd name="connsiteX313" fmla="*/ 437980 w 4803292"/>
              <a:gd name="connsiteY313" fmla="*/ 1386502 h 4764066"/>
              <a:gd name="connsiteX314" fmla="*/ 551018 w 4803292"/>
              <a:gd name="connsiteY314" fmla="*/ 1273136 h 4764066"/>
              <a:gd name="connsiteX315" fmla="*/ 4137076 w 4803292"/>
              <a:gd name="connsiteY315" fmla="*/ 1273056 h 4764066"/>
              <a:gd name="connsiteX316" fmla="*/ 4250273 w 4803292"/>
              <a:gd name="connsiteY316" fmla="*/ 1386261 h 4764066"/>
              <a:gd name="connsiteX317" fmla="*/ 4137076 w 4803292"/>
              <a:gd name="connsiteY317" fmla="*/ 1499626 h 4764066"/>
              <a:gd name="connsiteX318" fmla="*/ 4023878 w 4803292"/>
              <a:gd name="connsiteY318" fmla="*/ 1386261 h 4764066"/>
              <a:gd name="connsiteX319" fmla="*/ 4137076 w 4803292"/>
              <a:gd name="connsiteY319" fmla="*/ 1273056 h 4764066"/>
              <a:gd name="connsiteX320" fmla="*/ 3694852 w 4803292"/>
              <a:gd name="connsiteY320" fmla="*/ 1127163 h 4764066"/>
              <a:gd name="connsiteX321" fmla="*/ 3825821 w 4803292"/>
              <a:gd name="connsiteY321" fmla="*/ 1258314 h 4764066"/>
              <a:gd name="connsiteX322" fmla="*/ 3694852 w 4803292"/>
              <a:gd name="connsiteY322" fmla="*/ 1389546 h 4764066"/>
              <a:gd name="connsiteX323" fmla="*/ 3563802 w 4803292"/>
              <a:gd name="connsiteY323" fmla="*/ 1258314 h 4764066"/>
              <a:gd name="connsiteX324" fmla="*/ 3694852 w 4803292"/>
              <a:gd name="connsiteY324" fmla="*/ 1127163 h 4764066"/>
              <a:gd name="connsiteX325" fmla="*/ 992120 w 4803292"/>
              <a:gd name="connsiteY325" fmla="*/ 1127163 h 4764066"/>
              <a:gd name="connsiteX326" fmla="*/ 1123090 w 4803292"/>
              <a:gd name="connsiteY326" fmla="*/ 1258314 h 4764066"/>
              <a:gd name="connsiteX327" fmla="*/ 992120 w 4803292"/>
              <a:gd name="connsiteY327" fmla="*/ 1389546 h 4764066"/>
              <a:gd name="connsiteX328" fmla="*/ 860910 w 4803292"/>
              <a:gd name="connsiteY328" fmla="*/ 1258314 h 4764066"/>
              <a:gd name="connsiteX329" fmla="*/ 992120 w 4803292"/>
              <a:gd name="connsiteY329" fmla="*/ 1127163 h 4764066"/>
              <a:gd name="connsiteX330" fmla="*/ 2344006 w 4803292"/>
              <a:gd name="connsiteY330" fmla="*/ 1070601 h 4764066"/>
              <a:gd name="connsiteX331" fmla="*/ 2478739 w 4803292"/>
              <a:gd name="connsiteY331" fmla="*/ 1170827 h 4764066"/>
              <a:gd name="connsiteX332" fmla="*/ 2589775 w 4803292"/>
              <a:gd name="connsiteY332" fmla="*/ 1114345 h 4764066"/>
              <a:gd name="connsiteX333" fmla="*/ 2733393 w 4803292"/>
              <a:gd name="connsiteY333" fmla="*/ 1258074 h 4764066"/>
              <a:gd name="connsiteX334" fmla="*/ 2730271 w 4803292"/>
              <a:gd name="connsiteY334" fmla="*/ 1273617 h 4764066"/>
              <a:gd name="connsiteX335" fmla="*/ 2826737 w 4803292"/>
              <a:gd name="connsiteY335" fmla="*/ 1235081 h 4764066"/>
              <a:gd name="connsiteX336" fmla="*/ 2970275 w 4803292"/>
              <a:gd name="connsiteY336" fmla="*/ 1378570 h 4764066"/>
              <a:gd name="connsiteX337" fmla="*/ 2963711 w 4803292"/>
              <a:gd name="connsiteY337" fmla="*/ 1411418 h 4764066"/>
              <a:gd name="connsiteX338" fmla="*/ 3013665 w 4803292"/>
              <a:gd name="connsiteY338" fmla="*/ 1401243 h 4764066"/>
              <a:gd name="connsiteX339" fmla="*/ 3157204 w 4803292"/>
              <a:gd name="connsiteY339" fmla="*/ 1544893 h 4764066"/>
              <a:gd name="connsiteX340" fmla="*/ 3122299 w 4803292"/>
              <a:gd name="connsiteY340" fmla="*/ 1635745 h 4764066"/>
              <a:gd name="connsiteX341" fmla="*/ 3256952 w 4803292"/>
              <a:gd name="connsiteY341" fmla="*/ 1777632 h 4764066"/>
              <a:gd name="connsiteX342" fmla="*/ 3184102 w 4803292"/>
              <a:gd name="connsiteY342" fmla="*/ 1899971 h 4764066"/>
              <a:gd name="connsiteX343" fmla="*/ 3306186 w 4803292"/>
              <a:gd name="connsiteY343" fmla="*/ 2039374 h 4764066"/>
              <a:gd name="connsiteX344" fmla="*/ 3184102 w 4803292"/>
              <a:gd name="connsiteY344" fmla="*/ 2178617 h 4764066"/>
              <a:gd name="connsiteX345" fmla="*/ 3256952 w 4803292"/>
              <a:gd name="connsiteY345" fmla="*/ 2300955 h 4764066"/>
              <a:gd name="connsiteX346" fmla="*/ 3122299 w 4803292"/>
              <a:gd name="connsiteY346" fmla="*/ 2442842 h 4764066"/>
              <a:gd name="connsiteX347" fmla="*/ 3157204 w 4803292"/>
              <a:gd name="connsiteY347" fmla="*/ 2533614 h 4764066"/>
              <a:gd name="connsiteX348" fmla="*/ 3013665 w 4803292"/>
              <a:gd name="connsiteY348" fmla="*/ 2677344 h 4764066"/>
              <a:gd name="connsiteX349" fmla="*/ 2963711 w 4803292"/>
              <a:gd name="connsiteY349" fmla="*/ 2667249 h 4764066"/>
              <a:gd name="connsiteX350" fmla="*/ 2970275 w 4803292"/>
              <a:gd name="connsiteY350" fmla="*/ 2700017 h 4764066"/>
              <a:gd name="connsiteX351" fmla="*/ 2826817 w 4803292"/>
              <a:gd name="connsiteY351" fmla="*/ 2843827 h 4764066"/>
              <a:gd name="connsiteX352" fmla="*/ 2730351 w 4803292"/>
              <a:gd name="connsiteY352" fmla="*/ 2805050 h 4764066"/>
              <a:gd name="connsiteX353" fmla="*/ 2733473 w 4803292"/>
              <a:gd name="connsiteY353" fmla="*/ 2820593 h 4764066"/>
              <a:gd name="connsiteX354" fmla="*/ 2589855 w 4803292"/>
              <a:gd name="connsiteY354" fmla="*/ 2964242 h 4764066"/>
              <a:gd name="connsiteX355" fmla="*/ 2478819 w 4803292"/>
              <a:gd name="connsiteY355" fmla="*/ 2907840 h 4764066"/>
              <a:gd name="connsiteX356" fmla="*/ 2344086 w 4803292"/>
              <a:gd name="connsiteY356" fmla="*/ 3008146 h 4764066"/>
              <a:gd name="connsiteX357" fmla="*/ 2209354 w 4803292"/>
              <a:gd name="connsiteY357" fmla="*/ 2907840 h 4764066"/>
              <a:gd name="connsiteX358" fmla="*/ 2098158 w 4803292"/>
              <a:gd name="connsiteY358" fmla="*/ 2964242 h 4764066"/>
              <a:gd name="connsiteX359" fmla="*/ 1954699 w 4803292"/>
              <a:gd name="connsiteY359" fmla="*/ 2820593 h 4764066"/>
              <a:gd name="connsiteX360" fmla="*/ 1957822 w 4803292"/>
              <a:gd name="connsiteY360" fmla="*/ 2805050 h 4764066"/>
              <a:gd name="connsiteX361" fmla="*/ 1861355 w 4803292"/>
              <a:gd name="connsiteY361" fmla="*/ 2843827 h 4764066"/>
              <a:gd name="connsiteX362" fmla="*/ 1717977 w 4803292"/>
              <a:gd name="connsiteY362" fmla="*/ 2700097 h 4764066"/>
              <a:gd name="connsiteX363" fmla="*/ 1724542 w 4803292"/>
              <a:gd name="connsiteY363" fmla="*/ 2667329 h 4764066"/>
              <a:gd name="connsiteX364" fmla="*/ 1674507 w 4803292"/>
              <a:gd name="connsiteY364" fmla="*/ 2677424 h 4764066"/>
              <a:gd name="connsiteX365" fmla="*/ 1530889 w 4803292"/>
              <a:gd name="connsiteY365" fmla="*/ 2533694 h 4764066"/>
              <a:gd name="connsiteX366" fmla="*/ 1565793 w 4803292"/>
              <a:gd name="connsiteY366" fmla="*/ 2442922 h 4764066"/>
              <a:gd name="connsiteX367" fmla="*/ 1431301 w 4803292"/>
              <a:gd name="connsiteY367" fmla="*/ 2301035 h 4764066"/>
              <a:gd name="connsiteX368" fmla="*/ 1504151 w 4803292"/>
              <a:gd name="connsiteY368" fmla="*/ 2178697 h 4764066"/>
              <a:gd name="connsiteX369" fmla="*/ 1382067 w 4803292"/>
              <a:gd name="connsiteY369" fmla="*/ 2039454 h 4764066"/>
              <a:gd name="connsiteX370" fmla="*/ 1504151 w 4803292"/>
              <a:gd name="connsiteY370" fmla="*/ 1900050 h 4764066"/>
              <a:gd name="connsiteX371" fmla="*/ 1431301 w 4803292"/>
              <a:gd name="connsiteY371" fmla="*/ 1777712 h 4764066"/>
              <a:gd name="connsiteX372" fmla="*/ 1562671 w 4803292"/>
              <a:gd name="connsiteY372" fmla="*/ 1634784 h 4764066"/>
              <a:gd name="connsiteX373" fmla="*/ 1530969 w 4803292"/>
              <a:gd name="connsiteY373" fmla="*/ 1544973 h 4764066"/>
              <a:gd name="connsiteX374" fmla="*/ 1674267 w 4803292"/>
              <a:gd name="connsiteY374" fmla="*/ 1401323 h 4764066"/>
              <a:gd name="connsiteX375" fmla="*/ 1721259 w 4803292"/>
              <a:gd name="connsiteY375" fmla="*/ 1409335 h 4764066"/>
              <a:gd name="connsiteX376" fmla="*/ 1717897 w 4803292"/>
              <a:gd name="connsiteY376" fmla="*/ 1378570 h 4764066"/>
              <a:gd name="connsiteX377" fmla="*/ 1861275 w 4803292"/>
              <a:gd name="connsiteY377" fmla="*/ 1235081 h 4764066"/>
              <a:gd name="connsiteX378" fmla="*/ 1957742 w 4803292"/>
              <a:gd name="connsiteY378" fmla="*/ 1273617 h 4764066"/>
              <a:gd name="connsiteX379" fmla="*/ 1954619 w 4803292"/>
              <a:gd name="connsiteY379" fmla="*/ 1258074 h 4764066"/>
              <a:gd name="connsiteX380" fmla="*/ 2098078 w 4803292"/>
              <a:gd name="connsiteY380" fmla="*/ 1114345 h 4764066"/>
              <a:gd name="connsiteX381" fmla="*/ 2209274 w 4803292"/>
              <a:gd name="connsiteY381" fmla="*/ 1170827 h 4764066"/>
              <a:gd name="connsiteX382" fmla="*/ 2344006 w 4803292"/>
              <a:gd name="connsiteY382" fmla="*/ 1070601 h 4764066"/>
              <a:gd name="connsiteX383" fmla="*/ 3996579 w 4803292"/>
              <a:gd name="connsiteY383" fmla="*/ 971336 h 4764066"/>
              <a:gd name="connsiteX384" fmla="*/ 4109616 w 4803292"/>
              <a:gd name="connsiteY384" fmla="*/ 1084701 h 4764066"/>
              <a:gd name="connsiteX385" fmla="*/ 3996579 w 4803292"/>
              <a:gd name="connsiteY385" fmla="*/ 1198067 h 4764066"/>
              <a:gd name="connsiteX386" fmla="*/ 3883061 w 4803292"/>
              <a:gd name="connsiteY386" fmla="*/ 1084701 h 4764066"/>
              <a:gd name="connsiteX387" fmla="*/ 3996579 w 4803292"/>
              <a:gd name="connsiteY387" fmla="*/ 971336 h 4764066"/>
              <a:gd name="connsiteX388" fmla="*/ 2245699 w 4803292"/>
              <a:gd name="connsiteY388" fmla="*/ 915014 h 4764066"/>
              <a:gd name="connsiteX389" fmla="*/ 2156758 w 4803292"/>
              <a:gd name="connsiteY389" fmla="*/ 977826 h 4764066"/>
              <a:gd name="connsiteX390" fmla="*/ 2051966 w 4803292"/>
              <a:gd name="connsiteY390" fmla="*/ 949304 h 4764066"/>
              <a:gd name="connsiteX391" fmla="*/ 1975434 w 4803292"/>
              <a:gd name="connsiteY391" fmla="*/ 1026537 h 4764066"/>
              <a:gd name="connsiteX392" fmla="*/ 1867280 w 4803292"/>
              <a:gd name="connsiteY392" fmla="*/ 1016522 h 4764066"/>
              <a:gd name="connsiteX393" fmla="*/ 1805237 w 4803292"/>
              <a:gd name="connsiteY393" fmla="*/ 1105852 h 4764066"/>
              <a:gd name="connsiteX394" fmla="*/ 1696763 w 4803292"/>
              <a:gd name="connsiteY394" fmla="*/ 1114986 h 4764066"/>
              <a:gd name="connsiteX395" fmla="*/ 1651212 w 4803292"/>
              <a:gd name="connsiteY395" fmla="*/ 1213770 h 4764066"/>
              <a:gd name="connsiteX396" fmla="*/ 1546020 w 4803292"/>
              <a:gd name="connsiteY396" fmla="*/ 1241490 h 4764066"/>
              <a:gd name="connsiteX397" fmla="*/ 1518481 w 4803292"/>
              <a:gd name="connsiteY397" fmla="*/ 1346604 h 4764066"/>
              <a:gd name="connsiteX398" fmla="*/ 1419853 w 4803292"/>
              <a:gd name="connsiteY398" fmla="*/ 1392110 h 4764066"/>
              <a:gd name="connsiteX399" fmla="*/ 1410727 w 4803292"/>
              <a:gd name="connsiteY399" fmla="*/ 1500588 h 4764066"/>
              <a:gd name="connsiteX400" fmla="*/ 1321546 w 4803292"/>
              <a:gd name="connsiteY400" fmla="*/ 1562518 h 4764066"/>
              <a:gd name="connsiteX401" fmla="*/ 1331393 w 4803292"/>
              <a:gd name="connsiteY401" fmla="*/ 1670996 h 4764066"/>
              <a:gd name="connsiteX402" fmla="*/ 1254220 w 4803292"/>
              <a:gd name="connsiteY402" fmla="*/ 1747588 h 4764066"/>
              <a:gd name="connsiteX403" fmla="*/ 1282879 w 4803292"/>
              <a:gd name="connsiteY403" fmla="*/ 1852541 h 4764066"/>
              <a:gd name="connsiteX404" fmla="*/ 1220116 w 4803292"/>
              <a:gd name="connsiteY404" fmla="*/ 1941391 h 4764066"/>
              <a:gd name="connsiteX405" fmla="*/ 1266308 w 4803292"/>
              <a:gd name="connsiteY405" fmla="*/ 2039774 h 4764066"/>
              <a:gd name="connsiteX406" fmla="*/ 1220116 w 4803292"/>
              <a:gd name="connsiteY406" fmla="*/ 2138238 h 4764066"/>
              <a:gd name="connsiteX407" fmla="*/ 1282719 w 4803292"/>
              <a:gd name="connsiteY407" fmla="*/ 2227087 h 4764066"/>
              <a:gd name="connsiteX408" fmla="*/ 1254220 w 4803292"/>
              <a:gd name="connsiteY408" fmla="*/ 2332041 h 4764066"/>
              <a:gd name="connsiteX409" fmla="*/ 1331313 w 4803292"/>
              <a:gd name="connsiteY409" fmla="*/ 2408472 h 4764066"/>
              <a:gd name="connsiteX410" fmla="*/ 1321626 w 4803292"/>
              <a:gd name="connsiteY410" fmla="*/ 2516469 h 4764066"/>
              <a:gd name="connsiteX411" fmla="*/ 1410807 w 4803292"/>
              <a:gd name="connsiteY411" fmla="*/ 2578560 h 4764066"/>
              <a:gd name="connsiteX412" fmla="*/ 1419933 w 4803292"/>
              <a:gd name="connsiteY412" fmla="*/ 2686958 h 4764066"/>
              <a:gd name="connsiteX413" fmla="*/ 1518401 w 4803292"/>
              <a:gd name="connsiteY413" fmla="*/ 2732544 h 4764066"/>
              <a:gd name="connsiteX414" fmla="*/ 1546100 w 4803292"/>
              <a:gd name="connsiteY414" fmla="*/ 2837658 h 4764066"/>
              <a:gd name="connsiteX415" fmla="*/ 1651292 w 4803292"/>
              <a:gd name="connsiteY415" fmla="*/ 2865538 h 4764066"/>
              <a:gd name="connsiteX416" fmla="*/ 1696843 w 4803292"/>
              <a:gd name="connsiteY416" fmla="*/ 2964162 h 4764066"/>
              <a:gd name="connsiteX417" fmla="*/ 1805157 w 4803292"/>
              <a:gd name="connsiteY417" fmla="*/ 2973296 h 4764066"/>
              <a:gd name="connsiteX418" fmla="*/ 1867120 w 4803292"/>
              <a:gd name="connsiteY418" fmla="*/ 3062546 h 4764066"/>
              <a:gd name="connsiteX419" fmla="*/ 1975434 w 4803292"/>
              <a:gd name="connsiteY419" fmla="*/ 3052691 h 4764066"/>
              <a:gd name="connsiteX420" fmla="*/ 2052047 w 4803292"/>
              <a:gd name="connsiteY420" fmla="*/ 3129924 h 4764066"/>
              <a:gd name="connsiteX421" fmla="*/ 2156838 w 4803292"/>
              <a:gd name="connsiteY421" fmla="*/ 3101402 h 4764066"/>
              <a:gd name="connsiteX422" fmla="*/ 2245859 w 4803292"/>
              <a:gd name="connsiteY422" fmla="*/ 3163893 h 4764066"/>
              <a:gd name="connsiteX423" fmla="*/ 2344087 w 4803292"/>
              <a:gd name="connsiteY423" fmla="*/ 3117666 h 4764066"/>
              <a:gd name="connsiteX424" fmla="*/ 2442314 w 4803292"/>
              <a:gd name="connsiteY424" fmla="*/ 3164054 h 4764066"/>
              <a:gd name="connsiteX425" fmla="*/ 2531255 w 4803292"/>
              <a:gd name="connsiteY425" fmla="*/ 3101402 h 4764066"/>
              <a:gd name="connsiteX426" fmla="*/ 2636127 w 4803292"/>
              <a:gd name="connsiteY426" fmla="*/ 3129924 h 4764066"/>
              <a:gd name="connsiteX427" fmla="*/ 2712659 w 4803292"/>
              <a:gd name="connsiteY427" fmla="*/ 3052691 h 4764066"/>
              <a:gd name="connsiteX428" fmla="*/ 2820733 w 4803292"/>
              <a:gd name="connsiteY428" fmla="*/ 3062706 h 4764066"/>
              <a:gd name="connsiteX429" fmla="*/ 2882856 w 4803292"/>
              <a:gd name="connsiteY429" fmla="*/ 2973296 h 4764066"/>
              <a:gd name="connsiteX430" fmla="*/ 2991250 w 4803292"/>
              <a:gd name="connsiteY430" fmla="*/ 2964322 h 4764066"/>
              <a:gd name="connsiteX431" fmla="*/ 3036641 w 4803292"/>
              <a:gd name="connsiteY431" fmla="*/ 2865538 h 4764066"/>
              <a:gd name="connsiteX432" fmla="*/ 3141913 w 4803292"/>
              <a:gd name="connsiteY432" fmla="*/ 2837658 h 4764066"/>
              <a:gd name="connsiteX433" fmla="*/ 3169532 w 4803292"/>
              <a:gd name="connsiteY433" fmla="*/ 2732544 h 4764066"/>
              <a:gd name="connsiteX434" fmla="*/ 3268240 w 4803292"/>
              <a:gd name="connsiteY434" fmla="*/ 2686958 h 4764066"/>
              <a:gd name="connsiteX435" fmla="*/ 3277286 w 4803292"/>
              <a:gd name="connsiteY435" fmla="*/ 2578560 h 4764066"/>
              <a:gd name="connsiteX436" fmla="*/ 3366547 w 4803292"/>
              <a:gd name="connsiteY436" fmla="*/ 2516550 h 4764066"/>
              <a:gd name="connsiteX437" fmla="*/ 3356621 w 4803292"/>
              <a:gd name="connsiteY437" fmla="*/ 2408232 h 4764066"/>
              <a:gd name="connsiteX438" fmla="*/ 3433794 w 4803292"/>
              <a:gd name="connsiteY438" fmla="*/ 2331960 h 4764066"/>
              <a:gd name="connsiteX439" fmla="*/ 3405134 w 4803292"/>
              <a:gd name="connsiteY439" fmla="*/ 2227007 h 4764066"/>
              <a:gd name="connsiteX440" fmla="*/ 3468057 w 4803292"/>
              <a:gd name="connsiteY440" fmla="*/ 2138158 h 4764066"/>
              <a:gd name="connsiteX441" fmla="*/ 3421545 w 4803292"/>
              <a:gd name="connsiteY441" fmla="*/ 2039694 h 4764066"/>
              <a:gd name="connsiteX442" fmla="*/ 3467897 w 4803292"/>
              <a:gd name="connsiteY442" fmla="*/ 1941311 h 4764066"/>
              <a:gd name="connsiteX443" fmla="*/ 3405134 w 4803292"/>
              <a:gd name="connsiteY443" fmla="*/ 1852461 h 4764066"/>
              <a:gd name="connsiteX444" fmla="*/ 3433794 w 4803292"/>
              <a:gd name="connsiteY444" fmla="*/ 1747508 h 4764066"/>
              <a:gd name="connsiteX445" fmla="*/ 3356621 w 4803292"/>
              <a:gd name="connsiteY445" fmla="*/ 1670756 h 4764066"/>
              <a:gd name="connsiteX446" fmla="*/ 3366547 w 4803292"/>
              <a:gd name="connsiteY446" fmla="*/ 1562438 h 4764066"/>
              <a:gd name="connsiteX447" fmla="*/ 3277286 w 4803292"/>
              <a:gd name="connsiteY447" fmla="*/ 1500508 h 4764066"/>
              <a:gd name="connsiteX448" fmla="*/ 3268240 w 4803292"/>
              <a:gd name="connsiteY448" fmla="*/ 1392030 h 4764066"/>
              <a:gd name="connsiteX449" fmla="*/ 3169532 w 4803292"/>
              <a:gd name="connsiteY449" fmla="*/ 1346523 h 4764066"/>
              <a:gd name="connsiteX450" fmla="*/ 3141913 w 4803292"/>
              <a:gd name="connsiteY450" fmla="*/ 1241250 h 4764066"/>
              <a:gd name="connsiteX451" fmla="*/ 3036641 w 4803292"/>
              <a:gd name="connsiteY451" fmla="*/ 1213610 h 4764066"/>
              <a:gd name="connsiteX452" fmla="*/ 2991250 w 4803292"/>
              <a:gd name="connsiteY452" fmla="*/ 1114745 h 4764066"/>
              <a:gd name="connsiteX453" fmla="*/ 2882856 w 4803292"/>
              <a:gd name="connsiteY453" fmla="*/ 1105692 h 4764066"/>
              <a:gd name="connsiteX454" fmla="*/ 2820733 w 4803292"/>
              <a:gd name="connsiteY454" fmla="*/ 1016362 h 4764066"/>
              <a:gd name="connsiteX455" fmla="*/ 2712579 w 4803292"/>
              <a:gd name="connsiteY455" fmla="*/ 1026457 h 4764066"/>
              <a:gd name="connsiteX456" fmla="*/ 2636047 w 4803292"/>
              <a:gd name="connsiteY456" fmla="*/ 948984 h 4764066"/>
              <a:gd name="connsiteX457" fmla="*/ 2531175 w 4803292"/>
              <a:gd name="connsiteY457" fmla="*/ 977666 h 4764066"/>
              <a:gd name="connsiteX458" fmla="*/ 2442234 w 4803292"/>
              <a:gd name="connsiteY458" fmla="*/ 915014 h 4764066"/>
              <a:gd name="connsiteX459" fmla="*/ 2344007 w 4803292"/>
              <a:gd name="connsiteY459" fmla="*/ 961402 h 4764066"/>
              <a:gd name="connsiteX460" fmla="*/ 2245699 w 4803292"/>
              <a:gd name="connsiteY460" fmla="*/ 915014 h 4764066"/>
              <a:gd name="connsiteX461" fmla="*/ 3539946 w 4803292"/>
              <a:gd name="connsiteY461" fmla="*/ 904118 h 4764066"/>
              <a:gd name="connsiteX462" fmla="*/ 3670996 w 4803292"/>
              <a:gd name="connsiteY462" fmla="*/ 1035349 h 4764066"/>
              <a:gd name="connsiteX463" fmla="*/ 3539946 w 4803292"/>
              <a:gd name="connsiteY463" fmla="*/ 1166501 h 4764066"/>
              <a:gd name="connsiteX464" fmla="*/ 3408816 w 4803292"/>
              <a:gd name="connsiteY464" fmla="*/ 1035349 h 4764066"/>
              <a:gd name="connsiteX465" fmla="*/ 3539946 w 4803292"/>
              <a:gd name="connsiteY465" fmla="*/ 904118 h 4764066"/>
              <a:gd name="connsiteX466" fmla="*/ 1148147 w 4803292"/>
              <a:gd name="connsiteY466" fmla="*/ 904118 h 4764066"/>
              <a:gd name="connsiteX467" fmla="*/ 1279357 w 4803292"/>
              <a:gd name="connsiteY467" fmla="*/ 1035349 h 4764066"/>
              <a:gd name="connsiteX468" fmla="*/ 1148147 w 4803292"/>
              <a:gd name="connsiteY468" fmla="*/ 1166501 h 4764066"/>
              <a:gd name="connsiteX469" fmla="*/ 1017177 w 4803292"/>
              <a:gd name="connsiteY469" fmla="*/ 1035349 h 4764066"/>
              <a:gd name="connsiteX470" fmla="*/ 1148147 w 4803292"/>
              <a:gd name="connsiteY470" fmla="*/ 904118 h 4764066"/>
              <a:gd name="connsiteX471" fmla="*/ 3347895 w 4803292"/>
              <a:gd name="connsiteY471" fmla="*/ 711517 h 4764066"/>
              <a:gd name="connsiteX472" fmla="*/ 3478945 w 4803292"/>
              <a:gd name="connsiteY472" fmla="*/ 842668 h 4764066"/>
              <a:gd name="connsiteX473" fmla="*/ 3347895 w 4803292"/>
              <a:gd name="connsiteY473" fmla="*/ 973820 h 4764066"/>
              <a:gd name="connsiteX474" fmla="*/ 3216765 w 4803292"/>
              <a:gd name="connsiteY474" fmla="*/ 842668 h 4764066"/>
              <a:gd name="connsiteX475" fmla="*/ 3347895 w 4803292"/>
              <a:gd name="connsiteY475" fmla="*/ 711517 h 4764066"/>
              <a:gd name="connsiteX476" fmla="*/ 3805808 w 4803292"/>
              <a:gd name="connsiteY476" fmla="*/ 698699 h 4764066"/>
              <a:gd name="connsiteX477" fmla="*/ 3919006 w 4803292"/>
              <a:gd name="connsiteY477" fmla="*/ 812064 h 4764066"/>
              <a:gd name="connsiteX478" fmla="*/ 3805808 w 4803292"/>
              <a:gd name="connsiteY478" fmla="*/ 925430 h 4764066"/>
              <a:gd name="connsiteX479" fmla="*/ 3692611 w 4803292"/>
              <a:gd name="connsiteY479" fmla="*/ 812064 h 4764066"/>
              <a:gd name="connsiteX480" fmla="*/ 3805808 w 4803292"/>
              <a:gd name="connsiteY480" fmla="*/ 698699 h 4764066"/>
              <a:gd name="connsiteX481" fmla="*/ 2344247 w 4803292"/>
              <a:gd name="connsiteY481" fmla="*/ 687883 h 4764066"/>
              <a:gd name="connsiteX482" fmla="*/ 2456484 w 4803292"/>
              <a:gd name="connsiteY482" fmla="*/ 754220 h 4764066"/>
              <a:gd name="connsiteX483" fmla="*/ 2578807 w 4803292"/>
              <a:gd name="connsiteY483" fmla="*/ 708313 h 4764066"/>
              <a:gd name="connsiteX484" fmla="*/ 2677835 w 4803292"/>
              <a:gd name="connsiteY484" fmla="*/ 793477 h 4764066"/>
              <a:gd name="connsiteX485" fmla="*/ 2806243 w 4803292"/>
              <a:gd name="connsiteY485" fmla="*/ 769202 h 4764066"/>
              <a:gd name="connsiteX486" fmla="*/ 2888860 w 4803292"/>
              <a:gd name="connsiteY486" fmla="*/ 870149 h 4764066"/>
              <a:gd name="connsiteX487" fmla="*/ 3019349 w 4803292"/>
              <a:gd name="connsiteY487" fmla="*/ 868947 h 4764066"/>
              <a:gd name="connsiteX488" fmla="*/ 3083473 w 4803292"/>
              <a:gd name="connsiteY488" fmla="*/ 982713 h 4764066"/>
              <a:gd name="connsiteX489" fmla="*/ 3212522 w 4803292"/>
              <a:gd name="connsiteY489" fmla="*/ 1003944 h 4764066"/>
              <a:gd name="connsiteX490" fmla="*/ 3255591 w 4803292"/>
              <a:gd name="connsiteY490" fmla="*/ 1127244 h 4764066"/>
              <a:gd name="connsiteX491" fmla="*/ 3378796 w 4803292"/>
              <a:gd name="connsiteY491" fmla="*/ 1170667 h 4764066"/>
              <a:gd name="connsiteX492" fmla="*/ 3400090 w 4803292"/>
              <a:gd name="connsiteY492" fmla="*/ 1299655 h 4764066"/>
              <a:gd name="connsiteX493" fmla="*/ 3513848 w 4803292"/>
              <a:gd name="connsiteY493" fmla="*/ 1363668 h 4764066"/>
              <a:gd name="connsiteX494" fmla="*/ 3512488 w 4803292"/>
              <a:gd name="connsiteY494" fmla="*/ 1494259 h 4764066"/>
              <a:gd name="connsiteX495" fmla="*/ 3613596 w 4803292"/>
              <a:gd name="connsiteY495" fmla="*/ 1577180 h 4764066"/>
              <a:gd name="connsiteX496" fmla="*/ 3589260 w 4803292"/>
              <a:gd name="connsiteY496" fmla="*/ 1705527 h 4764066"/>
              <a:gd name="connsiteX497" fmla="*/ 3674438 w 4803292"/>
              <a:gd name="connsiteY497" fmla="*/ 1804792 h 4764066"/>
              <a:gd name="connsiteX498" fmla="*/ 3628487 w 4803292"/>
              <a:gd name="connsiteY498" fmla="*/ 1927130 h 4764066"/>
              <a:gd name="connsiteX499" fmla="*/ 3695093 w 4803292"/>
              <a:gd name="connsiteY499" fmla="*/ 2039694 h 4764066"/>
              <a:gd name="connsiteX500" fmla="*/ 3628487 w 4803292"/>
              <a:gd name="connsiteY500" fmla="*/ 2151858 h 4764066"/>
              <a:gd name="connsiteX501" fmla="*/ 3674438 w 4803292"/>
              <a:gd name="connsiteY501" fmla="*/ 2274276 h 4764066"/>
              <a:gd name="connsiteX502" fmla="*/ 3589260 w 4803292"/>
              <a:gd name="connsiteY502" fmla="*/ 2373301 h 4764066"/>
              <a:gd name="connsiteX503" fmla="*/ 3613596 w 4803292"/>
              <a:gd name="connsiteY503" fmla="*/ 2501648 h 4764066"/>
              <a:gd name="connsiteX504" fmla="*/ 3512488 w 4803292"/>
              <a:gd name="connsiteY504" fmla="*/ 2584408 h 4764066"/>
              <a:gd name="connsiteX505" fmla="*/ 3513848 w 4803292"/>
              <a:gd name="connsiteY505" fmla="*/ 2715239 h 4764066"/>
              <a:gd name="connsiteX506" fmla="*/ 3400090 w 4803292"/>
              <a:gd name="connsiteY506" fmla="*/ 2779092 h 4764066"/>
              <a:gd name="connsiteX507" fmla="*/ 3378796 w 4803292"/>
              <a:gd name="connsiteY507" fmla="*/ 2908161 h 4764066"/>
              <a:gd name="connsiteX508" fmla="*/ 3255591 w 4803292"/>
              <a:gd name="connsiteY508" fmla="*/ 2951584 h 4764066"/>
              <a:gd name="connsiteX509" fmla="*/ 3212362 w 4803292"/>
              <a:gd name="connsiteY509" fmla="*/ 3074804 h 4764066"/>
              <a:gd name="connsiteX510" fmla="*/ 3083393 w 4803292"/>
              <a:gd name="connsiteY510" fmla="*/ 3096115 h 4764066"/>
              <a:gd name="connsiteX511" fmla="*/ 3019269 w 4803292"/>
              <a:gd name="connsiteY511" fmla="*/ 3209961 h 4764066"/>
              <a:gd name="connsiteX512" fmla="*/ 2888860 w 4803292"/>
              <a:gd name="connsiteY512" fmla="*/ 3208438 h 4764066"/>
              <a:gd name="connsiteX513" fmla="*/ 2805923 w 4803292"/>
              <a:gd name="connsiteY513" fmla="*/ 3309546 h 4764066"/>
              <a:gd name="connsiteX514" fmla="*/ 2678075 w 4803292"/>
              <a:gd name="connsiteY514" fmla="*/ 3285351 h 4764066"/>
              <a:gd name="connsiteX515" fmla="*/ 2578888 w 4803292"/>
              <a:gd name="connsiteY515" fmla="*/ 3370675 h 4764066"/>
              <a:gd name="connsiteX516" fmla="*/ 2456644 w 4803292"/>
              <a:gd name="connsiteY516" fmla="*/ 3324368 h 4764066"/>
              <a:gd name="connsiteX517" fmla="*/ 2344407 w 4803292"/>
              <a:gd name="connsiteY517" fmla="*/ 3391025 h 4764066"/>
              <a:gd name="connsiteX518" fmla="*/ 2232010 w 4803292"/>
              <a:gd name="connsiteY518" fmla="*/ 3324368 h 4764066"/>
              <a:gd name="connsiteX519" fmla="*/ 2109766 w 4803292"/>
              <a:gd name="connsiteY519" fmla="*/ 3370355 h 4764066"/>
              <a:gd name="connsiteX520" fmla="*/ 2010578 w 4803292"/>
              <a:gd name="connsiteY520" fmla="*/ 3285190 h 4764066"/>
              <a:gd name="connsiteX521" fmla="*/ 1882330 w 4803292"/>
              <a:gd name="connsiteY521" fmla="*/ 3309386 h 4764066"/>
              <a:gd name="connsiteX522" fmla="*/ 1799393 w 4803292"/>
              <a:gd name="connsiteY522" fmla="*/ 3208519 h 4764066"/>
              <a:gd name="connsiteX523" fmla="*/ 1668904 w 4803292"/>
              <a:gd name="connsiteY523" fmla="*/ 3209721 h 4764066"/>
              <a:gd name="connsiteX524" fmla="*/ 1604940 w 4803292"/>
              <a:gd name="connsiteY524" fmla="*/ 3095874 h 4764066"/>
              <a:gd name="connsiteX525" fmla="*/ 1476052 w 4803292"/>
              <a:gd name="connsiteY525" fmla="*/ 3074723 h 4764066"/>
              <a:gd name="connsiteX526" fmla="*/ 1432902 w 4803292"/>
              <a:gd name="connsiteY526" fmla="*/ 2951424 h 4764066"/>
              <a:gd name="connsiteX527" fmla="*/ 1309698 w 4803292"/>
              <a:gd name="connsiteY527" fmla="*/ 2908000 h 4764066"/>
              <a:gd name="connsiteX528" fmla="*/ 1288403 w 4803292"/>
              <a:gd name="connsiteY528" fmla="*/ 2779012 h 4764066"/>
              <a:gd name="connsiteX529" fmla="*/ 1174405 w 4803292"/>
              <a:gd name="connsiteY529" fmla="*/ 2715079 h 4764066"/>
              <a:gd name="connsiteX530" fmla="*/ 1176006 w 4803292"/>
              <a:gd name="connsiteY530" fmla="*/ 2584328 h 4764066"/>
              <a:gd name="connsiteX531" fmla="*/ 1075057 w 4803292"/>
              <a:gd name="connsiteY531" fmla="*/ 2501568 h 4764066"/>
              <a:gd name="connsiteX532" fmla="*/ 1099073 w 4803292"/>
              <a:gd name="connsiteY532" fmla="*/ 2373220 h 4764066"/>
              <a:gd name="connsiteX533" fmla="*/ 1013895 w 4803292"/>
              <a:gd name="connsiteY533" fmla="*/ 2274196 h 4764066"/>
              <a:gd name="connsiteX534" fmla="*/ 1060167 w 4803292"/>
              <a:gd name="connsiteY534" fmla="*/ 2151858 h 4764066"/>
              <a:gd name="connsiteX535" fmla="*/ 993481 w 4803292"/>
              <a:gd name="connsiteY535" fmla="*/ 2039534 h 4764066"/>
              <a:gd name="connsiteX536" fmla="*/ 1060167 w 4803292"/>
              <a:gd name="connsiteY536" fmla="*/ 1927130 h 4764066"/>
              <a:gd name="connsiteX537" fmla="*/ 1013895 w 4803292"/>
              <a:gd name="connsiteY537" fmla="*/ 1804792 h 4764066"/>
              <a:gd name="connsiteX538" fmla="*/ 1099073 w 4803292"/>
              <a:gd name="connsiteY538" fmla="*/ 1705527 h 4764066"/>
              <a:gd name="connsiteX539" fmla="*/ 1075057 w 4803292"/>
              <a:gd name="connsiteY539" fmla="*/ 1577180 h 4764066"/>
              <a:gd name="connsiteX540" fmla="*/ 1176166 w 4803292"/>
              <a:gd name="connsiteY540" fmla="*/ 1494259 h 4764066"/>
              <a:gd name="connsiteX541" fmla="*/ 1174325 w 4803292"/>
              <a:gd name="connsiteY541" fmla="*/ 1363668 h 4764066"/>
              <a:gd name="connsiteX542" fmla="*/ 1288323 w 4803292"/>
              <a:gd name="connsiteY542" fmla="*/ 1299655 h 4764066"/>
              <a:gd name="connsiteX543" fmla="*/ 1309618 w 4803292"/>
              <a:gd name="connsiteY543" fmla="*/ 1170667 h 4764066"/>
              <a:gd name="connsiteX544" fmla="*/ 1432822 w 4803292"/>
              <a:gd name="connsiteY544" fmla="*/ 1127324 h 4764066"/>
              <a:gd name="connsiteX545" fmla="*/ 1475972 w 4803292"/>
              <a:gd name="connsiteY545" fmla="*/ 1003944 h 4764066"/>
              <a:gd name="connsiteX546" fmla="*/ 1604860 w 4803292"/>
              <a:gd name="connsiteY546" fmla="*/ 982873 h 4764066"/>
              <a:gd name="connsiteX547" fmla="*/ 1668824 w 4803292"/>
              <a:gd name="connsiteY547" fmla="*/ 868947 h 4764066"/>
              <a:gd name="connsiteX548" fmla="*/ 1799473 w 4803292"/>
              <a:gd name="connsiteY548" fmla="*/ 870309 h 4764066"/>
              <a:gd name="connsiteX549" fmla="*/ 1882250 w 4803292"/>
              <a:gd name="connsiteY549" fmla="*/ 769202 h 4764066"/>
              <a:gd name="connsiteX550" fmla="*/ 2010578 w 4803292"/>
              <a:gd name="connsiteY550" fmla="*/ 793477 h 4764066"/>
              <a:gd name="connsiteX551" fmla="*/ 2109606 w 4803292"/>
              <a:gd name="connsiteY551" fmla="*/ 708313 h 4764066"/>
              <a:gd name="connsiteX552" fmla="*/ 2231850 w 4803292"/>
              <a:gd name="connsiteY552" fmla="*/ 754540 h 4764066"/>
              <a:gd name="connsiteX553" fmla="*/ 2344247 w 4803292"/>
              <a:gd name="connsiteY553" fmla="*/ 687883 h 4764066"/>
              <a:gd name="connsiteX554" fmla="*/ 3570447 w 4803292"/>
              <a:gd name="connsiteY554" fmla="*/ 463396 h 4764066"/>
              <a:gd name="connsiteX555" fmla="*/ 3683805 w 4803292"/>
              <a:gd name="connsiteY555" fmla="*/ 576761 h 4764066"/>
              <a:gd name="connsiteX556" fmla="*/ 3570447 w 4803292"/>
              <a:gd name="connsiteY556" fmla="*/ 690127 h 4764066"/>
              <a:gd name="connsiteX557" fmla="*/ 3457410 w 4803292"/>
              <a:gd name="connsiteY557" fmla="*/ 576761 h 4764066"/>
              <a:gd name="connsiteX558" fmla="*/ 3570447 w 4803292"/>
              <a:gd name="connsiteY558" fmla="*/ 463396 h 4764066"/>
              <a:gd name="connsiteX559" fmla="*/ 2072861 w 4803292"/>
              <a:gd name="connsiteY559" fmla="*/ 369899 h 4764066"/>
              <a:gd name="connsiteX560" fmla="*/ 2203911 w 4803292"/>
              <a:gd name="connsiteY560" fmla="*/ 500970 h 4764066"/>
              <a:gd name="connsiteX561" fmla="*/ 2072861 w 4803292"/>
              <a:gd name="connsiteY561" fmla="*/ 632202 h 4764066"/>
              <a:gd name="connsiteX562" fmla="*/ 1941891 w 4803292"/>
              <a:gd name="connsiteY562" fmla="*/ 500970 h 4764066"/>
              <a:gd name="connsiteX563" fmla="*/ 2072861 w 4803292"/>
              <a:gd name="connsiteY563" fmla="*/ 369899 h 4764066"/>
              <a:gd name="connsiteX564" fmla="*/ 2615072 w 4803292"/>
              <a:gd name="connsiteY564" fmla="*/ 369579 h 4764066"/>
              <a:gd name="connsiteX565" fmla="*/ 2746122 w 4803292"/>
              <a:gd name="connsiteY565" fmla="*/ 500810 h 4764066"/>
              <a:gd name="connsiteX566" fmla="*/ 2615072 w 4803292"/>
              <a:gd name="connsiteY566" fmla="*/ 631962 h 4764066"/>
              <a:gd name="connsiteX567" fmla="*/ 2483942 w 4803292"/>
              <a:gd name="connsiteY567" fmla="*/ 500810 h 4764066"/>
              <a:gd name="connsiteX568" fmla="*/ 2615072 w 4803292"/>
              <a:gd name="connsiteY568" fmla="*/ 369579 h 4764066"/>
              <a:gd name="connsiteX569" fmla="*/ 2344087 w 4803292"/>
              <a:gd name="connsiteY569" fmla="*/ 346024 h 4764066"/>
              <a:gd name="connsiteX570" fmla="*/ 2475137 w 4803292"/>
              <a:gd name="connsiteY570" fmla="*/ 477255 h 4764066"/>
              <a:gd name="connsiteX571" fmla="*/ 2344087 w 4803292"/>
              <a:gd name="connsiteY571" fmla="*/ 608407 h 4764066"/>
              <a:gd name="connsiteX572" fmla="*/ 2213037 w 4803292"/>
              <a:gd name="connsiteY572" fmla="*/ 477255 h 4764066"/>
              <a:gd name="connsiteX573" fmla="*/ 2344087 w 4803292"/>
              <a:gd name="connsiteY573" fmla="*/ 346024 h 4764066"/>
              <a:gd name="connsiteX574" fmla="*/ 3298021 w 4803292"/>
              <a:gd name="connsiteY574" fmla="*/ 272557 h 4764066"/>
              <a:gd name="connsiteX575" fmla="*/ 3411218 w 4803292"/>
              <a:gd name="connsiteY575" fmla="*/ 385762 h 4764066"/>
              <a:gd name="connsiteX576" fmla="*/ 3298021 w 4803292"/>
              <a:gd name="connsiteY576" fmla="*/ 499127 h 4764066"/>
              <a:gd name="connsiteX577" fmla="*/ 3184823 w 4803292"/>
              <a:gd name="connsiteY577" fmla="*/ 385762 h 4764066"/>
              <a:gd name="connsiteX578" fmla="*/ 3298021 w 4803292"/>
              <a:gd name="connsiteY578" fmla="*/ 272557 h 4764066"/>
              <a:gd name="connsiteX579" fmla="*/ 3793320 w 4803292"/>
              <a:gd name="connsiteY579" fmla="*/ 224968 h 4764066"/>
              <a:gd name="connsiteX580" fmla="*/ 3882421 w 4803292"/>
              <a:gd name="connsiteY580" fmla="*/ 314138 h 4764066"/>
              <a:gd name="connsiteX581" fmla="*/ 3793320 w 4803292"/>
              <a:gd name="connsiteY581" fmla="*/ 403468 h 4764066"/>
              <a:gd name="connsiteX582" fmla="*/ 3703979 w 4803292"/>
              <a:gd name="connsiteY582" fmla="*/ 314138 h 4764066"/>
              <a:gd name="connsiteX583" fmla="*/ 3793320 w 4803292"/>
              <a:gd name="connsiteY583" fmla="*/ 224968 h 4764066"/>
              <a:gd name="connsiteX584" fmla="*/ 3473821 w 4803292"/>
              <a:gd name="connsiteY584" fmla="*/ 0 h 4764066"/>
              <a:gd name="connsiteX585" fmla="*/ 3562922 w 4803292"/>
              <a:gd name="connsiteY585" fmla="*/ 89170 h 4764066"/>
              <a:gd name="connsiteX586" fmla="*/ 3473821 w 4803292"/>
              <a:gd name="connsiteY586" fmla="*/ 178340 h 4764066"/>
              <a:gd name="connsiteX587" fmla="*/ 3384560 w 4803292"/>
              <a:gd name="connsiteY587" fmla="*/ 89170 h 4764066"/>
              <a:gd name="connsiteX588" fmla="*/ 3473821 w 4803292"/>
              <a:gd name="connsiteY588" fmla="*/ 0 h 476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Lst>
            <a:rect l="l" t="t" r="r" b="b"/>
            <a:pathLst>
              <a:path w="4803292" h="4764066">
                <a:moveTo>
                  <a:pt x="3825502" y="4632114"/>
                </a:moveTo>
                <a:cubicBezTo>
                  <a:pt x="3861927" y="4632114"/>
                  <a:pt x="3891547" y="4661597"/>
                  <a:pt x="3891547" y="4698050"/>
                </a:cubicBezTo>
                <a:cubicBezTo>
                  <a:pt x="3891547" y="4734583"/>
                  <a:pt x="3861927" y="4764066"/>
                  <a:pt x="3825502" y="4764066"/>
                </a:cubicBezTo>
                <a:cubicBezTo>
                  <a:pt x="3789157" y="4764066"/>
                  <a:pt x="3759537" y="4734663"/>
                  <a:pt x="3759537" y="4698050"/>
                </a:cubicBezTo>
                <a:cubicBezTo>
                  <a:pt x="3759537" y="4661597"/>
                  <a:pt x="3789077" y="4632114"/>
                  <a:pt x="3825502" y="4632114"/>
                </a:cubicBezTo>
                <a:close/>
                <a:moveTo>
                  <a:pt x="3925010" y="4414517"/>
                </a:moveTo>
                <a:cubicBezTo>
                  <a:pt x="3961355" y="4414517"/>
                  <a:pt x="3990816" y="4444000"/>
                  <a:pt x="3990895" y="4480453"/>
                </a:cubicBezTo>
                <a:cubicBezTo>
                  <a:pt x="3990895" y="4517066"/>
                  <a:pt x="3961435" y="4546710"/>
                  <a:pt x="3925010" y="4546710"/>
                </a:cubicBezTo>
                <a:cubicBezTo>
                  <a:pt x="3888585" y="4546710"/>
                  <a:pt x="3858965" y="4517066"/>
                  <a:pt x="3858965" y="4480453"/>
                </a:cubicBezTo>
                <a:cubicBezTo>
                  <a:pt x="3858965" y="4444000"/>
                  <a:pt x="3888585" y="4414517"/>
                  <a:pt x="3925010" y="4414517"/>
                </a:cubicBezTo>
                <a:close/>
                <a:moveTo>
                  <a:pt x="3661709" y="4414517"/>
                </a:moveTo>
                <a:cubicBezTo>
                  <a:pt x="3698135" y="4414517"/>
                  <a:pt x="3727595" y="4444000"/>
                  <a:pt x="3727595" y="4480453"/>
                </a:cubicBezTo>
                <a:cubicBezTo>
                  <a:pt x="3727595" y="4517066"/>
                  <a:pt x="3698135" y="4546710"/>
                  <a:pt x="3661709" y="4546710"/>
                </a:cubicBezTo>
                <a:cubicBezTo>
                  <a:pt x="3625284" y="4546710"/>
                  <a:pt x="3595664" y="4517066"/>
                  <a:pt x="3595664" y="4480453"/>
                </a:cubicBezTo>
                <a:cubicBezTo>
                  <a:pt x="3595664" y="4444000"/>
                  <a:pt x="3625284" y="4414517"/>
                  <a:pt x="3661709" y="4414517"/>
                </a:cubicBezTo>
                <a:close/>
                <a:moveTo>
                  <a:pt x="3982170" y="3933336"/>
                </a:moveTo>
                <a:cubicBezTo>
                  <a:pt x="4018514" y="3933336"/>
                  <a:pt x="4047974" y="3962739"/>
                  <a:pt x="4048055" y="3999352"/>
                </a:cubicBezTo>
                <a:cubicBezTo>
                  <a:pt x="4048055" y="4035805"/>
                  <a:pt x="4018594" y="4065288"/>
                  <a:pt x="3982170" y="4065288"/>
                </a:cubicBezTo>
                <a:cubicBezTo>
                  <a:pt x="3945584" y="4065288"/>
                  <a:pt x="3915964" y="4035805"/>
                  <a:pt x="3915964" y="3999352"/>
                </a:cubicBezTo>
                <a:cubicBezTo>
                  <a:pt x="3915964" y="3962819"/>
                  <a:pt x="3945584" y="3933336"/>
                  <a:pt x="3982170" y="3933336"/>
                </a:cubicBezTo>
                <a:close/>
                <a:moveTo>
                  <a:pt x="3471579" y="3904333"/>
                </a:moveTo>
                <a:cubicBezTo>
                  <a:pt x="3520653" y="3904333"/>
                  <a:pt x="3560600" y="3944312"/>
                  <a:pt x="3560680" y="3993503"/>
                </a:cubicBezTo>
                <a:cubicBezTo>
                  <a:pt x="3560680" y="4042775"/>
                  <a:pt x="3520733" y="4082753"/>
                  <a:pt x="3471579" y="4082753"/>
                </a:cubicBezTo>
                <a:cubicBezTo>
                  <a:pt x="3422426" y="4082753"/>
                  <a:pt x="3382558" y="4042775"/>
                  <a:pt x="3382558" y="3993503"/>
                </a:cubicBezTo>
                <a:cubicBezTo>
                  <a:pt x="3382558" y="3944312"/>
                  <a:pt x="3422346" y="3904333"/>
                  <a:pt x="3471579" y="3904333"/>
                </a:cubicBezTo>
                <a:close/>
                <a:moveTo>
                  <a:pt x="3793560" y="3678564"/>
                </a:moveTo>
                <a:cubicBezTo>
                  <a:pt x="3842714" y="3678564"/>
                  <a:pt x="3882661" y="3718542"/>
                  <a:pt x="3882661" y="3767975"/>
                </a:cubicBezTo>
                <a:cubicBezTo>
                  <a:pt x="3882661" y="3817167"/>
                  <a:pt x="3842714" y="3857145"/>
                  <a:pt x="3793560" y="3857145"/>
                </a:cubicBezTo>
                <a:cubicBezTo>
                  <a:pt x="3744246" y="3857145"/>
                  <a:pt x="3704379" y="3817167"/>
                  <a:pt x="3704379" y="3767975"/>
                </a:cubicBezTo>
                <a:cubicBezTo>
                  <a:pt x="3704379" y="3718542"/>
                  <a:pt x="3744167" y="3678564"/>
                  <a:pt x="3793560" y="3678564"/>
                </a:cubicBezTo>
                <a:close/>
                <a:moveTo>
                  <a:pt x="4302789" y="3612387"/>
                </a:moveTo>
                <a:cubicBezTo>
                  <a:pt x="4339134" y="3612387"/>
                  <a:pt x="4368674" y="3641870"/>
                  <a:pt x="4368674" y="3678323"/>
                </a:cubicBezTo>
                <a:cubicBezTo>
                  <a:pt x="4368674" y="3714937"/>
                  <a:pt x="4339054" y="3744580"/>
                  <a:pt x="4302789" y="3744580"/>
                </a:cubicBezTo>
                <a:cubicBezTo>
                  <a:pt x="4266204" y="3744580"/>
                  <a:pt x="4236744" y="3714937"/>
                  <a:pt x="4236744" y="3678323"/>
                </a:cubicBezTo>
                <a:cubicBezTo>
                  <a:pt x="4236744" y="3641870"/>
                  <a:pt x="4266204" y="3612387"/>
                  <a:pt x="4302789" y="3612387"/>
                </a:cubicBezTo>
                <a:close/>
                <a:moveTo>
                  <a:pt x="3298021" y="3579620"/>
                </a:moveTo>
                <a:cubicBezTo>
                  <a:pt x="3360704" y="3579620"/>
                  <a:pt x="3411299" y="3630254"/>
                  <a:pt x="3411218" y="3692745"/>
                </a:cubicBezTo>
                <a:cubicBezTo>
                  <a:pt x="3411218" y="3755396"/>
                  <a:pt x="3360624" y="3806190"/>
                  <a:pt x="3298021" y="3806190"/>
                </a:cubicBezTo>
                <a:cubicBezTo>
                  <a:pt x="3235578" y="3806190"/>
                  <a:pt x="3184823" y="3755396"/>
                  <a:pt x="3184823" y="3692745"/>
                </a:cubicBezTo>
                <a:cubicBezTo>
                  <a:pt x="3184823" y="3630254"/>
                  <a:pt x="3235578" y="3579620"/>
                  <a:pt x="3298021" y="3579620"/>
                </a:cubicBezTo>
                <a:close/>
                <a:moveTo>
                  <a:pt x="4071430" y="3400478"/>
                </a:moveTo>
                <a:cubicBezTo>
                  <a:pt x="4120744" y="3400478"/>
                  <a:pt x="4160691" y="3440456"/>
                  <a:pt x="4160611" y="3489648"/>
                </a:cubicBezTo>
                <a:cubicBezTo>
                  <a:pt x="4160611" y="3538920"/>
                  <a:pt x="4120664" y="3578898"/>
                  <a:pt x="4071430" y="3578898"/>
                </a:cubicBezTo>
                <a:cubicBezTo>
                  <a:pt x="4022196" y="3578898"/>
                  <a:pt x="3982249" y="3538920"/>
                  <a:pt x="3982249" y="3489648"/>
                </a:cubicBezTo>
                <a:cubicBezTo>
                  <a:pt x="3982249" y="3440456"/>
                  <a:pt x="4022196" y="3400478"/>
                  <a:pt x="4071430" y="3400478"/>
                </a:cubicBezTo>
                <a:close/>
                <a:moveTo>
                  <a:pt x="616663" y="3400318"/>
                </a:moveTo>
                <a:cubicBezTo>
                  <a:pt x="665897" y="3400318"/>
                  <a:pt x="705844" y="3440296"/>
                  <a:pt x="705844" y="3489568"/>
                </a:cubicBezTo>
                <a:cubicBezTo>
                  <a:pt x="705844" y="3538840"/>
                  <a:pt x="665897" y="3578738"/>
                  <a:pt x="616663" y="3578738"/>
                </a:cubicBezTo>
                <a:cubicBezTo>
                  <a:pt x="567429" y="3578738"/>
                  <a:pt x="527482" y="3538840"/>
                  <a:pt x="527482" y="3489568"/>
                </a:cubicBezTo>
                <a:cubicBezTo>
                  <a:pt x="527482" y="3440296"/>
                  <a:pt x="567429" y="3400318"/>
                  <a:pt x="616663" y="3400318"/>
                </a:cubicBezTo>
                <a:close/>
                <a:moveTo>
                  <a:pt x="3570447" y="3388461"/>
                </a:moveTo>
                <a:cubicBezTo>
                  <a:pt x="3633050" y="3388461"/>
                  <a:pt x="3683805" y="3439255"/>
                  <a:pt x="3683805" y="3501906"/>
                </a:cubicBezTo>
                <a:cubicBezTo>
                  <a:pt x="3683805" y="3564397"/>
                  <a:pt x="3633050" y="3615192"/>
                  <a:pt x="3570447" y="3615192"/>
                </a:cubicBezTo>
                <a:cubicBezTo>
                  <a:pt x="3508005" y="3615192"/>
                  <a:pt x="3457410" y="3564397"/>
                  <a:pt x="3457410" y="3501906"/>
                </a:cubicBezTo>
                <a:cubicBezTo>
                  <a:pt x="3457410" y="3439255"/>
                  <a:pt x="3508005" y="3388461"/>
                  <a:pt x="3570447" y="3388461"/>
                </a:cubicBezTo>
                <a:close/>
                <a:moveTo>
                  <a:pt x="2878053" y="3376042"/>
                </a:moveTo>
                <a:cubicBezTo>
                  <a:pt x="2950262" y="3376042"/>
                  <a:pt x="3009023" y="3434768"/>
                  <a:pt x="3009023" y="3507194"/>
                </a:cubicBezTo>
                <a:cubicBezTo>
                  <a:pt x="3009023" y="3579619"/>
                  <a:pt x="2950262" y="3638345"/>
                  <a:pt x="2878053" y="3638345"/>
                </a:cubicBezTo>
                <a:cubicBezTo>
                  <a:pt x="2805523" y="3638345"/>
                  <a:pt x="2746843" y="3579619"/>
                  <a:pt x="2746843" y="3507194"/>
                </a:cubicBezTo>
                <a:cubicBezTo>
                  <a:pt x="2746843" y="3434768"/>
                  <a:pt x="2805523" y="3376042"/>
                  <a:pt x="2878053" y="3376042"/>
                </a:cubicBezTo>
                <a:close/>
                <a:moveTo>
                  <a:pt x="3124542" y="3260995"/>
                </a:moveTo>
                <a:cubicBezTo>
                  <a:pt x="3196831" y="3260995"/>
                  <a:pt x="3255752" y="3319560"/>
                  <a:pt x="3255752" y="3392146"/>
                </a:cubicBezTo>
                <a:cubicBezTo>
                  <a:pt x="3255752" y="3464492"/>
                  <a:pt x="3196831" y="3523297"/>
                  <a:pt x="3124542" y="3523297"/>
                </a:cubicBezTo>
                <a:cubicBezTo>
                  <a:pt x="3052252" y="3523297"/>
                  <a:pt x="2993572" y="3464492"/>
                  <a:pt x="2993572" y="3392146"/>
                </a:cubicBezTo>
                <a:cubicBezTo>
                  <a:pt x="2993572" y="3319560"/>
                  <a:pt x="3052252" y="3260995"/>
                  <a:pt x="3124542" y="3260995"/>
                </a:cubicBezTo>
                <a:close/>
                <a:moveTo>
                  <a:pt x="4562807" y="3240485"/>
                </a:moveTo>
                <a:cubicBezTo>
                  <a:pt x="4599312" y="3240485"/>
                  <a:pt x="4628852" y="3269968"/>
                  <a:pt x="4628852" y="3306421"/>
                </a:cubicBezTo>
                <a:cubicBezTo>
                  <a:pt x="4628852" y="3343034"/>
                  <a:pt x="4599392" y="3372678"/>
                  <a:pt x="4562807" y="3372678"/>
                </a:cubicBezTo>
                <a:cubicBezTo>
                  <a:pt x="4526542" y="3372678"/>
                  <a:pt x="4496922" y="3343034"/>
                  <a:pt x="4496922" y="3306421"/>
                </a:cubicBezTo>
                <a:cubicBezTo>
                  <a:pt x="4496922" y="3269968"/>
                  <a:pt x="4526542" y="3240485"/>
                  <a:pt x="4562807" y="3240485"/>
                </a:cubicBezTo>
                <a:close/>
                <a:moveTo>
                  <a:pt x="3805568" y="3153318"/>
                </a:moveTo>
                <a:cubicBezTo>
                  <a:pt x="3868171" y="3153318"/>
                  <a:pt x="3918926" y="3203952"/>
                  <a:pt x="3918926" y="3266443"/>
                </a:cubicBezTo>
                <a:cubicBezTo>
                  <a:pt x="3918926" y="3329094"/>
                  <a:pt x="3868171" y="3379889"/>
                  <a:pt x="3805568" y="3379889"/>
                </a:cubicBezTo>
                <a:cubicBezTo>
                  <a:pt x="3743126" y="3379889"/>
                  <a:pt x="3692531" y="3329094"/>
                  <a:pt x="3692531" y="3266443"/>
                </a:cubicBezTo>
                <a:cubicBezTo>
                  <a:pt x="3692531" y="3203952"/>
                  <a:pt x="3743126" y="3153318"/>
                  <a:pt x="3805568" y="3153318"/>
                </a:cubicBezTo>
                <a:close/>
                <a:moveTo>
                  <a:pt x="882365" y="3152997"/>
                </a:moveTo>
                <a:cubicBezTo>
                  <a:pt x="944967" y="3152997"/>
                  <a:pt x="995722" y="3203791"/>
                  <a:pt x="995722" y="3266442"/>
                </a:cubicBezTo>
                <a:cubicBezTo>
                  <a:pt x="995722" y="3329094"/>
                  <a:pt x="944967" y="3379728"/>
                  <a:pt x="882365" y="3379728"/>
                </a:cubicBezTo>
                <a:cubicBezTo>
                  <a:pt x="819762" y="3379728"/>
                  <a:pt x="769327" y="3329094"/>
                  <a:pt x="769327" y="3266442"/>
                </a:cubicBezTo>
                <a:cubicBezTo>
                  <a:pt x="769327" y="3203791"/>
                  <a:pt x="819762" y="3152997"/>
                  <a:pt x="882365" y="3152997"/>
                </a:cubicBezTo>
                <a:close/>
                <a:moveTo>
                  <a:pt x="3347574" y="3104847"/>
                </a:moveTo>
                <a:cubicBezTo>
                  <a:pt x="3419864" y="3104847"/>
                  <a:pt x="3478544" y="3163493"/>
                  <a:pt x="3478544" y="3235998"/>
                </a:cubicBezTo>
                <a:cubicBezTo>
                  <a:pt x="3478544" y="3308344"/>
                  <a:pt x="3419864" y="3367069"/>
                  <a:pt x="3347574" y="3367069"/>
                </a:cubicBezTo>
                <a:cubicBezTo>
                  <a:pt x="3275124" y="3367069"/>
                  <a:pt x="3216364" y="3308344"/>
                  <a:pt x="3216364" y="3235998"/>
                </a:cubicBezTo>
                <a:cubicBezTo>
                  <a:pt x="3216364" y="3163573"/>
                  <a:pt x="3275124" y="3104847"/>
                  <a:pt x="3347574" y="3104847"/>
                </a:cubicBezTo>
                <a:close/>
                <a:moveTo>
                  <a:pt x="1340279" y="3104687"/>
                </a:moveTo>
                <a:cubicBezTo>
                  <a:pt x="1412728" y="3104687"/>
                  <a:pt x="1471329" y="3163333"/>
                  <a:pt x="1471329" y="3235838"/>
                </a:cubicBezTo>
                <a:cubicBezTo>
                  <a:pt x="1471329" y="3308344"/>
                  <a:pt x="1412648" y="3366910"/>
                  <a:pt x="1340279" y="3366910"/>
                </a:cubicBezTo>
                <a:cubicBezTo>
                  <a:pt x="1267909" y="3366910"/>
                  <a:pt x="1209229" y="3308264"/>
                  <a:pt x="1209229" y="3235838"/>
                </a:cubicBezTo>
                <a:cubicBezTo>
                  <a:pt x="1209229" y="3163413"/>
                  <a:pt x="1267829" y="3104687"/>
                  <a:pt x="1340279" y="3104687"/>
                </a:cubicBezTo>
                <a:close/>
                <a:moveTo>
                  <a:pt x="4296945" y="3078329"/>
                </a:moveTo>
                <a:cubicBezTo>
                  <a:pt x="4346019" y="3078329"/>
                  <a:pt x="4386046" y="3118147"/>
                  <a:pt x="4386046" y="3167499"/>
                </a:cubicBezTo>
                <a:cubicBezTo>
                  <a:pt x="4386046" y="3216691"/>
                  <a:pt x="4346098" y="3256669"/>
                  <a:pt x="4296945" y="3256669"/>
                </a:cubicBezTo>
                <a:cubicBezTo>
                  <a:pt x="4247791" y="3256669"/>
                  <a:pt x="4207924" y="3216691"/>
                  <a:pt x="4207924" y="3167499"/>
                </a:cubicBezTo>
                <a:cubicBezTo>
                  <a:pt x="4207924" y="3118227"/>
                  <a:pt x="4247711" y="3078329"/>
                  <a:pt x="4296945" y="3078329"/>
                </a:cubicBezTo>
                <a:close/>
                <a:moveTo>
                  <a:pt x="391148" y="3078168"/>
                </a:moveTo>
                <a:cubicBezTo>
                  <a:pt x="440382" y="3078168"/>
                  <a:pt x="480409" y="3118226"/>
                  <a:pt x="480329" y="3167258"/>
                </a:cubicBezTo>
                <a:cubicBezTo>
                  <a:pt x="480329" y="3216610"/>
                  <a:pt x="440382" y="3256508"/>
                  <a:pt x="391148" y="3256508"/>
                </a:cubicBezTo>
                <a:cubicBezTo>
                  <a:pt x="341914" y="3256508"/>
                  <a:pt x="302127" y="3216690"/>
                  <a:pt x="302127" y="3167258"/>
                </a:cubicBezTo>
                <a:cubicBezTo>
                  <a:pt x="302127" y="3118147"/>
                  <a:pt x="341914" y="3078168"/>
                  <a:pt x="391148" y="3078168"/>
                </a:cubicBezTo>
                <a:close/>
                <a:moveTo>
                  <a:pt x="1148227" y="2912647"/>
                </a:moveTo>
                <a:cubicBezTo>
                  <a:pt x="1220757" y="2912647"/>
                  <a:pt x="1279437" y="2971132"/>
                  <a:pt x="1279437" y="3043798"/>
                </a:cubicBezTo>
                <a:cubicBezTo>
                  <a:pt x="1279437" y="3116304"/>
                  <a:pt x="1220757" y="3174869"/>
                  <a:pt x="1148227" y="3174869"/>
                </a:cubicBezTo>
                <a:cubicBezTo>
                  <a:pt x="1075937" y="3174869"/>
                  <a:pt x="1017257" y="3116304"/>
                  <a:pt x="1017257" y="3043798"/>
                </a:cubicBezTo>
                <a:cubicBezTo>
                  <a:pt x="1017257" y="2971212"/>
                  <a:pt x="1075937" y="2912647"/>
                  <a:pt x="1148227" y="2912647"/>
                </a:cubicBezTo>
                <a:close/>
                <a:moveTo>
                  <a:pt x="3540026" y="2912086"/>
                </a:moveTo>
                <a:cubicBezTo>
                  <a:pt x="3612315" y="2912086"/>
                  <a:pt x="3670996" y="2970732"/>
                  <a:pt x="3670996" y="3043237"/>
                </a:cubicBezTo>
                <a:cubicBezTo>
                  <a:pt x="3670996" y="3115583"/>
                  <a:pt x="3612315" y="3174388"/>
                  <a:pt x="3540026" y="3174388"/>
                </a:cubicBezTo>
                <a:cubicBezTo>
                  <a:pt x="3467656" y="3174388"/>
                  <a:pt x="3408816" y="3115583"/>
                  <a:pt x="3408816" y="3043237"/>
                </a:cubicBezTo>
                <a:cubicBezTo>
                  <a:pt x="3408816" y="2970812"/>
                  <a:pt x="3467576" y="2912086"/>
                  <a:pt x="3540026" y="2912086"/>
                </a:cubicBezTo>
                <a:close/>
                <a:moveTo>
                  <a:pt x="3996499" y="2880680"/>
                </a:moveTo>
                <a:cubicBezTo>
                  <a:pt x="4058941" y="2880680"/>
                  <a:pt x="4109696" y="2931314"/>
                  <a:pt x="4109696" y="2993805"/>
                </a:cubicBezTo>
                <a:cubicBezTo>
                  <a:pt x="4109696" y="3056456"/>
                  <a:pt x="4058941" y="3107250"/>
                  <a:pt x="3996499" y="3107250"/>
                </a:cubicBezTo>
                <a:cubicBezTo>
                  <a:pt x="3934056" y="3107250"/>
                  <a:pt x="3883301" y="3056456"/>
                  <a:pt x="3883301" y="2993805"/>
                </a:cubicBezTo>
                <a:cubicBezTo>
                  <a:pt x="3883301" y="2931314"/>
                  <a:pt x="3934056" y="2880680"/>
                  <a:pt x="3996499" y="2880680"/>
                </a:cubicBezTo>
                <a:close/>
                <a:moveTo>
                  <a:pt x="691675" y="2880600"/>
                </a:moveTo>
                <a:cubicBezTo>
                  <a:pt x="754117" y="2880600"/>
                  <a:pt x="804872" y="2931234"/>
                  <a:pt x="804872" y="2993885"/>
                </a:cubicBezTo>
                <a:cubicBezTo>
                  <a:pt x="804872" y="3056376"/>
                  <a:pt x="754117" y="3107170"/>
                  <a:pt x="691675" y="3107170"/>
                </a:cubicBezTo>
                <a:cubicBezTo>
                  <a:pt x="629152" y="3107170"/>
                  <a:pt x="578477" y="3056376"/>
                  <a:pt x="578477" y="2993885"/>
                </a:cubicBezTo>
                <a:cubicBezTo>
                  <a:pt x="578477" y="2931234"/>
                  <a:pt x="629152" y="2880600"/>
                  <a:pt x="691675" y="2880600"/>
                </a:cubicBezTo>
                <a:close/>
                <a:moveTo>
                  <a:pt x="4737247" y="2846390"/>
                </a:moveTo>
                <a:cubicBezTo>
                  <a:pt x="4773832" y="2846390"/>
                  <a:pt x="4803292" y="2875873"/>
                  <a:pt x="4803292" y="2912326"/>
                </a:cubicBezTo>
                <a:cubicBezTo>
                  <a:pt x="4803292" y="2948940"/>
                  <a:pt x="4773832" y="2978583"/>
                  <a:pt x="4737247" y="2978583"/>
                </a:cubicBezTo>
                <a:cubicBezTo>
                  <a:pt x="4700902" y="2978583"/>
                  <a:pt x="4671282" y="2948940"/>
                  <a:pt x="4671282" y="2912326"/>
                </a:cubicBezTo>
                <a:cubicBezTo>
                  <a:pt x="4671282" y="2875873"/>
                  <a:pt x="4700822" y="2846390"/>
                  <a:pt x="4737247" y="2846390"/>
                </a:cubicBezTo>
                <a:close/>
                <a:moveTo>
                  <a:pt x="4463140" y="2721728"/>
                </a:moveTo>
                <a:cubicBezTo>
                  <a:pt x="4512213" y="2721728"/>
                  <a:pt x="4552160" y="2761786"/>
                  <a:pt x="4552160" y="2810898"/>
                </a:cubicBezTo>
                <a:cubicBezTo>
                  <a:pt x="4552160" y="2860170"/>
                  <a:pt x="4512213" y="2900068"/>
                  <a:pt x="4463140" y="2900068"/>
                </a:cubicBezTo>
                <a:cubicBezTo>
                  <a:pt x="4413745" y="2900068"/>
                  <a:pt x="4373798" y="2860170"/>
                  <a:pt x="4373798" y="2810898"/>
                </a:cubicBezTo>
                <a:cubicBezTo>
                  <a:pt x="4373798" y="2761786"/>
                  <a:pt x="4413745" y="2721728"/>
                  <a:pt x="4463140" y="2721728"/>
                </a:cubicBezTo>
                <a:close/>
                <a:moveTo>
                  <a:pt x="225114" y="2721728"/>
                </a:moveTo>
                <a:cubicBezTo>
                  <a:pt x="274268" y="2721728"/>
                  <a:pt x="314215" y="2761626"/>
                  <a:pt x="314215" y="2810898"/>
                </a:cubicBezTo>
                <a:cubicBezTo>
                  <a:pt x="314215" y="2860170"/>
                  <a:pt x="274268" y="2900068"/>
                  <a:pt x="225114" y="2900068"/>
                </a:cubicBezTo>
                <a:cubicBezTo>
                  <a:pt x="175720" y="2900068"/>
                  <a:pt x="135933" y="2860170"/>
                  <a:pt x="135933" y="2810898"/>
                </a:cubicBezTo>
                <a:cubicBezTo>
                  <a:pt x="135933" y="2761626"/>
                  <a:pt x="175720" y="2721728"/>
                  <a:pt x="225114" y="2721728"/>
                </a:cubicBezTo>
                <a:close/>
                <a:moveTo>
                  <a:pt x="3695973" y="2689041"/>
                </a:moveTo>
                <a:cubicBezTo>
                  <a:pt x="3768342" y="2689041"/>
                  <a:pt x="3827023" y="2747847"/>
                  <a:pt x="3827023" y="2820192"/>
                </a:cubicBezTo>
                <a:cubicBezTo>
                  <a:pt x="3827023" y="2892538"/>
                  <a:pt x="3768342" y="2951263"/>
                  <a:pt x="3695973" y="2951263"/>
                </a:cubicBezTo>
                <a:cubicBezTo>
                  <a:pt x="3623843" y="2951263"/>
                  <a:pt x="3564923" y="2892538"/>
                  <a:pt x="3564923" y="2820192"/>
                </a:cubicBezTo>
                <a:cubicBezTo>
                  <a:pt x="3564923" y="2747847"/>
                  <a:pt x="3623763" y="2689041"/>
                  <a:pt x="3695973" y="2689041"/>
                </a:cubicBezTo>
                <a:close/>
                <a:moveTo>
                  <a:pt x="992200" y="2689041"/>
                </a:moveTo>
                <a:cubicBezTo>
                  <a:pt x="1064489" y="2689041"/>
                  <a:pt x="1123170" y="2747847"/>
                  <a:pt x="1123170" y="2820192"/>
                </a:cubicBezTo>
                <a:cubicBezTo>
                  <a:pt x="1123170" y="2892538"/>
                  <a:pt x="1064489" y="2951264"/>
                  <a:pt x="992200" y="2951264"/>
                </a:cubicBezTo>
                <a:cubicBezTo>
                  <a:pt x="919750" y="2951264"/>
                  <a:pt x="860990" y="2892538"/>
                  <a:pt x="860990" y="2820192"/>
                </a:cubicBezTo>
                <a:cubicBezTo>
                  <a:pt x="860990" y="2747847"/>
                  <a:pt x="919750" y="2688961"/>
                  <a:pt x="992200" y="2689041"/>
                </a:cubicBezTo>
                <a:close/>
                <a:moveTo>
                  <a:pt x="4137075" y="2579040"/>
                </a:moveTo>
                <a:cubicBezTo>
                  <a:pt x="4199518" y="2579040"/>
                  <a:pt x="4250113" y="2629674"/>
                  <a:pt x="4250113" y="2692165"/>
                </a:cubicBezTo>
                <a:cubicBezTo>
                  <a:pt x="4250113" y="2754816"/>
                  <a:pt x="4199598" y="2805450"/>
                  <a:pt x="4137075" y="2805450"/>
                </a:cubicBezTo>
                <a:cubicBezTo>
                  <a:pt x="4074473" y="2805450"/>
                  <a:pt x="4023718" y="2754816"/>
                  <a:pt x="4023718" y="2692165"/>
                </a:cubicBezTo>
                <a:cubicBezTo>
                  <a:pt x="4023718" y="2629674"/>
                  <a:pt x="4074473" y="2579040"/>
                  <a:pt x="4137075" y="2579040"/>
                </a:cubicBezTo>
                <a:close/>
                <a:moveTo>
                  <a:pt x="551018" y="2578880"/>
                </a:moveTo>
                <a:cubicBezTo>
                  <a:pt x="613620" y="2578880"/>
                  <a:pt x="664375" y="2629594"/>
                  <a:pt x="664375" y="2692005"/>
                </a:cubicBezTo>
                <a:cubicBezTo>
                  <a:pt x="664375" y="2754656"/>
                  <a:pt x="613620" y="2805450"/>
                  <a:pt x="551018" y="2805450"/>
                </a:cubicBezTo>
                <a:cubicBezTo>
                  <a:pt x="488575" y="2805450"/>
                  <a:pt x="437980" y="2754656"/>
                  <a:pt x="437980" y="2692005"/>
                </a:cubicBezTo>
                <a:cubicBezTo>
                  <a:pt x="437980" y="2629674"/>
                  <a:pt x="488575" y="2578880"/>
                  <a:pt x="551018" y="2578880"/>
                </a:cubicBezTo>
                <a:close/>
                <a:moveTo>
                  <a:pt x="3811092" y="2442281"/>
                </a:moveTo>
                <a:cubicBezTo>
                  <a:pt x="3883381" y="2442281"/>
                  <a:pt x="3942062" y="2501007"/>
                  <a:pt x="3942062" y="2573432"/>
                </a:cubicBezTo>
                <a:cubicBezTo>
                  <a:pt x="3942062" y="2645858"/>
                  <a:pt x="3883381" y="2704583"/>
                  <a:pt x="3811092" y="2704583"/>
                </a:cubicBezTo>
                <a:cubicBezTo>
                  <a:pt x="3738562" y="2704583"/>
                  <a:pt x="3679802" y="2645858"/>
                  <a:pt x="3679882" y="2573432"/>
                </a:cubicBezTo>
                <a:cubicBezTo>
                  <a:pt x="3679882" y="2501007"/>
                  <a:pt x="3738562" y="2442281"/>
                  <a:pt x="3811092" y="2442281"/>
                </a:cubicBezTo>
                <a:close/>
                <a:moveTo>
                  <a:pt x="877161" y="2442201"/>
                </a:moveTo>
                <a:cubicBezTo>
                  <a:pt x="949450" y="2442201"/>
                  <a:pt x="1008291" y="2501007"/>
                  <a:pt x="1008211" y="2573352"/>
                </a:cubicBezTo>
                <a:cubicBezTo>
                  <a:pt x="1008211" y="2645778"/>
                  <a:pt x="949450" y="2704503"/>
                  <a:pt x="877161" y="2704503"/>
                </a:cubicBezTo>
                <a:cubicBezTo>
                  <a:pt x="804871" y="2704503"/>
                  <a:pt x="745951" y="2645858"/>
                  <a:pt x="745951" y="2573352"/>
                </a:cubicBezTo>
                <a:cubicBezTo>
                  <a:pt x="745951" y="2500927"/>
                  <a:pt x="804871" y="2442201"/>
                  <a:pt x="877161" y="2442201"/>
                </a:cubicBezTo>
                <a:close/>
                <a:moveTo>
                  <a:pt x="4564809" y="2341975"/>
                </a:moveTo>
                <a:cubicBezTo>
                  <a:pt x="4613963" y="2341975"/>
                  <a:pt x="4653910" y="2381873"/>
                  <a:pt x="4653910" y="2431145"/>
                </a:cubicBezTo>
                <a:cubicBezTo>
                  <a:pt x="4653910" y="2480337"/>
                  <a:pt x="4613963" y="2520315"/>
                  <a:pt x="4564809" y="2520315"/>
                </a:cubicBezTo>
                <a:cubicBezTo>
                  <a:pt x="4515575" y="2520315"/>
                  <a:pt x="4475628" y="2480337"/>
                  <a:pt x="4475628" y="2431145"/>
                </a:cubicBezTo>
                <a:cubicBezTo>
                  <a:pt x="4475628" y="2381873"/>
                  <a:pt x="4515575" y="2341975"/>
                  <a:pt x="4564809" y="2341975"/>
                </a:cubicBezTo>
                <a:close/>
                <a:moveTo>
                  <a:pt x="123365" y="2341975"/>
                </a:moveTo>
                <a:cubicBezTo>
                  <a:pt x="172679" y="2341975"/>
                  <a:pt x="212466" y="2381953"/>
                  <a:pt x="212466" y="2431145"/>
                </a:cubicBezTo>
                <a:cubicBezTo>
                  <a:pt x="212466" y="2480337"/>
                  <a:pt x="172679" y="2520315"/>
                  <a:pt x="123365" y="2520315"/>
                </a:cubicBezTo>
                <a:cubicBezTo>
                  <a:pt x="73971" y="2520315"/>
                  <a:pt x="34184" y="2480337"/>
                  <a:pt x="34184" y="2431145"/>
                </a:cubicBezTo>
                <a:cubicBezTo>
                  <a:pt x="34184" y="2381953"/>
                  <a:pt x="73971" y="2341975"/>
                  <a:pt x="123365" y="2341975"/>
                </a:cubicBezTo>
                <a:close/>
                <a:moveTo>
                  <a:pt x="4223054" y="2257692"/>
                </a:moveTo>
                <a:cubicBezTo>
                  <a:pt x="4285497" y="2257692"/>
                  <a:pt x="4336252" y="2308326"/>
                  <a:pt x="4336252" y="2370897"/>
                </a:cubicBezTo>
                <a:cubicBezTo>
                  <a:pt x="4336252" y="2433548"/>
                  <a:pt x="4285497" y="2484262"/>
                  <a:pt x="4223054" y="2484262"/>
                </a:cubicBezTo>
                <a:cubicBezTo>
                  <a:pt x="4160612" y="2484262"/>
                  <a:pt x="4109857" y="2433548"/>
                  <a:pt x="4109857" y="2370897"/>
                </a:cubicBezTo>
                <a:cubicBezTo>
                  <a:pt x="4109857" y="2308326"/>
                  <a:pt x="4160612" y="2257692"/>
                  <a:pt x="4223054" y="2257692"/>
                </a:cubicBezTo>
                <a:close/>
                <a:moveTo>
                  <a:pt x="464959" y="2257452"/>
                </a:moveTo>
                <a:cubicBezTo>
                  <a:pt x="527561" y="2257452"/>
                  <a:pt x="578156" y="2308246"/>
                  <a:pt x="578156" y="2370817"/>
                </a:cubicBezTo>
                <a:cubicBezTo>
                  <a:pt x="578156" y="2433469"/>
                  <a:pt x="527561" y="2484183"/>
                  <a:pt x="464959" y="2484183"/>
                </a:cubicBezTo>
                <a:cubicBezTo>
                  <a:pt x="402356" y="2484183"/>
                  <a:pt x="351921" y="2433469"/>
                  <a:pt x="351921" y="2370817"/>
                </a:cubicBezTo>
                <a:cubicBezTo>
                  <a:pt x="351921" y="2308246"/>
                  <a:pt x="402356" y="2257452"/>
                  <a:pt x="464959" y="2257452"/>
                </a:cubicBezTo>
                <a:close/>
                <a:moveTo>
                  <a:pt x="3881460" y="2179498"/>
                </a:moveTo>
                <a:cubicBezTo>
                  <a:pt x="3953909" y="2179498"/>
                  <a:pt x="4012510" y="2238224"/>
                  <a:pt x="4012510" y="2310569"/>
                </a:cubicBezTo>
                <a:cubicBezTo>
                  <a:pt x="4012510" y="2382995"/>
                  <a:pt x="3953909" y="2441800"/>
                  <a:pt x="3881460" y="2441800"/>
                </a:cubicBezTo>
                <a:cubicBezTo>
                  <a:pt x="3809171" y="2441800"/>
                  <a:pt x="3750330" y="2382995"/>
                  <a:pt x="3750330" y="2310569"/>
                </a:cubicBezTo>
                <a:cubicBezTo>
                  <a:pt x="3750330" y="2238224"/>
                  <a:pt x="3809171" y="2179498"/>
                  <a:pt x="3881460" y="2179498"/>
                </a:cubicBezTo>
                <a:close/>
                <a:moveTo>
                  <a:pt x="806713" y="2179498"/>
                </a:moveTo>
                <a:cubicBezTo>
                  <a:pt x="879082" y="2179498"/>
                  <a:pt x="937763" y="2238144"/>
                  <a:pt x="937763" y="2310569"/>
                </a:cubicBezTo>
                <a:cubicBezTo>
                  <a:pt x="937763" y="2382995"/>
                  <a:pt x="879162" y="2441800"/>
                  <a:pt x="806713" y="2441800"/>
                </a:cubicBezTo>
                <a:cubicBezTo>
                  <a:pt x="734423" y="2441800"/>
                  <a:pt x="675583" y="2382995"/>
                  <a:pt x="675583" y="2310569"/>
                </a:cubicBezTo>
                <a:cubicBezTo>
                  <a:pt x="675583" y="2238224"/>
                  <a:pt x="734343" y="2179498"/>
                  <a:pt x="806713" y="2179498"/>
                </a:cubicBezTo>
                <a:close/>
                <a:moveTo>
                  <a:pt x="89181" y="1950284"/>
                </a:moveTo>
                <a:cubicBezTo>
                  <a:pt x="138335" y="1950284"/>
                  <a:pt x="178282" y="1990262"/>
                  <a:pt x="178282" y="2039454"/>
                </a:cubicBezTo>
                <a:cubicBezTo>
                  <a:pt x="178282" y="2088726"/>
                  <a:pt x="138255" y="2128624"/>
                  <a:pt x="89181" y="2128624"/>
                </a:cubicBezTo>
                <a:cubicBezTo>
                  <a:pt x="39947" y="2128624"/>
                  <a:pt x="0" y="2088646"/>
                  <a:pt x="0" y="2039454"/>
                </a:cubicBezTo>
                <a:cubicBezTo>
                  <a:pt x="0" y="1990262"/>
                  <a:pt x="39947" y="1950284"/>
                  <a:pt x="89181" y="1950284"/>
                </a:cubicBezTo>
                <a:close/>
                <a:moveTo>
                  <a:pt x="4597391" y="1950204"/>
                </a:moveTo>
                <a:cubicBezTo>
                  <a:pt x="4646545" y="1950204"/>
                  <a:pt x="4686492" y="1990182"/>
                  <a:pt x="4686492" y="2039374"/>
                </a:cubicBezTo>
                <a:cubicBezTo>
                  <a:pt x="4686492" y="2088566"/>
                  <a:pt x="4646545" y="2128544"/>
                  <a:pt x="4597391" y="2128544"/>
                </a:cubicBezTo>
                <a:cubicBezTo>
                  <a:pt x="4547997" y="2128544"/>
                  <a:pt x="4508050" y="2088566"/>
                  <a:pt x="4508050" y="2039374"/>
                </a:cubicBezTo>
                <a:cubicBezTo>
                  <a:pt x="4508050" y="1990182"/>
                  <a:pt x="4547997" y="1950204"/>
                  <a:pt x="4597391" y="1950204"/>
                </a:cubicBezTo>
                <a:close/>
                <a:moveTo>
                  <a:pt x="4252194" y="1926169"/>
                </a:moveTo>
                <a:cubicBezTo>
                  <a:pt x="4314558" y="1926169"/>
                  <a:pt x="4365312" y="1976963"/>
                  <a:pt x="4365232" y="2039534"/>
                </a:cubicBezTo>
                <a:cubicBezTo>
                  <a:pt x="4365232" y="2102105"/>
                  <a:pt x="4314477" y="2152900"/>
                  <a:pt x="4252194" y="2152900"/>
                </a:cubicBezTo>
                <a:cubicBezTo>
                  <a:pt x="4189592" y="2152900"/>
                  <a:pt x="4138837" y="2102105"/>
                  <a:pt x="4138837" y="2039534"/>
                </a:cubicBezTo>
                <a:cubicBezTo>
                  <a:pt x="4138837" y="1977043"/>
                  <a:pt x="4189592" y="1926169"/>
                  <a:pt x="4252194" y="1926169"/>
                </a:cubicBezTo>
                <a:close/>
                <a:moveTo>
                  <a:pt x="436060" y="1926088"/>
                </a:moveTo>
                <a:cubicBezTo>
                  <a:pt x="498662" y="1926088"/>
                  <a:pt x="549257" y="1976962"/>
                  <a:pt x="549257" y="2039454"/>
                </a:cubicBezTo>
                <a:cubicBezTo>
                  <a:pt x="549257" y="2102025"/>
                  <a:pt x="498662" y="2152819"/>
                  <a:pt x="436060" y="2152819"/>
                </a:cubicBezTo>
                <a:cubicBezTo>
                  <a:pt x="373537" y="2152819"/>
                  <a:pt x="322862" y="2102105"/>
                  <a:pt x="322862" y="2039454"/>
                </a:cubicBezTo>
                <a:cubicBezTo>
                  <a:pt x="322862" y="1976962"/>
                  <a:pt x="373537" y="1926088"/>
                  <a:pt x="436060" y="1926088"/>
                </a:cubicBezTo>
                <a:close/>
                <a:moveTo>
                  <a:pt x="3905237" y="1908383"/>
                </a:moveTo>
                <a:cubicBezTo>
                  <a:pt x="3977606" y="1908383"/>
                  <a:pt x="4036287" y="1967109"/>
                  <a:pt x="4036287" y="2039534"/>
                </a:cubicBezTo>
                <a:cubicBezTo>
                  <a:pt x="4036287" y="2111960"/>
                  <a:pt x="3977686" y="2170685"/>
                  <a:pt x="3905237" y="2170685"/>
                </a:cubicBezTo>
                <a:cubicBezTo>
                  <a:pt x="3832787" y="2170685"/>
                  <a:pt x="3774107" y="2111960"/>
                  <a:pt x="3774107" y="2039534"/>
                </a:cubicBezTo>
                <a:cubicBezTo>
                  <a:pt x="3774107" y="1967109"/>
                  <a:pt x="3832787" y="1908383"/>
                  <a:pt x="3905237" y="1908383"/>
                </a:cubicBezTo>
                <a:close/>
                <a:moveTo>
                  <a:pt x="783097" y="1908383"/>
                </a:moveTo>
                <a:cubicBezTo>
                  <a:pt x="855386" y="1908383"/>
                  <a:pt x="914067" y="1967109"/>
                  <a:pt x="914067" y="2039534"/>
                </a:cubicBezTo>
                <a:cubicBezTo>
                  <a:pt x="914067" y="2111960"/>
                  <a:pt x="855386" y="2170685"/>
                  <a:pt x="783097" y="2170685"/>
                </a:cubicBezTo>
                <a:cubicBezTo>
                  <a:pt x="710567" y="2170685"/>
                  <a:pt x="651887" y="2111960"/>
                  <a:pt x="651887" y="2039534"/>
                </a:cubicBezTo>
                <a:cubicBezTo>
                  <a:pt x="651887" y="1967109"/>
                  <a:pt x="710487" y="1908383"/>
                  <a:pt x="783097" y="1908383"/>
                </a:cubicBezTo>
                <a:close/>
                <a:moveTo>
                  <a:pt x="3881460" y="1637027"/>
                </a:moveTo>
                <a:cubicBezTo>
                  <a:pt x="3953909" y="1637027"/>
                  <a:pt x="4012510" y="1695753"/>
                  <a:pt x="4012510" y="1768178"/>
                </a:cubicBezTo>
                <a:cubicBezTo>
                  <a:pt x="4012510" y="1840764"/>
                  <a:pt x="3953909" y="1899329"/>
                  <a:pt x="3881460" y="1899329"/>
                </a:cubicBezTo>
                <a:cubicBezTo>
                  <a:pt x="3809171" y="1899329"/>
                  <a:pt x="3750330" y="1840764"/>
                  <a:pt x="3750330" y="1768178"/>
                </a:cubicBezTo>
                <a:cubicBezTo>
                  <a:pt x="3750330" y="1695753"/>
                  <a:pt x="3809171" y="1637027"/>
                  <a:pt x="3881460" y="1637027"/>
                </a:cubicBezTo>
                <a:close/>
                <a:moveTo>
                  <a:pt x="806633" y="1637027"/>
                </a:moveTo>
                <a:cubicBezTo>
                  <a:pt x="879002" y="1637027"/>
                  <a:pt x="937683" y="1695753"/>
                  <a:pt x="937683" y="1768178"/>
                </a:cubicBezTo>
                <a:cubicBezTo>
                  <a:pt x="937683" y="1840764"/>
                  <a:pt x="879082" y="1899329"/>
                  <a:pt x="806633" y="1899329"/>
                </a:cubicBezTo>
                <a:cubicBezTo>
                  <a:pt x="734343" y="1899329"/>
                  <a:pt x="675583" y="1840764"/>
                  <a:pt x="675503" y="1768178"/>
                </a:cubicBezTo>
                <a:cubicBezTo>
                  <a:pt x="675503" y="1695753"/>
                  <a:pt x="734343" y="1637027"/>
                  <a:pt x="806633" y="1637027"/>
                </a:cubicBezTo>
                <a:close/>
                <a:moveTo>
                  <a:pt x="4222975" y="1594645"/>
                </a:moveTo>
                <a:cubicBezTo>
                  <a:pt x="4285417" y="1594645"/>
                  <a:pt x="4336172" y="1645199"/>
                  <a:pt x="4336172" y="1707850"/>
                </a:cubicBezTo>
                <a:cubicBezTo>
                  <a:pt x="4336172" y="1770421"/>
                  <a:pt x="4285417" y="1821215"/>
                  <a:pt x="4222975" y="1821215"/>
                </a:cubicBezTo>
                <a:cubicBezTo>
                  <a:pt x="4160532" y="1821215"/>
                  <a:pt x="4109777" y="1770421"/>
                  <a:pt x="4109777" y="1707850"/>
                </a:cubicBezTo>
                <a:cubicBezTo>
                  <a:pt x="4109777" y="1645199"/>
                  <a:pt x="4160532" y="1594645"/>
                  <a:pt x="4222975" y="1594645"/>
                </a:cubicBezTo>
                <a:close/>
                <a:moveTo>
                  <a:pt x="464959" y="1594645"/>
                </a:moveTo>
                <a:cubicBezTo>
                  <a:pt x="527561" y="1594645"/>
                  <a:pt x="578156" y="1645359"/>
                  <a:pt x="578156" y="1707850"/>
                </a:cubicBezTo>
                <a:cubicBezTo>
                  <a:pt x="578156" y="1770421"/>
                  <a:pt x="527561" y="1821215"/>
                  <a:pt x="464959" y="1821215"/>
                </a:cubicBezTo>
                <a:cubicBezTo>
                  <a:pt x="402356" y="1821215"/>
                  <a:pt x="351921" y="1770421"/>
                  <a:pt x="351921" y="1707850"/>
                </a:cubicBezTo>
                <a:cubicBezTo>
                  <a:pt x="351921" y="1645359"/>
                  <a:pt x="402356" y="1594645"/>
                  <a:pt x="464959" y="1594645"/>
                </a:cubicBezTo>
                <a:close/>
                <a:moveTo>
                  <a:pt x="123365" y="1558432"/>
                </a:moveTo>
                <a:cubicBezTo>
                  <a:pt x="172679" y="1558432"/>
                  <a:pt x="212466" y="1598250"/>
                  <a:pt x="212466" y="1647602"/>
                </a:cubicBezTo>
                <a:cubicBezTo>
                  <a:pt x="212466" y="1696794"/>
                  <a:pt x="172679" y="1736772"/>
                  <a:pt x="123365" y="1736772"/>
                </a:cubicBezTo>
                <a:cubicBezTo>
                  <a:pt x="74051" y="1736772"/>
                  <a:pt x="34184" y="1696874"/>
                  <a:pt x="34184" y="1647602"/>
                </a:cubicBezTo>
                <a:cubicBezTo>
                  <a:pt x="34184" y="1598250"/>
                  <a:pt x="73971" y="1558432"/>
                  <a:pt x="123365" y="1558432"/>
                </a:cubicBezTo>
                <a:close/>
                <a:moveTo>
                  <a:pt x="2354654" y="1508840"/>
                </a:moveTo>
                <a:cubicBezTo>
                  <a:pt x="2643972" y="1508840"/>
                  <a:pt x="2878373" y="1743582"/>
                  <a:pt x="2878293" y="2032884"/>
                </a:cubicBezTo>
                <a:cubicBezTo>
                  <a:pt x="2878293" y="2322426"/>
                  <a:pt x="2643972" y="2556928"/>
                  <a:pt x="2354654" y="2556928"/>
                </a:cubicBezTo>
                <a:cubicBezTo>
                  <a:pt x="2065656" y="2556928"/>
                  <a:pt x="1831015" y="2322426"/>
                  <a:pt x="1831015" y="2032884"/>
                </a:cubicBezTo>
                <a:cubicBezTo>
                  <a:pt x="1831015" y="1743582"/>
                  <a:pt x="2065656" y="1508840"/>
                  <a:pt x="2354654" y="1508840"/>
                </a:cubicBezTo>
                <a:close/>
                <a:moveTo>
                  <a:pt x="3811092" y="1374003"/>
                </a:moveTo>
                <a:cubicBezTo>
                  <a:pt x="3883381" y="1374003"/>
                  <a:pt x="3942142" y="1432649"/>
                  <a:pt x="3942142" y="1505074"/>
                </a:cubicBezTo>
                <a:cubicBezTo>
                  <a:pt x="3942142" y="1577580"/>
                  <a:pt x="3883381" y="1636306"/>
                  <a:pt x="3811092" y="1636306"/>
                </a:cubicBezTo>
                <a:cubicBezTo>
                  <a:pt x="3738642" y="1636306"/>
                  <a:pt x="3679962" y="1577580"/>
                  <a:pt x="3679962" y="1505074"/>
                </a:cubicBezTo>
                <a:cubicBezTo>
                  <a:pt x="3679962" y="1432729"/>
                  <a:pt x="3738642" y="1374003"/>
                  <a:pt x="3811092" y="1374003"/>
                </a:cubicBezTo>
                <a:close/>
                <a:moveTo>
                  <a:pt x="877161" y="1374003"/>
                </a:moveTo>
                <a:cubicBezTo>
                  <a:pt x="949450" y="1374003"/>
                  <a:pt x="1008211" y="1432649"/>
                  <a:pt x="1008211" y="1505074"/>
                </a:cubicBezTo>
                <a:cubicBezTo>
                  <a:pt x="1008211" y="1577580"/>
                  <a:pt x="949450" y="1636306"/>
                  <a:pt x="877161" y="1636306"/>
                </a:cubicBezTo>
                <a:cubicBezTo>
                  <a:pt x="804871" y="1636306"/>
                  <a:pt x="745951" y="1577580"/>
                  <a:pt x="745951" y="1505074"/>
                </a:cubicBezTo>
                <a:cubicBezTo>
                  <a:pt x="745951" y="1432729"/>
                  <a:pt x="804871" y="1374003"/>
                  <a:pt x="877161" y="1374003"/>
                </a:cubicBezTo>
                <a:close/>
                <a:moveTo>
                  <a:pt x="2232810" y="1301498"/>
                </a:moveTo>
                <a:cubicBezTo>
                  <a:pt x="2214317" y="1359262"/>
                  <a:pt x="2162041" y="1401804"/>
                  <a:pt x="2098078" y="1401804"/>
                </a:cubicBezTo>
                <a:cubicBezTo>
                  <a:pt x="2060532" y="1401804"/>
                  <a:pt x="2027229" y="1386502"/>
                  <a:pt x="2001611" y="1363027"/>
                </a:cubicBezTo>
                <a:cubicBezTo>
                  <a:pt x="2002092" y="1368555"/>
                  <a:pt x="2004734" y="1373042"/>
                  <a:pt x="2004734" y="1378650"/>
                </a:cubicBezTo>
                <a:cubicBezTo>
                  <a:pt x="2004734" y="1458046"/>
                  <a:pt x="1940450" y="1522220"/>
                  <a:pt x="1861195" y="1522220"/>
                </a:cubicBezTo>
                <a:cubicBezTo>
                  <a:pt x="1844784" y="1522220"/>
                  <a:pt x="1829093" y="1519335"/>
                  <a:pt x="1814443" y="1514288"/>
                </a:cubicBezTo>
                <a:cubicBezTo>
                  <a:pt x="1816605" y="1524142"/>
                  <a:pt x="1817806" y="1534397"/>
                  <a:pt x="1817806" y="1544973"/>
                </a:cubicBezTo>
                <a:cubicBezTo>
                  <a:pt x="1817806" y="1620122"/>
                  <a:pt x="1760006" y="1681652"/>
                  <a:pt x="1686356" y="1687901"/>
                </a:cubicBezTo>
                <a:cubicBezTo>
                  <a:pt x="1706129" y="1712497"/>
                  <a:pt x="1718057" y="1743663"/>
                  <a:pt x="1718057" y="1777712"/>
                </a:cubicBezTo>
                <a:cubicBezTo>
                  <a:pt x="1718057" y="1849577"/>
                  <a:pt x="1664420" y="1906300"/>
                  <a:pt x="1595974" y="1916955"/>
                </a:cubicBezTo>
                <a:cubicBezTo>
                  <a:pt x="1638643" y="1941792"/>
                  <a:pt x="1668663" y="1986256"/>
                  <a:pt x="1668663" y="2039374"/>
                </a:cubicBezTo>
                <a:cubicBezTo>
                  <a:pt x="1668663" y="2092411"/>
                  <a:pt x="1638643" y="2136796"/>
                  <a:pt x="1595974" y="2161712"/>
                </a:cubicBezTo>
                <a:cubicBezTo>
                  <a:pt x="1664420" y="2172368"/>
                  <a:pt x="1718057" y="2229251"/>
                  <a:pt x="1718057" y="2300955"/>
                </a:cubicBezTo>
                <a:cubicBezTo>
                  <a:pt x="1718057" y="2335966"/>
                  <a:pt x="1704048" y="2367052"/>
                  <a:pt x="1683153" y="2391888"/>
                </a:cubicBezTo>
                <a:cubicBezTo>
                  <a:pt x="1757925" y="2396775"/>
                  <a:pt x="1817806" y="2457504"/>
                  <a:pt x="1817806" y="2533614"/>
                </a:cubicBezTo>
                <a:cubicBezTo>
                  <a:pt x="1817806" y="2545392"/>
                  <a:pt x="1813723" y="2555727"/>
                  <a:pt x="1811241" y="2566542"/>
                </a:cubicBezTo>
                <a:cubicBezTo>
                  <a:pt x="1826772" y="2560694"/>
                  <a:pt x="1843503" y="2556448"/>
                  <a:pt x="1861195" y="2556448"/>
                </a:cubicBezTo>
                <a:cubicBezTo>
                  <a:pt x="1940530" y="2556448"/>
                  <a:pt x="2004734" y="2620782"/>
                  <a:pt x="2004734" y="2700097"/>
                </a:cubicBezTo>
                <a:cubicBezTo>
                  <a:pt x="2004734" y="2705705"/>
                  <a:pt x="2002172" y="2710352"/>
                  <a:pt x="2001611" y="2715800"/>
                </a:cubicBezTo>
                <a:cubicBezTo>
                  <a:pt x="2027309" y="2692326"/>
                  <a:pt x="2060612" y="2677184"/>
                  <a:pt x="2098078" y="2677184"/>
                </a:cubicBezTo>
                <a:cubicBezTo>
                  <a:pt x="2162041" y="2677184"/>
                  <a:pt x="2214237" y="2719485"/>
                  <a:pt x="2232810" y="2777250"/>
                </a:cubicBezTo>
                <a:cubicBezTo>
                  <a:pt x="2259148" y="2743761"/>
                  <a:pt x="2298055" y="2720847"/>
                  <a:pt x="2344006" y="2720847"/>
                </a:cubicBezTo>
                <a:cubicBezTo>
                  <a:pt x="2389878" y="2720847"/>
                  <a:pt x="2429024" y="2743761"/>
                  <a:pt x="2455202" y="2777330"/>
                </a:cubicBezTo>
                <a:cubicBezTo>
                  <a:pt x="2473775" y="2719566"/>
                  <a:pt x="2525971" y="2677104"/>
                  <a:pt x="2589855" y="2677104"/>
                </a:cubicBezTo>
                <a:cubicBezTo>
                  <a:pt x="2627481" y="2677104"/>
                  <a:pt x="2660863" y="2692246"/>
                  <a:pt x="2686401" y="2715720"/>
                </a:cubicBezTo>
                <a:cubicBezTo>
                  <a:pt x="2685840" y="2710272"/>
                  <a:pt x="2683119" y="2705625"/>
                  <a:pt x="2683119" y="2700017"/>
                </a:cubicBezTo>
                <a:cubicBezTo>
                  <a:pt x="2683119" y="2620782"/>
                  <a:pt x="2747403" y="2556448"/>
                  <a:pt x="2826737" y="2556528"/>
                </a:cubicBezTo>
                <a:cubicBezTo>
                  <a:pt x="2844509" y="2556528"/>
                  <a:pt x="2861081" y="2560774"/>
                  <a:pt x="2876771" y="2566623"/>
                </a:cubicBezTo>
                <a:cubicBezTo>
                  <a:pt x="2874049" y="2555807"/>
                  <a:pt x="2870207" y="2545392"/>
                  <a:pt x="2870207" y="2533694"/>
                </a:cubicBezTo>
                <a:cubicBezTo>
                  <a:pt x="2870207" y="2457583"/>
                  <a:pt x="2929848" y="2396855"/>
                  <a:pt x="3004859" y="2391968"/>
                </a:cubicBezTo>
                <a:cubicBezTo>
                  <a:pt x="2983885" y="2367132"/>
                  <a:pt x="2969795" y="2336127"/>
                  <a:pt x="2969795" y="2301035"/>
                </a:cubicBezTo>
                <a:cubicBezTo>
                  <a:pt x="2969795" y="2229331"/>
                  <a:pt x="3023272" y="2172448"/>
                  <a:pt x="3092039" y="2161792"/>
                </a:cubicBezTo>
                <a:cubicBezTo>
                  <a:pt x="3049290" y="2136876"/>
                  <a:pt x="3019109" y="2092411"/>
                  <a:pt x="3019109" y="2039454"/>
                </a:cubicBezTo>
                <a:cubicBezTo>
                  <a:pt x="3019109" y="1986336"/>
                  <a:pt x="3049210" y="1941871"/>
                  <a:pt x="3092039" y="1917035"/>
                </a:cubicBezTo>
                <a:cubicBezTo>
                  <a:pt x="3023272" y="1906380"/>
                  <a:pt x="2969795" y="1849657"/>
                  <a:pt x="2969795" y="1777792"/>
                </a:cubicBezTo>
                <a:cubicBezTo>
                  <a:pt x="2969795" y="1742781"/>
                  <a:pt x="2983885" y="1711696"/>
                  <a:pt x="3004859" y="1686860"/>
                </a:cubicBezTo>
                <a:cubicBezTo>
                  <a:pt x="2929848" y="1682053"/>
                  <a:pt x="2870207" y="1621244"/>
                  <a:pt x="2870207" y="1545053"/>
                </a:cubicBezTo>
                <a:cubicBezTo>
                  <a:pt x="2870207" y="1533436"/>
                  <a:pt x="2874049" y="1523021"/>
                  <a:pt x="2876771" y="1512205"/>
                </a:cubicBezTo>
                <a:cubicBezTo>
                  <a:pt x="2861161" y="1518054"/>
                  <a:pt x="2844509" y="1522220"/>
                  <a:pt x="2826737" y="1522220"/>
                </a:cubicBezTo>
                <a:cubicBezTo>
                  <a:pt x="2747323" y="1522220"/>
                  <a:pt x="2683119" y="1458046"/>
                  <a:pt x="2683119" y="1378650"/>
                </a:cubicBezTo>
                <a:cubicBezTo>
                  <a:pt x="2683119" y="1373042"/>
                  <a:pt x="2685840" y="1368555"/>
                  <a:pt x="2686401" y="1363027"/>
                </a:cubicBezTo>
                <a:cubicBezTo>
                  <a:pt x="2660863" y="1386582"/>
                  <a:pt x="2627481" y="1401804"/>
                  <a:pt x="2589855" y="1401804"/>
                </a:cubicBezTo>
                <a:cubicBezTo>
                  <a:pt x="2525971" y="1401804"/>
                  <a:pt x="2473775" y="1359262"/>
                  <a:pt x="2455202" y="1301578"/>
                </a:cubicBezTo>
                <a:cubicBezTo>
                  <a:pt x="2428944" y="1334987"/>
                  <a:pt x="2389878" y="1357900"/>
                  <a:pt x="2344006" y="1357900"/>
                </a:cubicBezTo>
                <a:cubicBezTo>
                  <a:pt x="2297975" y="1357900"/>
                  <a:pt x="2259148" y="1334987"/>
                  <a:pt x="2232810" y="1301498"/>
                </a:cubicBezTo>
                <a:close/>
                <a:moveTo>
                  <a:pt x="551018" y="1273136"/>
                </a:moveTo>
                <a:cubicBezTo>
                  <a:pt x="613620" y="1273136"/>
                  <a:pt x="664375" y="1323850"/>
                  <a:pt x="664375" y="1386502"/>
                </a:cubicBezTo>
                <a:cubicBezTo>
                  <a:pt x="664375" y="1448912"/>
                  <a:pt x="613620" y="1499787"/>
                  <a:pt x="551018" y="1499787"/>
                </a:cubicBezTo>
                <a:cubicBezTo>
                  <a:pt x="488575" y="1499787"/>
                  <a:pt x="437980" y="1448832"/>
                  <a:pt x="437980" y="1386502"/>
                </a:cubicBezTo>
                <a:cubicBezTo>
                  <a:pt x="437980" y="1323850"/>
                  <a:pt x="488575" y="1273136"/>
                  <a:pt x="551018" y="1273136"/>
                </a:cubicBezTo>
                <a:close/>
                <a:moveTo>
                  <a:pt x="4137076" y="1273056"/>
                </a:moveTo>
                <a:cubicBezTo>
                  <a:pt x="4199518" y="1273056"/>
                  <a:pt x="4250273" y="1323850"/>
                  <a:pt x="4250273" y="1386261"/>
                </a:cubicBezTo>
                <a:cubicBezTo>
                  <a:pt x="4250273" y="1448912"/>
                  <a:pt x="4199518" y="1499626"/>
                  <a:pt x="4137076" y="1499626"/>
                </a:cubicBezTo>
                <a:cubicBezTo>
                  <a:pt x="4074473" y="1499626"/>
                  <a:pt x="4023878" y="1448912"/>
                  <a:pt x="4023878" y="1386261"/>
                </a:cubicBezTo>
                <a:cubicBezTo>
                  <a:pt x="4023878" y="1323850"/>
                  <a:pt x="4074473" y="1273056"/>
                  <a:pt x="4137076" y="1273056"/>
                </a:cubicBezTo>
                <a:close/>
                <a:moveTo>
                  <a:pt x="3694852" y="1127163"/>
                </a:moveTo>
                <a:cubicBezTo>
                  <a:pt x="3767142" y="1127163"/>
                  <a:pt x="3825821" y="1185889"/>
                  <a:pt x="3825821" y="1258314"/>
                </a:cubicBezTo>
                <a:cubicBezTo>
                  <a:pt x="3825821" y="1330820"/>
                  <a:pt x="3767142" y="1389546"/>
                  <a:pt x="3694852" y="1389546"/>
                </a:cubicBezTo>
                <a:cubicBezTo>
                  <a:pt x="3622242" y="1389546"/>
                  <a:pt x="3563802" y="1330900"/>
                  <a:pt x="3563802" y="1258314"/>
                </a:cubicBezTo>
                <a:cubicBezTo>
                  <a:pt x="3563802" y="1185889"/>
                  <a:pt x="3622242" y="1127163"/>
                  <a:pt x="3694852" y="1127163"/>
                </a:cubicBezTo>
                <a:close/>
                <a:moveTo>
                  <a:pt x="992120" y="1127163"/>
                </a:moveTo>
                <a:cubicBezTo>
                  <a:pt x="1064410" y="1127163"/>
                  <a:pt x="1123090" y="1185889"/>
                  <a:pt x="1123090" y="1258314"/>
                </a:cubicBezTo>
                <a:cubicBezTo>
                  <a:pt x="1123090" y="1330820"/>
                  <a:pt x="1064410" y="1389546"/>
                  <a:pt x="992120" y="1389546"/>
                </a:cubicBezTo>
                <a:cubicBezTo>
                  <a:pt x="919750" y="1389546"/>
                  <a:pt x="860990" y="1330900"/>
                  <a:pt x="860910" y="1258314"/>
                </a:cubicBezTo>
                <a:cubicBezTo>
                  <a:pt x="860910" y="1185889"/>
                  <a:pt x="919670" y="1127163"/>
                  <a:pt x="992120" y="1127163"/>
                </a:cubicBezTo>
                <a:close/>
                <a:moveTo>
                  <a:pt x="2344006" y="1070601"/>
                </a:moveTo>
                <a:cubicBezTo>
                  <a:pt x="2407970" y="1070601"/>
                  <a:pt x="2460086" y="1113063"/>
                  <a:pt x="2478739" y="1170827"/>
                </a:cubicBezTo>
                <a:cubicBezTo>
                  <a:pt x="2505077" y="1137258"/>
                  <a:pt x="2544063" y="1114345"/>
                  <a:pt x="2589775" y="1114345"/>
                </a:cubicBezTo>
                <a:cubicBezTo>
                  <a:pt x="2669189" y="1114345"/>
                  <a:pt x="2733393" y="1178679"/>
                  <a:pt x="2733393" y="1258074"/>
                </a:cubicBezTo>
                <a:cubicBezTo>
                  <a:pt x="2733393" y="1263602"/>
                  <a:pt x="2730911" y="1268249"/>
                  <a:pt x="2730271" y="1273617"/>
                </a:cubicBezTo>
                <a:cubicBezTo>
                  <a:pt x="2755809" y="1250143"/>
                  <a:pt x="2789352" y="1235081"/>
                  <a:pt x="2826737" y="1235081"/>
                </a:cubicBezTo>
                <a:cubicBezTo>
                  <a:pt x="2906071" y="1235081"/>
                  <a:pt x="2970275" y="1299335"/>
                  <a:pt x="2970275" y="1378570"/>
                </a:cubicBezTo>
                <a:cubicBezTo>
                  <a:pt x="2970275" y="1390187"/>
                  <a:pt x="2966193" y="1400602"/>
                  <a:pt x="2963711" y="1411418"/>
                </a:cubicBezTo>
                <a:cubicBezTo>
                  <a:pt x="2979242" y="1405409"/>
                  <a:pt x="2995973" y="1401243"/>
                  <a:pt x="3013665" y="1401243"/>
                </a:cubicBezTo>
                <a:cubicBezTo>
                  <a:pt x="3093080" y="1401243"/>
                  <a:pt x="3157204" y="1465657"/>
                  <a:pt x="3157204" y="1544893"/>
                </a:cubicBezTo>
                <a:cubicBezTo>
                  <a:pt x="3157204" y="1579984"/>
                  <a:pt x="3143194" y="1610909"/>
                  <a:pt x="3122299" y="1635745"/>
                </a:cubicBezTo>
                <a:cubicBezTo>
                  <a:pt x="3197311" y="1640632"/>
                  <a:pt x="3256952" y="1701441"/>
                  <a:pt x="3256952" y="1777632"/>
                </a:cubicBezTo>
                <a:cubicBezTo>
                  <a:pt x="3256952" y="1830749"/>
                  <a:pt x="3226931" y="1875134"/>
                  <a:pt x="3184102" y="1899971"/>
                </a:cubicBezTo>
                <a:cubicBezTo>
                  <a:pt x="3252789" y="1910786"/>
                  <a:pt x="3306186" y="1967669"/>
                  <a:pt x="3306186" y="2039374"/>
                </a:cubicBezTo>
                <a:cubicBezTo>
                  <a:pt x="3306186" y="2111078"/>
                  <a:pt x="3252869" y="2167801"/>
                  <a:pt x="3184102" y="2178617"/>
                </a:cubicBezTo>
                <a:cubicBezTo>
                  <a:pt x="3226931" y="2203453"/>
                  <a:pt x="3256952" y="2247838"/>
                  <a:pt x="3256952" y="2300955"/>
                </a:cubicBezTo>
                <a:cubicBezTo>
                  <a:pt x="3256952" y="2377146"/>
                  <a:pt x="3197311" y="2437955"/>
                  <a:pt x="3122299" y="2442842"/>
                </a:cubicBezTo>
                <a:cubicBezTo>
                  <a:pt x="3143114" y="2467678"/>
                  <a:pt x="3157204" y="2498603"/>
                  <a:pt x="3157204" y="2533614"/>
                </a:cubicBezTo>
                <a:cubicBezTo>
                  <a:pt x="3157204" y="2613090"/>
                  <a:pt x="3093080" y="2677344"/>
                  <a:pt x="3013665" y="2677344"/>
                </a:cubicBezTo>
                <a:cubicBezTo>
                  <a:pt x="2995893" y="2677344"/>
                  <a:pt x="2979242" y="2673098"/>
                  <a:pt x="2963711" y="2667249"/>
                </a:cubicBezTo>
                <a:cubicBezTo>
                  <a:pt x="2966193" y="2678065"/>
                  <a:pt x="2970275" y="2688400"/>
                  <a:pt x="2970275" y="2700017"/>
                </a:cubicBezTo>
                <a:cubicBezTo>
                  <a:pt x="2970275" y="2779413"/>
                  <a:pt x="2906071" y="2843747"/>
                  <a:pt x="2826817" y="2843827"/>
                </a:cubicBezTo>
                <a:cubicBezTo>
                  <a:pt x="2789431" y="2843827"/>
                  <a:pt x="2755888" y="2828524"/>
                  <a:pt x="2730351" y="2805050"/>
                </a:cubicBezTo>
                <a:cubicBezTo>
                  <a:pt x="2730991" y="2810338"/>
                  <a:pt x="2733473" y="2815145"/>
                  <a:pt x="2733473" y="2820593"/>
                </a:cubicBezTo>
                <a:cubicBezTo>
                  <a:pt x="2733473" y="2899989"/>
                  <a:pt x="2669269" y="2964242"/>
                  <a:pt x="2589855" y="2964242"/>
                </a:cubicBezTo>
                <a:cubicBezTo>
                  <a:pt x="2544143" y="2964242"/>
                  <a:pt x="2505157" y="2941249"/>
                  <a:pt x="2478819" y="2907840"/>
                </a:cubicBezTo>
                <a:cubicBezTo>
                  <a:pt x="2460166" y="2965444"/>
                  <a:pt x="2407970" y="3008146"/>
                  <a:pt x="2344086" y="3008146"/>
                </a:cubicBezTo>
                <a:cubicBezTo>
                  <a:pt x="2280122" y="3008146"/>
                  <a:pt x="2227927" y="2965444"/>
                  <a:pt x="2209354" y="2907840"/>
                </a:cubicBezTo>
                <a:cubicBezTo>
                  <a:pt x="2183016" y="2941329"/>
                  <a:pt x="2144109" y="2964242"/>
                  <a:pt x="2098158" y="2964242"/>
                </a:cubicBezTo>
                <a:cubicBezTo>
                  <a:pt x="2018903" y="2964242"/>
                  <a:pt x="1954699" y="2899909"/>
                  <a:pt x="1954699" y="2820593"/>
                </a:cubicBezTo>
                <a:cubicBezTo>
                  <a:pt x="1954699" y="2815145"/>
                  <a:pt x="1957261" y="2810338"/>
                  <a:pt x="1957822" y="2805050"/>
                </a:cubicBezTo>
                <a:cubicBezTo>
                  <a:pt x="1932124" y="2828524"/>
                  <a:pt x="1898901" y="2843827"/>
                  <a:pt x="1861355" y="2843827"/>
                </a:cubicBezTo>
                <a:cubicBezTo>
                  <a:pt x="1782101" y="2843827"/>
                  <a:pt x="1717977" y="2779413"/>
                  <a:pt x="1717977" y="2700097"/>
                </a:cubicBezTo>
                <a:cubicBezTo>
                  <a:pt x="1717977" y="2688480"/>
                  <a:pt x="1721820" y="2678145"/>
                  <a:pt x="1724542" y="2667329"/>
                </a:cubicBezTo>
                <a:cubicBezTo>
                  <a:pt x="1708931" y="2673178"/>
                  <a:pt x="1692280" y="2677424"/>
                  <a:pt x="1674507" y="2677424"/>
                </a:cubicBezTo>
                <a:cubicBezTo>
                  <a:pt x="1595093" y="2677424"/>
                  <a:pt x="1530889" y="2613170"/>
                  <a:pt x="1530889" y="2533694"/>
                </a:cubicBezTo>
                <a:cubicBezTo>
                  <a:pt x="1530889" y="2498683"/>
                  <a:pt x="1545059" y="2467758"/>
                  <a:pt x="1565793" y="2442922"/>
                </a:cubicBezTo>
                <a:cubicBezTo>
                  <a:pt x="1491022" y="2438035"/>
                  <a:pt x="1431301" y="2377226"/>
                  <a:pt x="1431301" y="2301035"/>
                </a:cubicBezTo>
                <a:cubicBezTo>
                  <a:pt x="1431301" y="2247918"/>
                  <a:pt x="1461321" y="2203533"/>
                  <a:pt x="1504151" y="2178697"/>
                </a:cubicBezTo>
                <a:cubicBezTo>
                  <a:pt x="1435384" y="2167881"/>
                  <a:pt x="1382067" y="2111239"/>
                  <a:pt x="1382067" y="2039454"/>
                </a:cubicBezTo>
                <a:cubicBezTo>
                  <a:pt x="1382067" y="1967669"/>
                  <a:pt x="1435384" y="1910866"/>
                  <a:pt x="1504151" y="1900050"/>
                </a:cubicBezTo>
                <a:cubicBezTo>
                  <a:pt x="1461321" y="1875214"/>
                  <a:pt x="1431301" y="1830830"/>
                  <a:pt x="1431301" y="1777712"/>
                </a:cubicBezTo>
                <a:cubicBezTo>
                  <a:pt x="1431301" y="1702563"/>
                  <a:pt x="1489020" y="1640953"/>
                  <a:pt x="1562671" y="1634784"/>
                </a:cubicBezTo>
                <a:cubicBezTo>
                  <a:pt x="1542897" y="1610188"/>
                  <a:pt x="1530969" y="1579023"/>
                  <a:pt x="1530969" y="1544973"/>
                </a:cubicBezTo>
                <a:cubicBezTo>
                  <a:pt x="1530969" y="1465737"/>
                  <a:pt x="1595173" y="1401323"/>
                  <a:pt x="1674267" y="1401323"/>
                </a:cubicBezTo>
                <a:cubicBezTo>
                  <a:pt x="1690759" y="1401323"/>
                  <a:pt x="1706529" y="1404208"/>
                  <a:pt x="1721259" y="1409335"/>
                </a:cubicBezTo>
                <a:cubicBezTo>
                  <a:pt x="1719098" y="1399401"/>
                  <a:pt x="1717897" y="1389146"/>
                  <a:pt x="1717897" y="1378570"/>
                </a:cubicBezTo>
                <a:cubicBezTo>
                  <a:pt x="1717897" y="1299415"/>
                  <a:pt x="1782021" y="1235081"/>
                  <a:pt x="1861275" y="1235081"/>
                </a:cubicBezTo>
                <a:cubicBezTo>
                  <a:pt x="1898821" y="1235081"/>
                  <a:pt x="1932124" y="1250143"/>
                  <a:pt x="1957742" y="1273617"/>
                </a:cubicBezTo>
                <a:cubicBezTo>
                  <a:pt x="1957181" y="1268249"/>
                  <a:pt x="1954619" y="1263522"/>
                  <a:pt x="1954619" y="1258074"/>
                </a:cubicBezTo>
                <a:cubicBezTo>
                  <a:pt x="1954619" y="1178679"/>
                  <a:pt x="2018823" y="1114345"/>
                  <a:pt x="2098078" y="1114345"/>
                </a:cubicBezTo>
                <a:cubicBezTo>
                  <a:pt x="2144109" y="1114345"/>
                  <a:pt x="2182936" y="1137258"/>
                  <a:pt x="2209274" y="1170827"/>
                </a:cubicBezTo>
                <a:cubicBezTo>
                  <a:pt x="2227766" y="1113143"/>
                  <a:pt x="2280043" y="1070601"/>
                  <a:pt x="2344006" y="1070601"/>
                </a:cubicBezTo>
                <a:close/>
                <a:moveTo>
                  <a:pt x="3996579" y="971336"/>
                </a:moveTo>
                <a:cubicBezTo>
                  <a:pt x="4059021" y="971336"/>
                  <a:pt x="4109616" y="1022130"/>
                  <a:pt x="4109616" y="1084701"/>
                </a:cubicBezTo>
                <a:cubicBezTo>
                  <a:pt x="4109616" y="1147192"/>
                  <a:pt x="4059021" y="1198067"/>
                  <a:pt x="3996579" y="1198067"/>
                </a:cubicBezTo>
                <a:cubicBezTo>
                  <a:pt x="3933976" y="1198067"/>
                  <a:pt x="3883061" y="1147192"/>
                  <a:pt x="3883061" y="1084701"/>
                </a:cubicBezTo>
                <a:cubicBezTo>
                  <a:pt x="3883061" y="1022130"/>
                  <a:pt x="3933976" y="971336"/>
                  <a:pt x="3996579" y="971336"/>
                </a:cubicBezTo>
                <a:close/>
                <a:moveTo>
                  <a:pt x="2245699" y="915014"/>
                </a:moveTo>
                <a:cubicBezTo>
                  <a:pt x="2227127" y="946740"/>
                  <a:pt x="2195905" y="971016"/>
                  <a:pt x="2156758" y="977826"/>
                </a:cubicBezTo>
                <a:cubicBezTo>
                  <a:pt x="2117852" y="984636"/>
                  <a:pt x="2080066" y="972778"/>
                  <a:pt x="2051966" y="949304"/>
                </a:cubicBezTo>
                <a:cubicBezTo>
                  <a:pt x="2039398" y="983835"/>
                  <a:pt x="2012659" y="1012917"/>
                  <a:pt x="1975434" y="1026537"/>
                </a:cubicBezTo>
                <a:cubicBezTo>
                  <a:pt x="1938209" y="1039997"/>
                  <a:pt x="1898902" y="1034869"/>
                  <a:pt x="1867280" y="1016522"/>
                </a:cubicBezTo>
                <a:cubicBezTo>
                  <a:pt x="1860635" y="1052815"/>
                  <a:pt x="1839661" y="1085984"/>
                  <a:pt x="1805237" y="1105852"/>
                </a:cubicBezTo>
                <a:cubicBezTo>
                  <a:pt x="1770814" y="1125721"/>
                  <a:pt x="1731267" y="1127404"/>
                  <a:pt x="1696763" y="1114986"/>
                </a:cubicBezTo>
                <a:cubicBezTo>
                  <a:pt x="1696603" y="1151679"/>
                  <a:pt x="1681793" y="1188213"/>
                  <a:pt x="1651212" y="1213770"/>
                </a:cubicBezTo>
                <a:cubicBezTo>
                  <a:pt x="1620791" y="1239247"/>
                  <a:pt x="1582445" y="1247819"/>
                  <a:pt x="1546020" y="1241490"/>
                </a:cubicBezTo>
                <a:cubicBezTo>
                  <a:pt x="1552424" y="1277623"/>
                  <a:pt x="1543938" y="1316239"/>
                  <a:pt x="1518481" y="1346604"/>
                </a:cubicBezTo>
                <a:cubicBezTo>
                  <a:pt x="1492943" y="1377048"/>
                  <a:pt x="1456518" y="1392110"/>
                  <a:pt x="1419853" y="1392110"/>
                </a:cubicBezTo>
                <a:cubicBezTo>
                  <a:pt x="1432262" y="1426801"/>
                  <a:pt x="1430500" y="1466218"/>
                  <a:pt x="1410727" y="1500588"/>
                </a:cubicBezTo>
                <a:cubicBezTo>
                  <a:pt x="1390953" y="1534798"/>
                  <a:pt x="1357731" y="1556189"/>
                  <a:pt x="1321546" y="1562518"/>
                </a:cubicBezTo>
                <a:cubicBezTo>
                  <a:pt x="1339879" y="1594565"/>
                  <a:pt x="1345002" y="1633662"/>
                  <a:pt x="1331393" y="1670996"/>
                </a:cubicBezTo>
                <a:cubicBezTo>
                  <a:pt x="1317943" y="1708171"/>
                  <a:pt x="1288723" y="1734930"/>
                  <a:pt x="1254220" y="1747588"/>
                </a:cubicBezTo>
                <a:cubicBezTo>
                  <a:pt x="1277836" y="1775789"/>
                  <a:pt x="1289684" y="1813444"/>
                  <a:pt x="1282879" y="1852541"/>
                </a:cubicBezTo>
                <a:cubicBezTo>
                  <a:pt x="1276075" y="1891638"/>
                  <a:pt x="1252058" y="1922964"/>
                  <a:pt x="1220116" y="1941391"/>
                </a:cubicBezTo>
                <a:cubicBezTo>
                  <a:pt x="1248216" y="1965105"/>
                  <a:pt x="1266308" y="2000197"/>
                  <a:pt x="1266308" y="2039774"/>
                </a:cubicBezTo>
                <a:cubicBezTo>
                  <a:pt x="1266548" y="2079432"/>
                  <a:pt x="1248216" y="2114363"/>
                  <a:pt x="1220116" y="2138238"/>
                </a:cubicBezTo>
                <a:cubicBezTo>
                  <a:pt x="1251898" y="2156665"/>
                  <a:pt x="1275915" y="2188071"/>
                  <a:pt x="1282719" y="2227087"/>
                </a:cubicBezTo>
                <a:cubicBezTo>
                  <a:pt x="1289684" y="2266024"/>
                  <a:pt x="1277836" y="2303759"/>
                  <a:pt x="1254220" y="2332041"/>
                </a:cubicBezTo>
                <a:cubicBezTo>
                  <a:pt x="1288723" y="2344539"/>
                  <a:pt x="1317943" y="2371138"/>
                  <a:pt x="1331313" y="2408472"/>
                </a:cubicBezTo>
                <a:cubicBezTo>
                  <a:pt x="1345082" y="2445646"/>
                  <a:pt x="1339958" y="2484583"/>
                  <a:pt x="1321626" y="2516469"/>
                </a:cubicBezTo>
                <a:cubicBezTo>
                  <a:pt x="1357731" y="2522959"/>
                  <a:pt x="1391033" y="2544190"/>
                  <a:pt x="1410807" y="2578560"/>
                </a:cubicBezTo>
                <a:cubicBezTo>
                  <a:pt x="1430581" y="2612850"/>
                  <a:pt x="1432342" y="2652428"/>
                  <a:pt x="1419933" y="2686958"/>
                </a:cubicBezTo>
                <a:cubicBezTo>
                  <a:pt x="1456598" y="2687118"/>
                  <a:pt x="1492863" y="2702260"/>
                  <a:pt x="1518401" y="2732544"/>
                </a:cubicBezTo>
                <a:cubicBezTo>
                  <a:pt x="1544018" y="2762829"/>
                  <a:pt x="1552504" y="2801445"/>
                  <a:pt x="1546100" y="2837658"/>
                </a:cubicBezTo>
                <a:cubicBezTo>
                  <a:pt x="1582525" y="2831409"/>
                  <a:pt x="1620871" y="2840141"/>
                  <a:pt x="1651292" y="2865538"/>
                </a:cubicBezTo>
                <a:cubicBezTo>
                  <a:pt x="1681873" y="2890855"/>
                  <a:pt x="1696843" y="2927469"/>
                  <a:pt x="1696843" y="2964162"/>
                </a:cubicBezTo>
                <a:cubicBezTo>
                  <a:pt x="1731347" y="2951744"/>
                  <a:pt x="1770894" y="2953346"/>
                  <a:pt x="1805157" y="2973296"/>
                </a:cubicBezTo>
                <a:cubicBezTo>
                  <a:pt x="1839581" y="2993085"/>
                  <a:pt x="1860715" y="3026333"/>
                  <a:pt x="1867120" y="3062546"/>
                </a:cubicBezTo>
                <a:cubicBezTo>
                  <a:pt x="1899062" y="3044279"/>
                  <a:pt x="1938289" y="3039072"/>
                  <a:pt x="1975434" y="3052691"/>
                </a:cubicBezTo>
                <a:cubicBezTo>
                  <a:pt x="2012820" y="3066151"/>
                  <a:pt x="2039398" y="3095394"/>
                  <a:pt x="2052047" y="3129924"/>
                </a:cubicBezTo>
                <a:cubicBezTo>
                  <a:pt x="2080146" y="3106130"/>
                  <a:pt x="2117932" y="3094272"/>
                  <a:pt x="2156838" y="3101402"/>
                </a:cubicBezTo>
                <a:cubicBezTo>
                  <a:pt x="2195905" y="3108052"/>
                  <a:pt x="2227207" y="3132087"/>
                  <a:pt x="2245859" y="3163893"/>
                </a:cubicBezTo>
                <a:cubicBezTo>
                  <a:pt x="2269476" y="3135933"/>
                  <a:pt x="2304540" y="3117666"/>
                  <a:pt x="2344087" y="3117666"/>
                </a:cubicBezTo>
                <a:cubicBezTo>
                  <a:pt x="2383634" y="3117666"/>
                  <a:pt x="2418698" y="3136093"/>
                  <a:pt x="2442314" y="3164054"/>
                </a:cubicBezTo>
                <a:cubicBezTo>
                  <a:pt x="2461047" y="3132247"/>
                  <a:pt x="2492268" y="3108212"/>
                  <a:pt x="2531255" y="3101402"/>
                </a:cubicBezTo>
                <a:cubicBezTo>
                  <a:pt x="2570242" y="3094272"/>
                  <a:pt x="2607948" y="3106289"/>
                  <a:pt x="2636127" y="3129924"/>
                </a:cubicBezTo>
                <a:cubicBezTo>
                  <a:pt x="2648776" y="3095554"/>
                  <a:pt x="2675434" y="3066311"/>
                  <a:pt x="2712659" y="3052691"/>
                </a:cubicBezTo>
                <a:cubicBezTo>
                  <a:pt x="2749885" y="3039152"/>
                  <a:pt x="2788951" y="3044359"/>
                  <a:pt x="2820733" y="3062706"/>
                </a:cubicBezTo>
                <a:cubicBezTo>
                  <a:pt x="2827298" y="3026493"/>
                  <a:pt x="2848432" y="2993085"/>
                  <a:pt x="2882856" y="2973296"/>
                </a:cubicBezTo>
                <a:cubicBezTo>
                  <a:pt x="2917200" y="2953427"/>
                  <a:pt x="2956747" y="2951744"/>
                  <a:pt x="2991250" y="2964322"/>
                </a:cubicBezTo>
                <a:cubicBezTo>
                  <a:pt x="2991410" y="2927629"/>
                  <a:pt x="3006381" y="2891176"/>
                  <a:pt x="3036641" y="2865538"/>
                </a:cubicBezTo>
                <a:cubicBezTo>
                  <a:pt x="3067142" y="2840061"/>
                  <a:pt x="3105489" y="2831489"/>
                  <a:pt x="3141913" y="2837658"/>
                </a:cubicBezTo>
                <a:cubicBezTo>
                  <a:pt x="3135589" y="2801525"/>
                  <a:pt x="3143995" y="2762829"/>
                  <a:pt x="3169532" y="2732544"/>
                </a:cubicBezTo>
                <a:cubicBezTo>
                  <a:pt x="3194990" y="2702260"/>
                  <a:pt x="3231575" y="2687118"/>
                  <a:pt x="3268240" y="2686958"/>
                </a:cubicBezTo>
                <a:cubicBezTo>
                  <a:pt x="3255672" y="2652428"/>
                  <a:pt x="3257432" y="2613010"/>
                  <a:pt x="3277286" y="2578560"/>
                </a:cubicBezTo>
                <a:cubicBezTo>
                  <a:pt x="3297060" y="2544270"/>
                  <a:pt x="3330442" y="2523039"/>
                  <a:pt x="3366547" y="2516550"/>
                </a:cubicBezTo>
                <a:cubicBezTo>
                  <a:pt x="3348215" y="2484503"/>
                  <a:pt x="3343171" y="2445486"/>
                  <a:pt x="3356621" y="2408232"/>
                </a:cubicBezTo>
                <a:cubicBezTo>
                  <a:pt x="3370230" y="2371057"/>
                  <a:pt x="3399450" y="2344539"/>
                  <a:pt x="3433794" y="2331960"/>
                </a:cubicBezTo>
                <a:cubicBezTo>
                  <a:pt x="3410338" y="2303679"/>
                  <a:pt x="3398329" y="2265944"/>
                  <a:pt x="3405134" y="2227007"/>
                </a:cubicBezTo>
                <a:cubicBezTo>
                  <a:pt x="3412259" y="2187830"/>
                  <a:pt x="3436275" y="2156505"/>
                  <a:pt x="3468057" y="2138158"/>
                </a:cubicBezTo>
                <a:cubicBezTo>
                  <a:pt x="3439958" y="2114283"/>
                  <a:pt x="3421705" y="2079352"/>
                  <a:pt x="3421545" y="2039694"/>
                </a:cubicBezTo>
                <a:cubicBezTo>
                  <a:pt x="3421705" y="2000117"/>
                  <a:pt x="3439958" y="1965025"/>
                  <a:pt x="3467897" y="1941311"/>
                </a:cubicBezTo>
                <a:cubicBezTo>
                  <a:pt x="3436115" y="1922804"/>
                  <a:pt x="3412099" y="1891478"/>
                  <a:pt x="3405134" y="1852461"/>
                </a:cubicBezTo>
                <a:cubicBezTo>
                  <a:pt x="3398329" y="1813204"/>
                  <a:pt x="3410338" y="1775709"/>
                  <a:pt x="3433794" y="1747508"/>
                </a:cubicBezTo>
                <a:cubicBezTo>
                  <a:pt x="3399450" y="1734769"/>
                  <a:pt x="3370230" y="1708091"/>
                  <a:pt x="3356621" y="1670756"/>
                </a:cubicBezTo>
                <a:cubicBezTo>
                  <a:pt x="3343091" y="1633422"/>
                  <a:pt x="3348135" y="1594485"/>
                  <a:pt x="3366547" y="1562438"/>
                </a:cubicBezTo>
                <a:cubicBezTo>
                  <a:pt x="3330442" y="1556029"/>
                  <a:pt x="3297060" y="1534718"/>
                  <a:pt x="3277286" y="1500508"/>
                </a:cubicBezTo>
                <a:cubicBezTo>
                  <a:pt x="3257432" y="1466058"/>
                  <a:pt x="3255672" y="1426560"/>
                  <a:pt x="3268240" y="1392030"/>
                </a:cubicBezTo>
                <a:cubicBezTo>
                  <a:pt x="3231575" y="1391870"/>
                  <a:pt x="3194990" y="1376808"/>
                  <a:pt x="3169532" y="1346523"/>
                </a:cubicBezTo>
                <a:cubicBezTo>
                  <a:pt x="3143995" y="1316079"/>
                  <a:pt x="3135509" y="1277463"/>
                  <a:pt x="3141913" y="1241250"/>
                </a:cubicBezTo>
                <a:cubicBezTo>
                  <a:pt x="3105569" y="1247579"/>
                  <a:pt x="3067222" y="1239007"/>
                  <a:pt x="3036641" y="1213610"/>
                </a:cubicBezTo>
                <a:cubicBezTo>
                  <a:pt x="3006381" y="1187972"/>
                  <a:pt x="2991410" y="1151519"/>
                  <a:pt x="2991250" y="1114745"/>
                </a:cubicBezTo>
                <a:cubicBezTo>
                  <a:pt x="2956586" y="1127244"/>
                  <a:pt x="2917200" y="1125561"/>
                  <a:pt x="2882856" y="1105692"/>
                </a:cubicBezTo>
                <a:cubicBezTo>
                  <a:pt x="2848432" y="1085823"/>
                  <a:pt x="2827298" y="1052655"/>
                  <a:pt x="2820733" y="1016362"/>
                </a:cubicBezTo>
                <a:cubicBezTo>
                  <a:pt x="2788951" y="1034709"/>
                  <a:pt x="2749805" y="1039836"/>
                  <a:pt x="2712579" y="1026457"/>
                </a:cubicBezTo>
                <a:cubicBezTo>
                  <a:pt x="2675194" y="1012757"/>
                  <a:pt x="2648695" y="983514"/>
                  <a:pt x="2636047" y="948984"/>
                </a:cubicBezTo>
                <a:cubicBezTo>
                  <a:pt x="2607867" y="972618"/>
                  <a:pt x="2570162" y="984476"/>
                  <a:pt x="2531175" y="977666"/>
                </a:cubicBezTo>
                <a:cubicBezTo>
                  <a:pt x="2492188" y="970695"/>
                  <a:pt x="2460887" y="946580"/>
                  <a:pt x="2442234" y="915014"/>
                </a:cubicBezTo>
                <a:cubicBezTo>
                  <a:pt x="2418618" y="943135"/>
                  <a:pt x="2383634" y="961402"/>
                  <a:pt x="2344007" y="961402"/>
                </a:cubicBezTo>
                <a:cubicBezTo>
                  <a:pt x="2304460" y="961402"/>
                  <a:pt x="2269395" y="943135"/>
                  <a:pt x="2245699" y="915014"/>
                </a:cubicBezTo>
                <a:close/>
                <a:moveTo>
                  <a:pt x="3539946" y="904118"/>
                </a:moveTo>
                <a:cubicBezTo>
                  <a:pt x="3612315" y="904118"/>
                  <a:pt x="3670996" y="962764"/>
                  <a:pt x="3670996" y="1035349"/>
                </a:cubicBezTo>
                <a:cubicBezTo>
                  <a:pt x="3670996" y="1107775"/>
                  <a:pt x="3612395" y="1166501"/>
                  <a:pt x="3539946" y="1166501"/>
                </a:cubicBezTo>
                <a:cubicBezTo>
                  <a:pt x="3467416" y="1166501"/>
                  <a:pt x="3408816" y="1107775"/>
                  <a:pt x="3408816" y="1035349"/>
                </a:cubicBezTo>
                <a:cubicBezTo>
                  <a:pt x="3408816" y="962844"/>
                  <a:pt x="3467496" y="904118"/>
                  <a:pt x="3539946" y="904118"/>
                </a:cubicBezTo>
                <a:close/>
                <a:moveTo>
                  <a:pt x="1148147" y="904118"/>
                </a:moveTo>
                <a:cubicBezTo>
                  <a:pt x="1220676" y="904118"/>
                  <a:pt x="1279357" y="962764"/>
                  <a:pt x="1279357" y="1035349"/>
                </a:cubicBezTo>
                <a:cubicBezTo>
                  <a:pt x="1279357" y="1107775"/>
                  <a:pt x="1220756" y="1166501"/>
                  <a:pt x="1148147" y="1166501"/>
                </a:cubicBezTo>
                <a:cubicBezTo>
                  <a:pt x="1075937" y="1166501"/>
                  <a:pt x="1017257" y="1107775"/>
                  <a:pt x="1017177" y="1035349"/>
                </a:cubicBezTo>
                <a:cubicBezTo>
                  <a:pt x="1017177" y="962844"/>
                  <a:pt x="1075857" y="904118"/>
                  <a:pt x="1148147" y="904118"/>
                </a:cubicBezTo>
                <a:close/>
                <a:moveTo>
                  <a:pt x="3347895" y="711517"/>
                </a:moveTo>
                <a:cubicBezTo>
                  <a:pt x="3420264" y="711517"/>
                  <a:pt x="3478945" y="770243"/>
                  <a:pt x="3478945" y="842668"/>
                </a:cubicBezTo>
                <a:cubicBezTo>
                  <a:pt x="3478945" y="915254"/>
                  <a:pt x="3420344" y="973820"/>
                  <a:pt x="3347895" y="973820"/>
                </a:cubicBezTo>
                <a:cubicBezTo>
                  <a:pt x="3275445" y="973820"/>
                  <a:pt x="3216765" y="915254"/>
                  <a:pt x="3216765" y="842668"/>
                </a:cubicBezTo>
                <a:cubicBezTo>
                  <a:pt x="3216765" y="770243"/>
                  <a:pt x="3275445" y="711517"/>
                  <a:pt x="3347895" y="711517"/>
                </a:cubicBezTo>
                <a:close/>
                <a:moveTo>
                  <a:pt x="3805808" y="698699"/>
                </a:moveTo>
                <a:cubicBezTo>
                  <a:pt x="3868251" y="698699"/>
                  <a:pt x="3919006" y="749413"/>
                  <a:pt x="3919006" y="812064"/>
                </a:cubicBezTo>
                <a:cubicBezTo>
                  <a:pt x="3919006" y="874636"/>
                  <a:pt x="3868251" y="925430"/>
                  <a:pt x="3805808" y="925430"/>
                </a:cubicBezTo>
                <a:cubicBezTo>
                  <a:pt x="3743126" y="925430"/>
                  <a:pt x="3692531" y="874636"/>
                  <a:pt x="3692611" y="812064"/>
                </a:cubicBezTo>
                <a:cubicBezTo>
                  <a:pt x="3692611" y="749413"/>
                  <a:pt x="3743205" y="698699"/>
                  <a:pt x="3805808" y="698699"/>
                </a:cubicBezTo>
                <a:close/>
                <a:moveTo>
                  <a:pt x="2344247" y="687883"/>
                </a:moveTo>
                <a:cubicBezTo>
                  <a:pt x="2392760" y="687883"/>
                  <a:pt x="2434389" y="714882"/>
                  <a:pt x="2456484" y="754220"/>
                </a:cubicBezTo>
                <a:cubicBezTo>
                  <a:pt x="2485063" y="719209"/>
                  <a:pt x="2530935" y="699820"/>
                  <a:pt x="2578807" y="708313"/>
                </a:cubicBezTo>
                <a:cubicBezTo>
                  <a:pt x="2626600" y="716645"/>
                  <a:pt x="2662945" y="750534"/>
                  <a:pt x="2677835" y="793477"/>
                </a:cubicBezTo>
                <a:cubicBezTo>
                  <a:pt x="2712099" y="763673"/>
                  <a:pt x="2760612" y="752617"/>
                  <a:pt x="2806243" y="769202"/>
                </a:cubicBezTo>
                <a:cubicBezTo>
                  <a:pt x="2851875" y="785866"/>
                  <a:pt x="2881735" y="825604"/>
                  <a:pt x="2888860" y="870149"/>
                </a:cubicBezTo>
                <a:cubicBezTo>
                  <a:pt x="2927847" y="847075"/>
                  <a:pt x="2977481" y="844591"/>
                  <a:pt x="3019349" y="868947"/>
                </a:cubicBezTo>
                <a:cubicBezTo>
                  <a:pt x="3061699" y="893142"/>
                  <a:pt x="3084274" y="937447"/>
                  <a:pt x="3083473" y="982713"/>
                </a:cubicBezTo>
                <a:cubicBezTo>
                  <a:pt x="3125902" y="966609"/>
                  <a:pt x="3175136" y="972698"/>
                  <a:pt x="3212522" y="1003944"/>
                </a:cubicBezTo>
                <a:cubicBezTo>
                  <a:pt x="3249667" y="1035109"/>
                  <a:pt x="3264318" y="1082779"/>
                  <a:pt x="3255591" y="1127244"/>
                </a:cubicBezTo>
                <a:cubicBezTo>
                  <a:pt x="3300262" y="1118671"/>
                  <a:pt x="3347735" y="1133413"/>
                  <a:pt x="3378796" y="1170667"/>
                </a:cubicBezTo>
                <a:cubicBezTo>
                  <a:pt x="3410338" y="1207841"/>
                  <a:pt x="3416181" y="1257113"/>
                  <a:pt x="3400090" y="1299655"/>
                </a:cubicBezTo>
                <a:cubicBezTo>
                  <a:pt x="3445481" y="1298854"/>
                  <a:pt x="3489672" y="1321527"/>
                  <a:pt x="3513848" y="1363668"/>
                </a:cubicBezTo>
                <a:cubicBezTo>
                  <a:pt x="3538425" y="1405650"/>
                  <a:pt x="3535703" y="1455402"/>
                  <a:pt x="3512488" y="1494259"/>
                </a:cubicBezTo>
                <a:cubicBezTo>
                  <a:pt x="3557238" y="1501469"/>
                  <a:pt x="3597105" y="1531433"/>
                  <a:pt x="3613596" y="1577180"/>
                </a:cubicBezTo>
                <a:cubicBezTo>
                  <a:pt x="3630088" y="1622766"/>
                  <a:pt x="3619120" y="1671237"/>
                  <a:pt x="3589260" y="1705527"/>
                </a:cubicBezTo>
                <a:cubicBezTo>
                  <a:pt x="3632169" y="1720509"/>
                  <a:pt x="3665953" y="1757122"/>
                  <a:pt x="3674438" y="1804792"/>
                </a:cubicBezTo>
                <a:cubicBezTo>
                  <a:pt x="3682924" y="1852621"/>
                  <a:pt x="3663551" y="1898448"/>
                  <a:pt x="3628487" y="1927130"/>
                </a:cubicBezTo>
                <a:cubicBezTo>
                  <a:pt x="3668034" y="1949242"/>
                  <a:pt x="3695253" y="1990983"/>
                  <a:pt x="3695093" y="2039694"/>
                </a:cubicBezTo>
                <a:cubicBezTo>
                  <a:pt x="3695172" y="2088085"/>
                  <a:pt x="3668034" y="2129906"/>
                  <a:pt x="3628487" y="2151858"/>
                </a:cubicBezTo>
                <a:cubicBezTo>
                  <a:pt x="3663551" y="2180459"/>
                  <a:pt x="3682764" y="2226527"/>
                  <a:pt x="3674438" y="2274276"/>
                </a:cubicBezTo>
                <a:cubicBezTo>
                  <a:pt x="3665953" y="2322026"/>
                  <a:pt x="3632090" y="2358479"/>
                  <a:pt x="3589260" y="2373301"/>
                </a:cubicBezTo>
                <a:cubicBezTo>
                  <a:pt x="3618880" y="2407591"/>
                  <a:pt x="3630088" y="2455981"/>
                  <a:pt x="3613596" y="2501648"/>
                </a:cubicBezTo>
                <a:cubicBezTo>
                  <a:pt x="3597105" y="2547154"/>
                  <a:pt x="3557238" y="2577198"/>
                  <a:pt x="3512488" y="2584408"/>
                </a:cubicBezTo>
                <a:cubicBezTo>
                  <a:pt x="3535703" y="2623345"/>
                  <a:pt x="3538425" y="2673178"/>
                  <a:pt x="3513848" y="2715239"/>
                </a:cubicBezTo>
                <a:cubicBezTo>
                  <a:pt x="3489752" y="2757300"/>
                  <a:pt x="3445481" y="2779733"/>
                  <a:pt x="3400090" y="2779092"/>
                </a:cubicBezTo>
                <a:cubicBezTo>
                  <a:pt x="3416181" y="2821634"/>
                  <a:pt x="3410017" y="2870986"/>
                  <a:pt x="3378796" y="2908161"/>
                </a:cubicBezTo>
                <a:cubicBezTo>
                  <a:pt x="3347735" y="2945415"/>
                  <a:pt x="3300182" y="2959916"/>
                  <a:pt x="3255591" y="2951584"/>
                </a:cubicBezTo>
                <a:cubicBezTo>
                  <a:pt x="3264318" y="2996049"/>
                  <a:pt x="3249587" y="3043718"/>
                  <a:pt x="3212362" y="3074804"/>
                </a:cubicBezTo>
                <a:cubicBezTo>
                  <a:pt x="3175056" y="3105969"/>
                  <a:pt x="3125822" y="3112058"/>
                  <a:pt x="3083393" y="3096115"/>
                </a:cubicBezTo>
                <a:cubicBezTo>
                  <a:pt x="3084194" y="3141300"/>
                  <a:pt x="3061458" y="3185685"/>
                  <a:pt x="3019269" y="3209961"/>
                </a:cubicBezTo>
                <a:cubicBezTo>
                  <a:pt x="2977401" y="3234236"/>
                  <a:pt x="2927927" y="3231592"/>
                  <a:pt x="2888860" y="3208438"/>
                </a:cubicBezTo>
                <a:cubicBezTo>
                  <a:pt x="2881815" y="3253224"/>
                  <a:pt x="2851795" y="3292882"/>
                  <a:pt x="2805923" y="3309546"/>
                </a:cubicBezTo>
                <a:cubicBezTo>
                  <a:pt x="2760372" y="3326130"/>
                  <a:pt x="2712099" y="3314914"/>
                  <a:pt x="2678075" y="3285351"/>
                </a:cubicBezTo>
                <a:cubicBezTo>
                  <a:pt x="2663185" y="3328373"/>
                  <a:pt x="2626600" y="3362022"/>
                  <a:pt x="2578888" y="3370675"/>
                </a:cubicBezTo>
                <a:cubicBezTo>
                  <a:pt x="2531095" y="3379007"/>
                  <a:pt x="2485303" y="3359539"/>
                  <a:pt x="2456644" y="3324368"/>
                </a:cubicBezTo>
                <a:cubicBezTo>
                  <a:pt x="2434709" y="3364025"/>
                  <a:pt x="2393000" y="3391025"/>
                  <a:pt x="2344407" y="3391025"/>
                </a:cubicBezTo>
                <a:cubicBezTo>
                  <a:pt x="2295894" y="3391025"/>
                  <a:pt x="2253945" y="3364025"/>
                  <a:pt x="2232010" y="3324368"/>
                </a:cubicBezTo>
                <a:cubicBezTo>
                  <a:pt x="2203350" y="3359459"/>
                  <a:pt x="2157479" y="3378847"/>
                  <a:pt x="2109766" y="3370355"/>
                </a:cubicBezTo>
                <a:cubicBezTo>
                  <a:pt x="2061973" y="3361942"/>
                  <a:pt x="2025628" y="3328213"/>
                  <a:pt x="2010578" y="3285190"/>
                </a:cubicBezTo>
                <a:cubicBezTo>
                  <a:pt x="1976315" y="3314834"/>
                  <a:pt x="1927881" y="3326050"/>
                  <a:pt x="1882330" y="3309386"/>
                </a:cubicBezTo>
                <a:cubicBezTo>
                  <a:pt x="1836619" y="3293042"/>
                  <a:pt x="1806758" y="3253304"/>
                  <a:pt x="1799393" y="3208519"/>
                </a:cubicBezTo>
                <a:cubicBezTo>
                  <a:pt x="1760567" y="3231592"/>
                  <a:pt x="1710853" y="3234076"/>
                  <a:pt x="1668904" y="3209721"/>
                </a:cubicBezTo>
                <a:cubicBezTo>
                  <a:pt x="1626875" y="3185525"/>
                  <a:pt x="1604300" y="3141141"/>
                  <a:pt x="1604940" y="3095874"/>
                </a:cubicBezTo>
                <a:cubicBezTo>
                  <a:pt x="1562671" y="3111978"/>
                  <a:pt x="1513277" y="3105889"/>
                  <a:pt x="1476052" y="3074723"/>
                </a:cubicBezTo>
                <a:cubicBezTo>
                  <a:pt x="1438906" y="3043558"/>
                  <a:pt x="1424176" y="2995888"/>
                  <a:pt x="1432902" y="2951424"/>
                </a:cubicBezTo>
                <a:cubicBezTo>
                  <a:pt x="1388312" y="2959916"/>
                  <a:pt x="1340839" y="2945255"/>
                  <a:pt x="1309698" y="2908000"/>
                </a:cubicBezTo>
                <a:cubicBezTo>
                  <a:pt x="1278316" y="2870906"/>
                  <a:pt x="1272232" y="2821634"/>
                  <a:pt x="1288403" y="2779012"/>
                </a:cubicBezTo>
                <a:cubicBezTo>
                  <a:pt x="1243012" y="2779653"/>
                  <a:pt x="1198822" y="2757140"/>
                  <a:pt x="1174405" y="2715079"/>
                </a:cubicBezTo>
                <a:cubicBezTo>
                  <a:pt x="1150068" y="2673098"/>
                  <a:pt x="1152870" y="2623345"/>
                  <a:pt x="1176006" y="2584328"/>
                </a:cubicBezTo>
                <a:cubicBezTo>
                  <a:pt x="1131256" y="2577118"/>
                  <a:pt x="1091548" y="2547074"/>
                  <a:pt x="1075057" y="2501568"/>
                </a:cubicBezTo>
                <a:cubicBezTo>
                  <a:pt x="1058245" y="2455981"/>
                  <a:pt x="1069453" y="2407430"/>
                  <a:pt x="1099073" y="2373220"/>
                </a:cubicBezTo>
                <a:cubicBezTo>
                  <a:pt x="1056324" y="2358319"/>
                  <a:pt x="1022381" y="2321946"/>
                  <a:pt x="1013895" y="2274196"/>
                </a:cubicBezTo>
                <a:cubicBezTo>
                  <a:pt x="1005489" y="2226366"/>
                  <a:pt x="1025103" y="2180379"/>
                  <a:pt x="1060167" y="2151858"/>
                </a:cubicBezTo>
                <a:cubicBezTo>
                  <a:pt x="1020620" y="2129826"/>
                  <a:pt x="993481" y="2088005"/>
                  <a:pt x="993481" y="2039534"/>
                </a:cubicBezTo>
                <a:cubicBezTo>
                  <a:pt x="993481" y="1990983"/>
                  <a:pt x="1020620" y="1949242"/>
                  <a:pt x="1060167" y="1927130"/>
                </a:cubicBezTo>
                <a:cubicBezTo>
                  <a:pt x="1025103" y="1898368"/>
                  <a:pt x="1005649" y="1852541"/>
                  <a:pt x="1013895" y="1804792"/>
                </a:cubicBezTo>
                <a:cubicBezTo>
                  <a:pt x="1022381" y="1757122"/>
                  <a:pt x="1056404" y="1720509"/>
                  <a:pt x="1099073" y="1705527"/>
                </a:cubicBezTo>
                <a:cubicBezTo>
                  <a:pt x="1069613" y="1671237"/>
                  <a:pt x="1058566" y="1622846"/>
                  <a:pt x="1075057" y="1577180"/>
                </a:cubicBezTo>
                <a:cubicBezTo>
                  <a:pt x="1091548" y="1531593"/>
                  <a:pt x="1131256" y="1501549"/>
                  <a:pt x="1176166" y="1494259"/>
                </a:cubicBezTo>
                <a:cubicBezTo>
                  <a:pt x="1152790" y="1455482"/>
                  <a:pt x="1150148" y="1405650"/>
                  <a:pt x="1174325" y="1363668"/>
                </a:cubicBezTo>
                <a:cubicBezTo>
                  <a:pt x="1198822" y="1321527"/>
                  <a:pt x="1243092" y="1299014"/>
                  <a:pt x="1288323" y="1299655"/>
                </a:cubicBezTo>
                <a:cubicBezTo>
                  <a:pt x="1272232" y="1257193"/>
                  <a:pt x="1278236" y="1207921"/>
                  <a:pt x="1309618" y="1170667"/>
                </a:cubicBezTo>
                <a:cubicBezTo>
                  <a:pt x="1340759" y="1133573"/>
                  <a:pt x="1388392" y="1118831"/>
                  <a:pt x="1432822" y="1127324"/>
                </a:cubicBezTo>
                <a:cubicBezTo>
                  <a:pt x="1424336" y="1082779"/>
                  <a:pt x="1438826" y="1035269"/>
                  <a:pt x="1475972" y="1003944"/>
                </a:cubicBezTo>
                <a:cubicBezTo>
                  <a:pt x="1513197" y="972939"/>
                  <a:pt x="1562591" y="966770"/>
                  <a:pt x="1604860" y="982873"/>
                </a:cubicBezTo>
                <a:cubicBezTo>
                  <a:pt x="1604300" y="937527"/>
                  <a:pt x="1626795" y="893142"/>
                  <a:pt x="1668824" y="868947"/>
                </a:cubicBezTo>
                <a:cubicBezTo>
                  <a:pt x="1710773" y="844752"/>
                  <a:pt x="1760487" y="847235"/>
                  <a:pt x="1799473" y="870309"/>
                </a:cubicBezTo>
                <a:cubicBezTo>
                  <a:pt x="1806678" y="825604"/>
                  <a:pt x="1836539" y="785866"/>
                  <a:pt x="1882250" y="769202"/>
                </a:cubicBezTo>
                <a:cubicBezTo>
                  <a:pt x="1927801" y="752778"/>
                  <a:pt x="1976235" y="763834"/>
                  <a:pt x="2010578" y="793477"/>
                </a:cubicBezTo>
                <a:cubicBezTo>
                  <a:pt x="2025468" y="750614"/>
                  <a:pt x="2061893" y="716805"/>
                  <a:pt x="2109606" y="708313"/>
                </a:cubicBezTo>
                <a:cubicBezTo>
                  <a:pt x="2157399" y="699981"/>
                  <a:pt x="2203190" y="719369"/>
                  <a:pt x="2231850" y="754540"/>
                </a:cubicBezTo>
                <a:cubicBezTo>
                  <a:pt x="2253945" y="714882"/>
                  <a:pt x="2295734" y="687883"/>
                  <a:pt x="2344247" y="687883"/>
                </a:cubicBezTo>
                <a:close/>
                <a:moveTo>
                  <a:pt x="3570447" y="463396"/>
                </a:moveTo>
                <a:cubicBezTo>
                  <a:pt x="3633050" y="463396"/>
                  <a:pt x="3683805" y="514110"/>
                  <a:pt x="3683805" y="576761"/>
                </a:cubicBezTo>
                <a:cubicBezTo>
                  <a:pt x="3683805" y="639333"/>
                  <a:pt x="3633050" y="690127"/>
                  <a:pt x="3570447" y="690127"/>
                </a:cubicBezTo>
                <a:cubicBezTo>
                  <a:pt x="3508005" y="690127"/>
                  <a:pt x="3457410" y="639333"/>
                  <a:pt x="3457410" y="576761"/>
                </a:cubicBezTo>
                <a:cubicBezTo>
                  <a:pt x="3457410" y="514110"/>
                  <a:pt x="3508005" y="463396"/>
                  <a:pt x="3570447" y="463396"/>
                </a:cubicBezTo>
                <a:close/>
                <a:moveTo>
                  <a:pt x="2072861" y="369899"/>
                </a:moveTo>
                <a:cubicBezTo>
                  <a:pt x="2145230" y="369899"/>
                  <a:pt x="2203911" y="428545"/>
                  <a:pt x="2203911" y="500970"/>
                </a:cubicBezTo>
                <a:cubicBezTo>
                  <a:pt x="2203911" y="573476"/>
                  <a:pt x="2145310" y="632202"/>
                  <a:pt x="2072861" y="632202"/>
                </a:cubicBezTo>
                <a:cubicBezTo>
                  <a:pt x="2000571" y="632202"/>
                  <a:pt x="1941971" y="573556"/>
                  <a:pt x="1941891" y="500970"/>
                </a:cubicBezTo>
                <a:cubicBezTo>
                  <a:pt x="1941891" y="428625"/>
                  <a:pt x="2000571" y="369899"/>
                  <a:pt x="2072861" y="369899"/>
                </a:cubicBezTo>
                <a:close/>
                <a:moveTo>
                  <a:pt x="2615072" y="369579"/>
                </a:moveTo>
                <a:cubicBezTo>
                  <a:pt x="2687442" y="369579"/>
                  <a:pt x="2746122" y="428224"/>
                  <a:pt x="2746122" y="500810"/>
                </a:cubicBezTo>
                <a:cubicBezTo>
                  <a:pt x="2746122" y="573236"/>
                  <a:pt x="2687522" y="631962"/>
                  <a:pt x="2615072" y="631962"/>
                </a:cubicBezTo>
                <a:cubicBezTo>
                  <a:pt x="2542622" y="631962"/>
                  <a:pt x="2484022" y="573236"/>
                  <a:pt x="2483942" y="500810"/>
                </a:cubicBezTo>
                <a:cubicBezTo>
                  <a:pt x="2483942" y="428305"/>
                  <a:pt x="2542622" y="369579"/>
                  <a:pt x="2615072" y="369579"/>
                </a:cubicBezTo>
                <a:close/>
                <a:moveTo>
                  <a:pt x="2344087" y="346024"/>
                </a:moveTo>
                <a:cubicBezTo>
                  <a:pt x="2416457" y="346024"/>
                  <a:pt x="2475137" y="404830"/>
                  <a:pt x="2475137" y="477255"/>
                </a:cubicBezTo>
                <a:cubicBezTo>
                  <a:pt x="2475137" y="549681"/>
                  <a:pt x="2416537" y="608407"/>
                  <a:pt x="2344087" y="608407"/>
                </a:cubicBezTo>
                <a:cubicBezTo>
                  <a:pt x="2271637" y="608407"/>
                  <a:pt x="2212957" y="549681"/>
                  <a:pt x="2213037" y="477255"/>
                </a:cubicBezTo>
                <a:cubicBezTo>
                  <a:pt x="2213037" y="404830"/>
                  <a:pt x="2271717" y="346024"/>
                  <a:pt x="2344087" y="346024"/>
                </a:cubicBezTo>
                <a:close/>
                <a:moveTo>
                  <a:pt x="3298021" y="272557"/>
                </a:moveTo>
                <a:cubicBezTo>
                  <a:pt x="3360624" y="272557"/>
                  <a:pt x="3411218" y="323191"/>
                  <a:pt x="3411218" y="385762"/>
                </a:cubicBezTo>
                <a:cubicBezTo>
                  <a:pt x="3411218" y="448413"/>
                  <a:pt x="3360624" y="499127"/>
                  <a:pt x="3298021" y="499127"/>
                </a:cubicBezTo>
                <a:cubicBezTo>
                  <a:pt x="3235578" y="499127"/>
                  <a:pt x="3184823" y="448413"/>
                  <a:pt x="3184823" y="385762"/>
                </a:cubicBezTo>
                <a:cubicBezTo>
                  <a:pt x="3184823" y="323191"/>
                  <a:pt x="3235578" y="272557"/>
                  <a:pt x="3298021" y="272557"/>
                </a:cubicBezTo>
                <a:close/>
                <a:moveTo>
                  <a:pt x="3793320" y="224968"/>
                </a:moveTo>
                <a:cubicBezTo>
                  <a:pt x="3842474" y="224968"/>
                  <a:pt x="3882421" y="264946"/>
                  <a:pt x="3882421" y="314138"/>
                </a:cubicBezTo>
                <a:cubicBezTo>
                  <a:pt x="3882421" y="363490"/>
                  <a:pt x="3842474" y="403468"/>
                  <a:pt x="3793320" y="403468"/>
                </a:cubicBezTo>
                <a:cubicBezTo>
                  <a:pt x="3743926" y="403468"/>
                  <a:pt x="3703979" y="363490"/>
                  <a:pt x="3703979" y="314138"/>
                </a:cubicBezTo>
                <a:cubicBezTo>
                  <a:pt x="3703979" y="264946"/>
                  <a:pt x="3743926" y="224968"/>
                  <a:pt x="3793320" y="224968"/>
                </a:cubicBezTo>
                <a:close/>
                <a:moveTo>
                  <a:pt x="3473821" y="0"/>
                </a:moveTo>
                <a:cubicBezTo>
                  <a:pt x="3522975" y="0"/>
                  <a:pt x="3562922" y="39978"/>
                  <a:pt x="3562922" y="89170"/>
                </a:cubicBezTo>
                <a:cubicBezTo>
                  <a:pt x="3562922" y="138362"/>
                  <a:pt x="3522975" y="178340"/>
                  <a:pt x="3473821" y="178340"/>
                </a:cubicBezTo>
                <a:cubicBezTo>
                  <a:pt x="3424507" y="178340"/>
                  <a:pt x="3384560" y="138362"/>
                  <a:pt x="3384560" y="89170"/>
                </a:cubicBezTo>
                <a:cubicBezTo>
                  <a:pt x="3384560" y="39978"/>
                  <a:pt x="3424428" y="0"/>
                  <a:pt x="3473821" y="0"/>
                </a:cubicBezTo>
                <a:close/>
              </a:path>
            </a:pathLst>
          </a:custGeom>
          <a:solidFill>
            <a:schemeClr val="tx1"/>
          </a:solidFill>
          <a:ln w="8000" cap="flat">
            <a:noFill/>
            <a:prstDash val="solid"/>
            <a:miter/>
          </a:ln>
        </p:spPr>
        <p:txBody>
          <a:bodyPr rtlCol="0" anchor="ctr"/>
          <a:lstStyle/>
          <a:p>
            <a:endParaRPr lang="en-US"/>
          </a:p>
        </p:txBody>
      </p:sp>
      <p:sp>
        <p:nvSpPr>
          <p:cNvPr id="28" name="Text Placeholder 34">
            <a:extLst>
              <a:ext uri="{FF2B5EF4-FFF2-40B4-BE49-F238E27FC236}">
                <a16:creationId xmlns:a16="http://schemas.microsoft.com/office/drawing/2014/main" id="{97E6728E-C0DA-B7CF-734A-79288E9681F0}"/>
              </a:ext>
            </a:extLst>
          </p:cNvPr>
          <p:cNvSpPr>
            <a:spLocks noGrp="1"/>
          </p:cNvSpPr>
          <p:nvPr>
            <p:ph type="body" sz="quarter" idx="10"/>
          </p:nvPr>
        </p:nvSpPr>
        <p:spPr>
          <a:xfrm>
            <a:off x="328743" y="5971977"/>
            <a:ext cx="5583600" cy="403200"/>
          </a:xfrm>
        </p:spPr>
        <p:txBody>
          <a:bodyPr anchor="b" anchorCtr="0"/>
          <a:lstStyle>
            <a:lvl1pPr>
              <a:defRPr sz="570"/>
            </a:lvl1pPr>
            <a:lvl2pPr marL="92075" indent="-92075">
              <a:tabLst/>
              <a:defRPr sz="570"/>
            </a:lvl2pPr>
            <a:lvl3pPr marL="179388" indent="-87313">
              <a:tabLst/>
              <a:defRPr sz="570"/>
            </a:lvl3pPr>
            <a:lvl4pPr marL="271463" indent="-92075">
              <a:tabLst/>
              <a:defRPr sz="570"/>
            </a:lvl4pPr>
            <a:lvl5pPr marL="358775" indent="-87313">
              <a:tabLst/>
              <a:defRPr sz="570"/>
            </a:lvl5pPr>
          </a:lstStyle>
          <a:p>
            <a:pPr lvl="0"/>
            <a:r>
              <a:rPr lang="en-US"/>
              <a:t>Click to edit Master text styles</a:t>
            </a:r>
          </a:p>
        </p:txBody>
      </p:sp>
      <p:sp>
        <p:nvSpPr>
          <p:cNvPr id="29" name="Text Placeholder 34">
            <a:extLst>
              <a:ext uri="{FF2B5EF4-FFF2-40B4-BE49-F238E27FC236}">
                <a16:creationId xmlns:a16="http://schemas.microsoft.com/office/drawing/2014/main" id="{615B5469-038D-21DF-C3AD-F9EBC16C5FD6}"/>
              </a:ext>
            </a:extLst>
          </p:cNvPr>
          <p:cNvSpPr>
            <a:spLocks noGrp="1"/>
          </p:cNvSpPr>
          <p:nvPr>
            <p:ph type="body" sz="quarter" idx="11"/>
          </p:nvPr>
        </p:nvSpPr>
        <p:spPr>
          <a:xfrm>
            <a:off x="328743" y="6392076"/>
            <a:ext cx="5583600" cy="155265"/>
          </a:xfrm>
        </p:spPr>
        <p:txBody>
          <a:bodyPr anchor="b" anchorCtr="0"/>
          <a:lstStyle>
            <a:lvl1pPr>
              <a:defRPr sz="570"/>
            </a:lvl1pPr>
            <a:lvl2pPr marL="92075" indent="-92075">
              <a:tabLst/>
              <a:defRPr sz="570"/>
            </a:lvl2pPr>
            <a:lvl3pPr marL="179388" indent="-87313">
              <a:tabLst/>
              <a:defRPr sz="570"/>
            </a:lvl3pPr>
            <a:lvl4pPr marL="271463" indent="-92075">
              <a:tabLst/>
              <a:defRPr sz="570"/>
            </a:lvl4pPr>
            <a:lvl5pPr marL="358775" indent="-87313">
              <a:tabLst/>
              <a:defRPr sz="570"/>
            </a:lvl5pPr>
          </a:lstStyle>
          <a:p>
            <a:pPr lvl="0"/>
            <a:r>
              <a:rPr lang="en-US"/>
              <a:t>Click to edit Master text styles</a:t>
            </a:r>
          </a:p>
        </p:txBody>
      </p:sp>
    </p:spTree>
    <p:extLst>
      <p:ext uri="{BB962C8B-B14F-4D97-AF65-F5344CB8AC3E}">
        <p14:creationId xmlns:p14="http://schemas.microsoft.com/office/powerpoint/2010/main" val="26273148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FE3DFFF-9AD3-553D-AF0E-5A300117396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F27FEB19-847C-92C3-28A9-121E2ADA110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C7DF9547-06E9-ED27-60F3-E9D4EF4AFD1E}"/>
              </a:ext>
            </a:extLst>
          </p:cNvPr>
          <p:cNvSpPr>
            <a:spLocks noGrp="1"/>
          </p:cNvSpPr>
          <p:nvPr>
            <p:ph type="dt" sz="half" idx="10"/>
          </p:nvPr>
        </p:nvSpPr>
        <p:spPr/>
        <p:txBody>
          <a:bodyPr/>
          <a:lstStyle/>
          <a:p>
            <a:fld id="{A350B4B8-FB90-4B9F-AF8C-05FB7479526F}" type="datetimeFigureOut">
              <a:rPr lang="en-AU" smtClean="0"/>
              <a:t>24/02/2025</a:t>
            </a:fld>
            <a:endParaRPr lang="en-AU"/>
          </a:p>
        </p:txBody>
      </p:sp>
      <p:sp>
        <p:nvSpPr>
          <p:cNvPr id="5" name="Footer Placeholder 4">
            <a:extLst>
              <a:ext uri="{FF2B5EF4-FFF2-40B4-BE49-F238E27FC236}">
                <a16:creationId xmlns:a16="http://schemas.microsoft.com/office/drawing/2014/main" id="{4BA787DD-F804-4FA1-9A4C-CD17E58E5437}"/>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6099F78D-F5F3-4AE1-36F3-F7D427EA6238}"/>
              </a:ext>
            </a:extLst>
          </p:cNvPr>
          <p:cNvSpPr>
            <a:spLocks noGrp="1"/>
          </p:cNvSpPr>
          <p:nvPr>
            <p:ph type="sldNum" sz="quarter" idx="12"/>
          </p:nvPr>
        </p:nvSpPr>
        <p:spPr/>
        <p:txBody>
          <a:bodyPr/>
          <a:lstStyle/>
          <a:p>
            <a:fld id="{A2FF043B-E10C-4246-9AD2-884F0766A0A6}" type="slidenum">
              <a:rPr lang="en-AU" smtClean="0"/>
              <a:t>‹#›</a:t>
            </a:fld>
            <a:endParaRPr lang="en-AU"/>
          </a:p>
        </p:txBody>
      </p:sp>
    </p:spTree>
    <p:extLst>
      <p:ext uri="{BB962C8B-B14F-4D97-AF65-F5344CB8AC3E}">
        <p14:creationId xmlns:p14="http://schemas.microsoft.com/office/powerpoint/2010/main" val="22526926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Agenda - White BG">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2" name="Table Placeholder 11">
            <a:extLst>
              <a:ext uri="{FF2B5EF4-FFF2-40B4-BE49-F238E27FC236}">
                <a16:creationId xmlns:a16="http://schemas.microsoft.com/office/drawing/2014/main" id="{2FE6F2A4-85F2-56FF-6475-B07C8610C04B}"/>
              </a:ext>
            </a:extLst>
          </p:cNvPr>
          <p:cNvSpPr>
            <a:spLocks noGrp="1"/>
          </p:cNvSpPr>
          <p:nvPr>
            <p:ph type="tbl" sz="quarter" idx="10"/>
          </p:nvPr>
        </p:nvSpPr>
        <p:spPr>
          <a:xfrm>
            <a:off x="334963" y="2406650"/>
            <a:ext cx="11522075" cy="2836863"/>
          </a:xfrm>
        </p:spPr>
        <p:txBody>
          <a:bodyPr/>
          <a:lstStyle>
            <a:lvl1pPr>
              <a:defRPr sz="1800">
                <a:solidFill>
                  <a:schemeClr val="tx1"/>
                </a:solidFill>
              </a:defRPr>
            </a:lvl1pPr>
          </a:lstStyle>
          <a:p>
            <a:r>
              <a:rPr lang="en-US"/>
              <a:t>Click icon to add table</a:t>
            </a:r>
          </a:p>
        </p:txBody>
      </p:sp>
      <p:sp>
        <p:nvSpPr>
          <p:cNvPr id="5" name="Graphic 11">
            <a:extLst>
              <a:ext uri="{FF2B5EF4-FFF2-40B4-BE49-F238E27FC236}">
                <a16:creationId xmlns:a16="http://schemas.microsoft.com/office/drawing/2014/main" id="{EBB29CA7-72BA-FD94-160D-0880116A2EEA}"/>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tx1"/>
              </a:solidFill>
            </a:endParaRPr>
          </a:p>
        </p:txBody>
      </p:sp>
    </p:spTree>
    <p:extLst>
      <p:ext uri="{BB962C8B-B14F-4D97-AF65-F5344CB8AC3E}">
        <p14:creationId xmlns:p14="http://schemas.microsoft.com/office/powerpoint/2010/main" val="27838148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03B - Green BG">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5EEE8-FF85-7216-E1D3-A064CC954F9F}"/>
              </a:ext>
            </a:extLst>
          </p:cNvPr>
          <p:cNvSpPr>
            <a:spLocks noGrp="1"/>
          </p:cNvSpPr>
          <p:nvPr>
            <p:ph type="ctrTitle"/>
          </p:nvPr>
        </p:nvSpPr>
        <p:spPr>
          <a:xfrm>
            <a:off x="267095" y="1268413"/>
            <a:ext cx="8074800" cy="3013573"/>
          </a:xfrm>
        </p:spPr>
        <p:txBody>
          <a:bodyPr anchor="b" anchorCtr="0"/>
          <a:lstStyle>
            <a:lvl1pPr algn="l">
              <a:lnSpc>
                <a:spcPct val="62000"/>
              </a:lnSpc>
              <a:defRPr sz="8800" b="1" i="0" cap="all" baseline="0">
                <a:solidFill>
                  <a:schemeClr val="tx1"/>
                </a:solidFill>
                <a:latin typeface="Aptos Black" panose="020B00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37678E90-F782-C178-A610-A05D0932347C}"/>
              </a:ext>
            </a:extLst>
          </p:cNvPr>
          <p:cNvSpPr>
            <a:spLocks noGrp="1"/>
          </p:cNvSpPr>
          <p:nvPr>
            <p:ph type="subTitle" idx="1"/>
          </p:nvPr>
        </p:nvSpPr>
        <p:spPr>
          <a:xfrm>
            <a:off x="322351" y="4155511"/>
            <a:ext cx="7374354" cy="394520"/>
          </a:xfrm>
        </p:spPr>
        <p:txBody>
          <a:bodyPr anchor="t" anchorCtr="0"/>
          <a:lstStyle>
            <a:lvl1pPr marL="0" indent="0" algn="l">
              <a:buNone/>
              <a:defRPr sz="2400" b="0" i="0" cap="all" baseline="0">
                <a:solidFill>
                  <a:schemeClr val="tx1"/>
                </a:solidFill>
                <a:latin typeface="Aptos Black" panose="020B00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17" name="Group 16">
            <a:extLst>
              <a:ext uri="{FF2B5EF4-FFF2-40B4-BE49-F238E27FC236}">
                <a16:creationId xmlns:a16="http://schemas.microsoft.com/office/drawing/2014/main" id="{57E6C23D-EAB4-4168-C4F4-42870DCCE7F2}"/>
              </a:ext>
            </a:extLst>
          </p:cNvPr>
          <p:cNvGrpSpPr/>
          <p:nvPr/>
        </p:nvGrpSpPr>
        <p:grpSpPr>
          <a:xfrm>
            <a:off x="0" y="1666632"/>
            <a:ext cx="12192000" cy="3524736"/>
            <a:chOff x="98975" y="1673264"/>
            <a:chExt cx="7555953" cy="2184444"/>
          </a:xfrm>
        </p:grpSpPr>
        <p:sp>
          <p:nvSpPr>
            <p:cNvPr id="13" name="Freeform 12">
              <a:extLst>
                <a:ext uri="{FF2B5EF4-FFF2-40B4-BE49-F238E27FC236}">
                  <a16:creationId xmlns:a16="http://schemas.microsoft.com/office/drawing/2014/main" id="{F912BE59-940F-BD39-04EB-12CBEB28C38C}"/>
                </a:ext>
              </a:extLst>
            </p:cNvPr>
            <p:cNvSpPr/>
            <p:nvPr/>
          </p:nvSpPr>
          <p:spPr>
            <a:xfrm>
              <a:off x="5005819" y="1673264"/>
              <a:ext cx="2185284" cy="2184444"/>
            </a:xfrm>
            <a:custGeom>
              <a:avLst/>
              <a:gdLst>
                <a:gd name="connsiteX0" fmla="*/ 0 w 2185284"/>
                <a:gd name="connsiteY0" fmla="*/ 1092242 h 2184444"/>
                <a:gd name="connsiteX1" fmla="*/ 1092622 w 2185284"/>
                <a:gd name="connsiteY1" fmla="*/ 2184445 h 2184444"/>
                <a:gd name="connsiteX2" fmla="*/ 2185284 w 2185284"/>
                <a:gd name="connsiteY2" fmla="*/ 1092242 h 2184444"/>
                <a:gd name="connsiteX3" fmla="*/ 1092662 w 2185284"/>
                <a:gd name="connsiteY3" fmla="*/ 0 h 2184444"/>
                <a:gd name="connsiteX4" fmla="*/ 0 w 2185284"/>
                <a:gd name="connsiteY4" fmla="*/ 1092242 h 2184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284" h="2184444">
                  <a:moveTo>
                    <a:pt x="0" y="1092242"/>
                  </a:moveTo>
                  <a:cubicBezTo>
                    <a:pt x="0" y="1695463"/>
                    <a:pt x="489209" y="2184445"/>
                    <a:pt x="1092622" y="2184445"/>
                  </a:cubicBezTo>
                  <a:cubicBezTo>
                    <a:pt x="1696075" y="2184445"/>
                    <a:pt x="2185284" y="1695424"/>
                    <a:pt x="2185284" y="1092242"/>
                  </a:cubicBezTo>
                  <a:cubicBezTo>
                    <a:pt x="2185284" y="489060"/>
                    <a:pt x="1696115" y="0"/>
                    <a:pt x="1092662" y="0"/>
                  </a:cubicBezTo>
                  <a:cubicBezTo>
                    <a:pt x="489209" y="0"/>
                    <a:pt x="0" y="489021"/>
                    <a:pt x="0" y="1092242"/>
                  </a:cubicBezTo>
                </a:path>
              </a:pathLst>
            </a:custGeom>
            <a:solidFill>
              <a:schemeClr val="accent1">
                <a:alpha val="30000"/>
              </a:schemeClr>
            </a:solidFill>
            <a:ln w="3935"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7357EEA-E826-BD8B-F5B2-72ACF2AC7A7D}"/>
                </a:ext>
              </a:extLst>
            </p:cNvPr>
            <p:cNvSpPr/>
            <p:nvPr/>
          </p:nvSpPr>
          <p:spPr>
            <a:xfrm>
              <a:off x="98975" y="1673264"/>
              <a:ext cx="1092622" cy="2184444"/>
            </a:xfrm>
            <a:custGeom>
              <a:avLst/>
              <a:gdLst>
                <a:gd name="connsiteX0" fmla="*/ 0 w 1092622"/>
                <a:gd name="connsiteY0" fmla="*/ 0 h 2184444"/>
                <a:gd name="connsiteX1" fmla="*/ 0 w 1092622"/>
                <a:gd name="connsiteY1" fmla="*/ 2184445 h 2184444"/>
                <a:gd name="connsiteX2" fmla="*/ 1092622 w 1092622"/>
                <a:gd name="connsiteY2" fmla="*/ 1092242 h 2184444"/>
                <a:gd name="connsiteX3" fmla="*/ 0 w 1092622"/>
                <a:gd name="connsiteY3" fmla="*/ 0 h 2184444"/>
              </a:gdLst>
              <a:ahLst/>
              <a:cxnLst>
                <a:cxn ang="0">
                  <a:pos x="connsiteX0" y="connsiteY0"/>
                </a:cxn>
                <a:cxn ang="0">
                  <a:pos x="connsiteX1" y="connsiteY1"/>
                </a:cxn>
                <a:cxn ang="0">
                  <a:pos x="connsiteX2" y="connsiteY2"/>
                </a:cxn>
                <a:cxn ang="0">
                  <a:pos x="connsiteX3" y="connsiteY3"/>
                </a:cxn>
              </a:cxnLst>
              <a:rect l="l" t="t" r="r" b="b"/>
              <a:pathLst>
                <a:path w="1092622" h="2184444">
                  <a:moveTo>
                    <a:pt x="0" y="0"/>
                  </a:moveTo>
                  <a:lnTo>
                    <a:pt x="0" y="2184445"/>
                  </a:lnTo>
                  <a:cubicBezTo>
                    <a:pt x="603453" y="2184445"/>
                    <a:pt x="1092622" y="1695424"/>
                    <a:pt x="1092622" y="1092242"/>
                  </a:cubicBezTo>
                  <a:cubicBezTo>
                    <a:pt x="1092622" y="489060"/>
                    <a:pt x="603453" y="0"/>
                    <a:pt x="0" y="0"/>
                  </a:cubicBezTo>
                  <a:close/>
                </a:path>
              </a:pathLst>
            </a:custGeom>
            <a:solidFill>
              <a:schemeClr val="accent1">
                <a:alpha val="12000"/>
              </a:schemeClr>
            </a:solidFill>
            <a:ln w="3935"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B74BD2C6-E821-5220-72CB-882BF6771EFE}"/>
                </a:ext>
              </a:extLst>
            </p:cNvPr>
            <p:cNvSpPr/>
            <p:nvPr/>
          </p:nvSpPr>
          <p:spPr>
            <a:xfrm>
              <a:off x="6562306" y="1673264"/>
              <a:ext cx="1092622" cy="2184405"/>
            </a:xfrm>
            <a:custGeom>
              <a:avLst/>
              <a:gdLst>
                <a:gd name="connsiteX0" fmla="*/ 1092622 w 1092622"/>
                <a:gd name="connsiteY0" fmla="*/ 0 h 2184405"/>
                <a:gd name="connsiteX1" fmla="*/ 1092622 w 1092622"/>
                <a:gd name="connsiteY1" fmla="*/ 0 h 2184405"/>
                <a:gd name="connsiteX2" fmla="*/ 0 w 1092622"/>
                <a:gd name="connsiteY2" fmla="*/ 1092203 h 2184405"/>
                <a:gd name="connsiteX3" fmla="*/ 1092622 w 1092622"/>
                <a:gd name="connsiteY3" fmla="*/ 2184405 h 2184405"/>
                <a:gd name="connsiteX4" fmla="*/ 1092622 w 1092622"/>
                <a:gd name="connsiteY4" fmla="*/ 2184405 h 2184405"/>
                <a:gd name="connsiteX5" fmla="*/ 1092622 w 1092622"/>
                <a:gd name="connsiteY5" fmla="*/ 0 h 218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2622" h="2184405">
                  <a:moveTo>
                    <a:pt x="1092622" y="0"/>
                  </a:moveTo>
                  <a:cubicBezTo>
                    <a:pt x="1092622" y="0"/>
                    <a:pt x="1092622" y="0"/>
                    <a:pt x="1092622" y="0"/>
                  </a:cubicBezTo>
                  <a:cubicBezTo>
                    <a:pt x="489169" y="0"/>
                    <a:pt x="0" y="489021"/>
                    <a:pt x="0" y="1092203"/>
                  </a:cubicBezTo>
                  <a:cubicBezTo>
                    <a:pt x="0" y="1695385"/>
                    <a:pt x="489208" y="2184405"/>
                    <a:pt x="1092622" y="2184405"/>
                  </a:cubicBezTo>
                  <a:cubicBezTo>
                    <a:pt x="1092622" y="2184405"/>
                    <a:pt x="1092622" y="2184405"/>
                    <a:pt x="1092622" y="2184405"/>
                  </a:cubicBezTo>
                  <a:lnTo>
                    <a:pt x="1092622" y="0"/>
                  </a:lnTo>
                  <a:close/>
                </a:path>
              </a:pathLst>
            </a:custGeom>
            <a:solidFill>
              <a:schemeClr val="accent1"/>
            </a:solidFill>
            <a:ln w="3935" cap="flat">
              <a:noFill/>
              <a:prstDash val="solid"/>
              <a:miter/>
            </a:ln>
          </p:spPr>
          <p:txBody>
            <a:bodyPr rtlCol="0" anchor="ctr"/>
            <a:lstStyle/>
            <a:p>
              <a:endParaRPr lang="en-US"/>
            </a:p>
          </p:txBody>
        </p:sp>
      </p:grpSp>
      <p:sp>
        <p:nvSpPr>
          <p:cNvPr id="24" name="Graphic 11">
            <a:extLst>
              <a:ext uri="{FF2B5EF4-FFF2-40B4-BE49-F238E27FC236}">
                <a16:creationId xmlns:a16="http://schemas.microsoft.com/office/drawing/2014/main" id="{808EBF63-4D84-C935-B4FA-73132EA573EA}"/>
              </a:ext>
            </a:extLst>
          </p:cNvPr>
          <p:cNvSpPr/>
          <p:nvPr userDrawn="1"/>
        </p:nvSpPr>
        <p:spPr>
          <a:xfrm>
            <a:off x="334963" y="382312"/>
            <a:ext cx="1094377" cy="450106"/>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p>
        </p:txBody>
      </p:sp>
      <p:sp>
        <p:nvSpPr>
          <p:cNvPr id="25" name="Freeform 18">
            <a:extLst>
              <a:ext uri="{FF2B5EF4-FFF2-40B4-BE49-F238E27FC236}">
                <a16:creationId xmlns:a16="http://schemas.microsoft.com/office/drawing/2014/main" id="{37CAAA80-BF93-3F63-F6EF-EF3FA7809F81}"/>
              </a:ext>
            </a:extLst>
          </p:cNvPr>
          <p:cNvSpPr/>
          <p:nvPr userDrawn="1"/>
        </p:nvSpPr>
        <p:spPr>
          <a:xfrm>
            <a:off x="10941742" y="227296"/>
            <a:ext cx="915296" cy="907821"/>
          </a:xfrm>
          <a:custGeom>
            <a:avLst/>
            <a:gdLst>
              <a:gd name="connsiteX0" fmla="*/ 3825502 w 4803292"/>
              <a:gd name="connsiteY0" fmla="*/ 4632114 h 4764066"/>
              <a:gd name="connsiteX1" fmla="*/ 3891547 w 4803292"/>
              <a:gd name="connsiteY1" fmla="*/ 4698050 h 4764066"/>
              <a:gd name="connsiteX2" fmla="*/ 3825502 w 4803292"/>
              <a:gd name="connsiteY2" fmla="*/ 4764066 h 4764066"/>
              <a:gd name="connsiteX3" fmla="*/ 3759537 w 4803292"/>
              <a:gd name="connsiteY3" fmla="*/ 4698050 h 4764066"/>
              <a:gd name="connsiteX4" fmla="*/ 3825502 w 4803292"/>
              <a:gd name="connsiteY4" fmla="*/ 4632114 h 4764066"/>
              <a:gd name="connsiteX5" fmla="*/ 3925010 w 4803292"/>
              <a:gd name="connsiteY5" fmla="*/ 4414517 h 4764066"/>
              <a:gd name="connsiteX6" fmla="*/ 3990895 w 4803292"/>
              <a:gd name="connsiteY6" fmla="*/ 4480453 h 4764066"/>
              <a:gd name="connsiteX7" fmla="*/ 3925010 w 4803292"/>
              <a:gd name="connsiteY7" fmla="*/ 4546710 h 4764066"/>
              <a:gd name="connsiteX8" fmla="*/ 3858965 w 4803292"/>
              <a:gd name="connsiteY8" fmla="*/ 4480453 h 4764066"/>
              <a:gd name="connsiteX9" fmla="*/ 3925010 w 4803292"/>
              <a:gd name="connsiteY9" fmla="*/ 4414517 h 4764066"/>
              <a:gd name="connsiteX10" fmla="*/ 3661709 w 4803292"/>
              <a:gd name="connsiteY10" fmla="*/ 4414517 h 4764066"/>
              <a:gd name="connsiteX11" fmla="*/ 3727595 w 4803292"/>
              <a:gd name="connsiteY11" fmla="*/ 4480453 h 4764066"/>
              <a:gd name="connsiteX12" fmla="*/ 3661709 w 4803292"/>
              <a:gd name="connsiteY12" fmla="*/ 4546710 h 4764066"/>
              <a:gd name="connsiteX13" fmla="*/ 3595664 w 4803292"/>
              <a:gd name="connsiteY13" fmla="*/ 4480453 h 4764066"/>
              <a:gd name="connsiteX14" fmla="*/ 3661709 w 4803292"/>
              <a:gd name="connsiteY14" fmla="*/ 4414517 h 4764066"/>
              <a:gd name="connsiteX15" fmla="*/ 3982170 w 4803292"/>
              <a:gd name="connsiteY15" fmla="*/ 3933336 h 4764066"/>
              <a:gd name="connsiteX16" fmla="*/ 4048055 w 4803292"/>
              <a:gd name="connsiteY16" fmla="*/ 3999352 h 4764066"/>
              <a:gd name="connsiteX17" fmla="*/ 3982170 w 4803292"/>
              <a:gd name="connsiteY17" fmla="*/ 4065288 h 4764066"/>
              <a:gd name="connsiteX18" fmla="*/ 3915964 w 4803292"/>
              <a:gd name="connsiteY18" fmla="*/ 3999352 h 4764066"/>
              <a:gd name="connsiteX19" fmla="*/ 3982170 w 4803292"/>
              <a:gd name="connsiteY19" fmla="*/ 3933336 h 4764066"/>
              <a:gd name="connsiteX20" fmla="*/ 3471579 w 4803292"/>
              <a:gd name="connsiteY20" fmla="*/ 3904333 h 4764066"/>
              <a:gd name="connsiteX21" fmla="*/ 3560680 w 4803292"/>
              <a:gd name="connsiteY21" fmla="*/ 3993503 h 4764066"/>
              <a:gd name="connsiteX22" fmla="*/ 3471579 w 4803292"/>
              <a:gd name="connsiteY22" fmla="*/ 4082753 h 4764066"/>
              <a:gd name="connsiteX23" fmla="*/ 3382558 w 4803292"/>
              <a:gd name="connsiteY23" fmla="*/ 3993503 h 4764066"/>
              <a:gd name="connsiteX24" fmla="*/ 3471579 w 4803292"/>
              <a:gd name="connsiteY24" fmla="*/ 3904333 h 4764066"/>
              <a:gd name="connsiteX25" fmla="*/ 3793560 w 4803292"/>
              <a:gd name="connsiteY25" fmla="*/ 3678564 h 4764066"/>
              <a:gd name="connsiteX26" fmla="*/ 3882661 w 4803292"/>
              <a:gd name="connsiteY26" fmla="*/ 3767975 h 4764066"/>
              <a:gd name="connsiteX27" fmla="*/ 3793560 w 4803292"/>
              <a:gd name="connsiteY27" fmla="*/ 3857145 h 4764066"/>
              <a:gd name="connsiteX28" fmla="*/ 3704379 w 4803292"/>
              <a:gd name="connsiteY28" fmla="*/ 3767975 h 4764066"/>
              <a:gd name="connsiteX29" fmla="*/ 3793560 w 4803292"/>
              <a:gd name="connsiteY29" fmla="*/ 3678564 h 4764066"/>
              <a:gd name="connsiteX30" fmla="*/ 4302789 w 4803292"/>
              <a:gd name="connsiteY30" fmla="*/ 3612387 h 4764066"/>
              <a:gd name="connsiteX31" fmla="*/ 4368674 w 4803292"/>
              <a:gd name="connsiteY31" fmla="*/ 3678323 h 4764066"/>
              <a:gd name="connsiteX32" fmla="*/ 4302789 w 4803292"/>
              <a:gd name="connsiteY32" fmla="*/ 3744580 h 4764066"/>
              <a:gd name="connsiteX33" fmla="*/ 4236744 w 4803292"/>
              <a:gd name="connsiteY33" fmla="*/ 3678323 h 4764066"/>
              <a:gd name="connsiteX34" fmla="*/ 4302789 w 4803292"/>
              <a:gd name="connsiteY34" fmla="*/ 3612387 h 4764066"/>
              <a:gd name="connsiteX35" fmla="*/ 3298021 w 4803292"/>
              <a:gd name="connsiteY35" fmla="*/ 3579620 h 4764066"/>
              <a:gd name="connsiteX36" fmla="*/ 3411218 w 4803292"/>
              <a:gd name="connsiteY36" fmla="*/ 3692745 h 4764066"/>
              <a:gd name="connsiteX37" fmla="*/ 3298021 w 4803292"/>
              <a:gd name="connsiteY37" fmla="*/ 3806190 h 4764066"/>
              <a:gd name="connsiteX38" fmla="*/ 3184823 w 4803292"/>
              <a:gd name="connsiteY38" fmla="*/ 3692745 h 4764066"/>
              <a:gd name="connsiteX39" fmla="*/ 3298021 w 4803292"/>
              <a:gd name="connsiteY39" fmla="*/ 3579620 h 4764066"/>
              <a:gd name="connsiteX40" fmla="*/ 4071430 w 4803292"/>
              <a:gd name="connsiteY40" fmla="*/ 3400478 h 4764066"/>
              <a:gd name="connsiteX41" fmla="*/ 4160611 w 4803292"/>
              <a:gd name="connsiteY41" fmla="*/ 3489648 h 4764066"/>
              <a:gd name="connsiteX42" fmla="*/ 4071430 w 4803292"/>
              <a:gd name="connsiteY42" fmla="*/ 3578898 h 4764066"/>
              <a:gd name="connsiteX43" fmla="*/ 3982249 w 4803292"/>
              <a:gd name="connsiteY43" fmla="*/ 3489648 h 4764066"/>
              <a:gd name="connsiteX44" fmla="*/ 4071430 w 4803292"/>
              <a:gd name="connsiteY44" fmla="*/ 3400478 h 4764066"/>
              <a:gd name="connsiteX45" fmla="*/ 616663 w 4803292"/>
              <a:gd name="connsiteY45" fmla="*/ 3400318 h 4764066"/>
              <a:gd name="connsiteX46" fmla="*/ 705844 w 4803292"/>
              <a:gd name="connsiteY46" fmla="*/ 3489568 h 4764066"/>
              <a:gd name="connsiteX47" fmla="*/ 616663 w 4803292"/>
              <a:gd name="connsiteY47" fmla="*/ 3578738 h 4764066"/>
              <a:gd name="connsiteX48" fmla="*/ 527482 w 4803292"/>
              <a:gd name="connsiteY48" fmla="*/ 3489568 h 4764066"/>
              <a:gd name="connsiteX49" fmla="*/ 616663 w 4803292"/>
              <a:gd name="connsiteY49" fmla="*/ 3400318 h 4764066"/>
              <a:gd name="connsiteX50" fmla="*/ 3570447 w 4803292"/>
              <a:gd name="connsiteY50" fmla="*/ 3388461 h 4764066"/>
              <a:gd name="connsiteX51" fmla="*/ 3683805 w 4803292"/>
              <a:gd name="connsiteY51" fmla="*/ 3501906 h 4764066"/>
              <a:gd name="connsiteX52" fmla="*/ 3570447 w 4803292"/>
              <a:gd name="connsiteY52" fmla="*/ 3615192 h 4764066"/>
              <a:gd name="connsiteX53" fmla="*/ 3457410 w 4803292"/>
              <a:gd name="connsiteY53" fmla="*/ 3501906 h 4764066"/>
              <a:gd name="connsiteX54" fmla="*/ 3570447 w 4803292"/>
              <a:gd name="connsiteY54" fmla="*/ 3388461 h 4764066"/>
              <a:gd name="connsiteX55" fmla="*/ 2878053 w 4803292"/>
              <a:gd name="connsiteY55" fmla="*/ 3376042 h 4764066"/>
              <a:gd name="connsiteX56" fmla="*/ 3009023 w 4803292"/>
              <a:gd name="connsiteY56" fmla="*/ 3507194 h 4764066"/>
              <a:gd name="connsiteX57" fmla="*/ 2878053 w 4803292"/>
              <a:gd name="connsiteY57" fmla="*/ 3638345 h 4764066"/>
              <a:gd name="connsiteX58" fmla="*/ 2746843 w 4803292"/>
              <a:gd name="connsiteY58" fmla="*/ 3507194 h 4764066"/>
              <a:gd name="connsiteX59" fmla="*/ 2878053 w 4803292"/>
              <a:gd name="connsiteY59" fmla="*/ 3376042 h 4764066"/>
              <a:gd name="connsiteX60" fmla="*/ 3124542 w 4803292"/>
              <a:gd name="connsiteY60" fmla="*/ 3260995 h 4764066"/>
              <a:gd name="connsiteX61" fmla="*/ 3255752 w 4803292"/>
              <a:gd name="connsiteY61" fmla="*/ 3392146 h 4764066"/>
              <a:gd name="connsiteX62" fmla="*/ 3124542 w 4803292"/>
              <a:gd name="connsiteY62" fmla="*/ 3523297 h 4764066"/>
              <a:gd name="connsiteX63" fmla="*/ 2993572 w 4803292"/>
              <a:gd name="connsiteY63" fmla="*/ 3392146 h 4764066"/>
              <a:gd name="connsiteX64" fmla="*/ 3124542 w 4803292"/>
              <a:gd name="connsiteY64" fmla="*/ 3260995 h 4764066"/>
              <a:gd name="connsiteX65" fmla="*/ 4562807 w 4803292"/>
              <a:gd name="connsiteY65" fmla="*/ 3240485 h 4764066"/>
              <a:gd name="connsiteX66" fmla="*/ 4628852 w 4803292"/>
              <a:gd name="connsiteY66" fmla="*/ 3306421 h 4764066"/>
              <a:gd name="connsiteX67" fmla="*/ 4562807 w 4803292"/>
              <a:gd name="connsiteY67" fmla="*/ 3372678 h 4764066"/>
              <a:gd name="connsiteX68" fmla="*/ 4496922 w 4803292"/>
              <a:gd name="connsiteY68" fmla="*/ 3306421 h 4764066"/>
              <a:gd name="connsiteX69" fmla="*/ 4562807 w 4803292"/>
              <a:gd name="connsiteY69" fmla="*/ 3240485 h 4764066"/>
              <a:gd name="connsiteX70" fmla="*/ 3805568 w 4803292"/>
              <a:gd name="connsiteY70" fmla="*/ 3153318 h 4764066"/>
              <a:gd name="connsiteX71" fmla="*/ 3918926 w 4803292"/>
              <a:gd name="connsiteY71" fmla="*/ 3266443 h 4764066"/>
              <a:gd name="connsiteX72" fmla="*/ 3805568 w 4803292"/>
              <a:gd name="connsiteY72" fmla="*/ 3379889 h 4764066"/>
              <a:gd name="connsiteX73" fmla="*/ 3692531 w 4803292"/>
              <a:gd name="connsiteY73" fmla="*/ 3266443 h 4764066"/>
              <a:gd name="connsiteX74" fmla="*/ 3805568 w 4803292"/>
              <a:gd name="connsiteY74" fmla="*/ 3153318 h 4764066"/>
              <a:gd name="connsiteX75" fmla="*/ 882365 w 4803292"/>
              <a:gd name="connsiteY75" fmla="*/ 3152997 h 4764066"/>
              <a:gd name="connsiteX76" fmla="*/ 995722 w 4803292"/>
              <a:gd name="connsiteY76" fmla="*/ 3266442 h 4764066"/>
              <a:gd name="connsiteX77" fmla="*/ 882365 w 4803292"/>
              <a:gd name="connsiteY77" fmla="*/ 3379728 h 4764066"/>
              <a:gd name="connsiteX78" fmla="*/ 769327 w 4803292"/>
              <a:gd name="connsiteY78" fmla="*/ 3266442 h 4764066"/>
              <a:gd name="connsiteX79" fmla="*/ 882365 w 4803292"/>
              <a:gd name="connsiteY79" fmla="*/ 3152997 h 4764066"/>
              <a:gd name="connsiteX80" fmla="*/ 3347574 w 4803292"/>
              <a:gd name="connsiteY80" fmla="*/ 3104847 h 4764066"/>
              <a:gd name="connsiteX81" fmla="*/ 3478544 w 4803292"/>
              <a:gd name="connsiteY81" fmla="*/ 3235998 h 4764066"/>
              <a:gd name="connsiteX82" fmla="*/ 3347574 w 4803292"/>
              <a:gd name="connsiteY82" fmla="*/ 3367069 h 4764066"/>
              <a:gd name="connsiteX83" fmla="*/ 3216364 w 4803292"/>
              <a:gd name="connsiteY83" fmla="*/ 3235998 h 4764066"/>
              <a:gd name="connsiteX84" fmla="*/ 3347574 w 4803292"/>
              <a:gd name="connsiteY84" fmla="*/ 3104847 h 4764066"/>
              <a:gd name="connsiteX85" fmla="*/ 1340279 w 4803292"/>
              <a:gd name="connsiteY85" fmla="*/ 3104687 h 4764066"/>
              <a:gd name="connsiteX86" fmla="*/ 1471329 w 4803292"/>
              <a:gd name="connsiteY86" fmla="*/ 3235838 h 4764066"/>
              <a:gd name="connsiteX87" fmla="*/ 1340279 w 4803292"/>
              <a:gd name="connsiteY87" fmla="*/ 3366910 h 4764066"/>
              <a:gd name="connsiteX88" fmla="*/ 1209229 w 4803292"/>
              <a:gd name="connsiteY88" fmla="*/ 3235838 h 4764066"/>
              <a:gd name="connsiteX89" fmla="*/ 1340279 w 4803292"/>
              <a:gd name="connsiteY89" fmla="*/ 3104687 h 4764066"/>
              <a:gd name="connsiteX90" fmla="*/ 4296945 w 4803292"/>
              <a:gd name="connsiteY90" fmla="*/ 3078329 h 4764066"/>
              <a:gd name="connsiteX91" fmla="*/ 4386046 w 4803292"/>
              <a:gd name="connsiteY91" fmla="*/ 3167499 h 4764066"/>
              <a:gd name="connsiteX92" fmla="*/ 4296945 w 4803292"/>
              <a:gd name="connsiteY92" fmla="*/ 3256669 h 4764066"/>
              <a:gd name="connsiteX93" fmla="*/ 4207924 w 4803292"/>
              <a:gd name="connsiteY93" fmla="*/ 3167499 h 4764066"/>
              <a:gd name="connsiteX94" fmla="*/ 4296945 w 4803292"/>
              <a:gd name="connsiteY94" fmla="*/ 3078329 h 4764066"/>
              <a:gd name="connsiteX95" fmla="*/ 391148 w 4803292"/>
              <a:gd name="connsiteY95" fmla="*/ 3078168 h 4764066"/>
              <a:gd name="connsiteX96" fmla="*/ 480329 w 4803292"/>
              <a:gd name="connsiteY96" fmla="*/ 3167258 h 4764066"/>
              <a:gd name="connsiteX97" fmla="*/ 391148 w 4803292"/>
              <a:gd name="connsiteY97" fmla="*/ 3256508 h 4764066"/>
              <a:gd name="connsiteX98" fmla="*/ 302127 w 4803292"/>
              <a:gd name="connsiteY98" fmla="*/ 3167258 h 4764066"/>
              <a:gd name="connsiteX99" fmla="*/ 391148 w 4803292"/>
              <a:gd name="connsiteY99" fmla="*/ 3078168 h 4764066"/>
              <a:gd name="connsiteX100" fmla="*/ 1148227 w 4803292"/>
              <a:gd name="connsiteY100" fmla="*/ 2912647 h 4764066"/>
              <a:gd name="connsiteX101" fmla="*/ 1279437 w 4803292"/>
              <a:gd name="connsiteY101" fmla="*/ 3043798 h 4764066"/>
              <a:gd name="connsiteX102" fmla="*/ 1148227 w 4803292"/>
              <a:gd name="connsiteY102" fmla="*/ 3174869 h 4764066"/>
              <a:gd name="connsiteX103" fmla="*/ 1017257 w 4803292"/>
              <a:gd name="connsiteY103" fmla="*/ 3043798 h 4764066"/>
              <a:gd name="connsiteX104" fmla="*/ 1148227 w 4803292"/>
              <a:gd name="connsiteY104" fmla="*/ 2912647 h 4764066"/>
              <a:gd name="connsiteX105" fmla="*/ 3540026 w 4803292"/>
              <a:gd name="connsiteY105" fmla="*/ 2912086 h 4764066"/>
              <a:gd name="connsiteX106" fmla="*/ 3670996 w 4803292"/>
              <a:gd name="connsiteY106" fmla="*/ 3043237 h 4764066"/>
              <a:gd name="connsiteX107" fmla="*/ 3540026 w 4803292"/>
              <a:gd name="connsiteY107" fmla="*/ 3174388 h 4764066"/>
              <a:gd name="connsiteX108" fmla="*/ 3408816 w 4803292"/>
              <a:gd name="connsiteY108" fmla="*/ 3043237 h 4764066"/>
              <a:gd name="connsiteX109" fmla="*/ 3540026 w 4803292"/>
              <a:gd name="connsiteY109" fmla="*/ 2912086 h 4764066"/>
              <a:gd name="connsiteX110" fmla="*/ 3996499 w 4803292"/>
              <a:gd name="connsiteY110" fmla="*/ 2880680 h 4764066"/>
              <a:gd name="connsiteX111" fmla="*/ 4109696 w 4803292"/>
              <a:gd name="connsiteY111" fmla="*/ 2993805 h 4764066"/>
              <a:gd name="connsiteX112" fmla="*/ 3996499 w 4803292"/>
              <a:gd name="connsiteY112" fmla="*/ 3107250 h 4764066"/>
              <a:gd name="connsiteX113" fmla="*/ 3883301 w 4803292"/>
              <a:gd name="connsiteY113" fmla="*/ 2993805 h 4764066"/>
              <a:gd name="connsiteX114" fmla="*/ 3996499 w 4803292"/>
              <a:gd name="connsiteY114" fmla="*/ 2880680 h 4764066"/>
              <a:gd name="connsiteX115" fmla="*/ 691675 w 4803292"/>
              <a:gd name="connsiteY115" fmla="*/ 2880600 h 4764066"/>
              <a:gd name="connsiteX116" fmla="*/ 804872 w 4803292"/>
              <a:gd name="connsiteY116" fmla="*/ 2993885 h 4764066"/>
              <a:gd name="connsiteX117" fmla="*/ 691675 w 4803292"/>
              <a:gd name="connsiteY117" fmla="*/ 3107170 h 4764066"/>
              <a:gd name="connsiteX118" fmla="*/ 578477 w 4803292"/>
              <a:gd name="connsiteY118" fmla="*/ 2993885 h 4764066"/>
              <a:gd name="connsiteX119" fmla="*/ 691675 w 4803292"/>
              <a:gd name="connsiteY119" fmla="*/ 2880600 h 4764066"/>
              <a:gd name="connsiteX120" fmla="*/ 4737247 w 4803292"/>
              <a:gd name="connsiteY120" fmla="*/ 2846390 h 4764066"/>
              <a:gd name="connsiteX121" fmla="*/ 4803292 w 4803292"/>
              <a:gd name="connsiteY121" fmla="*/ 2912326 h 4764066"/>
              <a:gd name="connsiteX122" fmla="*/ 4737247 w 4803292"/>
              <a:gd name="connsiteY122" fmla="*/ 2978583 h 4764066"/>
              <a:gd name="connsiteX123" fmla="*/ 4671282 w 4803292"/>
              <a:gd name="connsiteY123" fmla="*/ 2912326 h 4764066"/>
              <a:gd name="connsiteX124" fmla="*/ 4737247 w 4803292"/>
              <a:gd name="connsiteY124" fmla="*/ 2846390 h 4764066"/>
              <a:gd name="connsiteX125" fmla="*/ 4463140 w 4803292"/>
              <a:gd name="connsiteY125" fmla="*/ 2721728 h 4764066"/>
              <a:gd name="connsiteX126" fmla="*/ 4552160 w 4803292"/>
              <a:gd name="connsiteY126" fmla="*/ 2810898 h 4764066"/>
              <a:gd name="connsiteX127" fmla="*/ 4463140 w 4803292"/>
              <a:gd name="connsiteY127" fmla="*/ 2900068 h 4764066"/>
              <a:gd name="connsiteX128" fmla="*/ 4373798 w 4803292"/>
              <a:gd name="connsiteY128" fmla="*/ 2810898 h 4764066"/>
              <a:gd name="connsiteX129" fmla="*/ 4463140 w 4803292"/>
              <a:gd name="connsiteY129" fmla="*/ 2721728 h 4764066"/>
              <a:gd name="connsiteX130" fmla="*/ 225114 w 4803292"/>
              <a:gd name="connsiteY130" fmla="*/ 2721728 h 4764066"/>
              <a:gd name="connsiteX131" fmla="*/ 314215 w 4803292"/>
              <a:gd name="connsiteY131" fmla="*/ 2810898 h 4764066"/>
              <a:gd name="connsiteX132" fmla="*/ 225114 w 4803292"/>
              <a:gd name="connsiteY132" fmla="*/ 2900068 h 4764066"/>
              <a:gd name="connsiteX133" fmla="*/ 135933 w 4803292"/>
              <a:gd name="connsiteY133" fmla="*/ 2810898 h 4764066"/>
              <a:gd name="connsiteX134" fmla="*/ 225114 w 4803292"/>
              <a:gd name="connsiteY134" fmla="*/ 2721728 h 4764066"/>
              <a:gd name="connsiteX135" fmla="*/ 3695973 w 4803292"/>
              <a:gd name="connsiteY135" fmla="*/ 2689041 h 4764066"/>
              <a:gd name="connsiteX136" fmla="*/ 3827023 w 4803292"/>
              <a:gd name="connsiteY136" fmla="*/ 2820192 h 4764066"/>
              <a:gd name="connsiteX137" fmla="*/ 3695973 w 4803292"/>
              <a:gd name="connsiteY137" fmla="*/ 2951263 h 4764066"/>
              <a:gd name="connsiteX138" fmla="*/ 3564923 w 4803292"/>
              <a:gd name="connsiteY138" fmla="*/ 2820192 h 4764066"/>
              <a:gd name="connsiteX139" fmla="*/ 3695973 w 4803292"/>
              <a:gd name="connsiteY139" fmla="*/ 2689041 h 4764066"/>
              <a:gd name="connsiteX140" fmla="*/ 992200 w 4803292"/>
              <a:gd name="connsiteY140" fmla="*/ 2689041 h 4764066"/>
              <a:gd name="connsiteX141" fmla="*/ 1123170 w 4803292"/>
              <a:gd name="connsiteY141" fmla="*/ 2820192 h 4764066"/>
              <a:gd name="connsiteX142" fmla="*/ 992200 w 4803292"/>
              <a:gd name="connsiteY142" fmla="*/ 2951264 h 4764066"/>
              <a:gd name="connsiteX143" fmla="*/ 860990 w 4803292"/>
              <a:gd name="connsiteY143" fmla="*/ 2820192 h 4764066"/>
              <a:gd name="connsiteX144" fmla="*/ 992200 w 4803292"/>
              <a:gd name="connsiteY144" fmla="*/ 2689041 h 4764066"/>
              <a:gd name="connsiteX145" fmla="*/ 4137075 w 4803292"/>
              <a:gd name="connsiteY145" fmla="*/ 2579040 h 4764066"/>
              <a:gd name="connsiteX146" fmla="*/ 4250113 w 4803292"/>
              <a:gd name="connsiteY146" fmla="*/ 2692165 h 4764066"/>
              <a:gd name="connsiteX147" fmla="*/ 4137075 w 4803292"/>
              <a:gd name="connsiteY147" fmla="*/ 2805450 h 4764066"/>
              <a:gd name="connsiteX148" fmla="*/ 4023718 w 4803292"/>
              <a:gd name="connsiteY148" fmla="*/ 2692165 h 4764066"/>
              <a:gd name="connsiteX149" fmla="*/ 4137075 w 4803292"/>
              <a:gd name="connsiteY149" fmla="*/ 2579040 h 4764066"/>
              <a:gd name="connsiteX150" fmla="*/ 551018 w 4803292"/>
              <a:gd name="connsiteY150" fmla="*/ 2578880 h 4764066"/>
              <a:gd name="connsiteX151" fmla="*/ 664375 w 4803292"/>
              <a:gd name="connsiteY151" fmla="*/ 2692005 h 4764066"/>
              <a:gd name="connsiteX152" fmla="*/ 551018 w 4803292"/>
              <a:gd name="connsiteY152" fmla="*/ 2805450 h 4764066"/>
              <a:gd name="connsiteX153" fmla="*/ 437980 w 4803292"/>
              <a:gd name="connsiteY153" fmla="*/ 2692005 h 4764066"/>
              <a:gd name="connsiteX154" fmla="*/ 551018 w 4803292"/>
              <a:gd name="connsiteY154" fmla="*/ 2578880 h 4764066"/>
              <a:gd name="connsiteX155" fmla="*/ 3811092 w 4803292"/>
              <a:gd name="connsiteY155" fmla="*/ 2442281 h 4764066"/>
              <a:gd name="connsiteX156" fmla="*/ 3942062 w 4803292"/>
              <a:gd name="connsiteY156" fmla="*/ 2573432 h 4764066"/>
              <a:gd name="connsiteX157" fmla="*/ 3811092 w 4803292"/>
              <a:gd name="connsiteY157" fmla="*/ 2704583 h 4764066"/>
              <a:gd name="connsiteX158" fmla="*/ 3679882 w 4803292"/>
              <a:gd name="connsiteY158" fmla="*/ 2573432 h 4764066"/>
              <a:gd name="connsiteX159" fmla="*/ 3811092 w 4803292"/>
              <a:gd name="connsiteY159" fmla="*/ 2442281 h 4764066"/>
              <a:gd name="connsiteX160" fmla="*/ 877161 w 4803292"/>
              <a:gd name="connsiteY160" fmla="*/ 2442201 h 4764066"/>
              <a:gd name="connsiteX161" fmla="*/ 1008211 w 4803292"/>
              <a:gd name="connsiteY161" fmla="*/ 2573352 h 4764066"/>
              <a:gd name="connsiteX162" fmla="*/ 877161 w 4803292"/>
              <a:gd name="connsiteY162" fmla="*/ 2704503 h 4764066"/>
              <a:gd name="connsiteX163" fmla="*/ 745951 w 4803292"/>
              <a:gd name="connsiteY163" fmla="*/ 2573352 h 4764066"/>
              <a:gd name="connsiteX164" fmla="*/ 877161 w 4803292"/>
              <a:gd name="connsiteY164" fmla="*/ 2442201 h 4764066"/>
              <a:gd name="connsiteX165" fmla="*/ 4564809 w 4803292"/>
              <a:gd name="connsiteY165" fmla="*/ 2341975 h 4764066"/>
              <a:gd name="connsiteX166" fmla="*/ 4653910 w 4803292"/>
              <a:gd name="connsiteY166" fmla="*/ 2431145 h 4764066"/>
              <a:gd name="connsiteX167" fmla="*/ 4564809 w 4803292"/>
              <a:gd name="connsiteY167" fmla="*/ 2520315 h 4764066"/>
              <a:gd name="connsiteX168" fmla="*/ 4475628 w 4803292"/>
              <a:gd name="connsiteY168" fmla="*/ 2431145 h 4764066"/>
              <a:gd name="connsiteX169" fmla="*/ 4564809 w 4803292"/>
              <a:gd name="connsiteY169" fmla="*/ 2341975 h 4764066"/>
              <a:gd name="connsiteX170" fmla="*/ 123365 w 4803292"/>
              <a:gd name="connsiteY170" fmla="*/ 2341975 h 4764066"/>
              <a:gd name="connsiteX171" fmla="*/ 212466 w 4803292"/>
              <a:gd name="connsiteY171" fmla="*/ 2431145 h 4764066"/>
              <a:gd name="connsiteX172" fmla="*/ 123365 w 4803292"/>
              <a:gd name="connsiteY172" fmla="*/ 2520315 h 4764066"/>
              <a:gd name="connsiteX173" fmla="*/ 34184 w 4803292"/>
              <a:gd name="connsiteY173" fmla="*/ 2431145 h 4764066"/>
              <a:gd name="connsiteX174" fmla="*/ 123365 w 4803292"/>
              <a:gd name="connsiteY174" fmla="*/ 2341975 h 4764066"/>
              <a:gd name="connsiteX175" fmla="*/ 4223054 w 4803292"/>
              <a:gd name="connsiteY175" fmla="*/ 2257692 h 4764066"/>
              <a:gd name="connsiteX176" fmla="*/ 4336252 w 4803292"/>
              <a:gd name="connsiteY176" fmla="*/ 2370897 h 4764066"/>
              <a:gd name="connsiteX177" fmla="*/ 4223054 w 4803292"/>
              <a:gd name="connsiteY177" fmla="*/ 2484262 h 4764066"/>
              <a:gd name="connsiteX178" fmla="*/ 4109857 w 4803292"/>
              <a:gd name="connsiteY178" fmla="*/ 2370897 h 4764066"/>
              <a:gd name="connsiteX179" fmla="*/ 4223054 w 4803292"/>
              <a:gd name="connsiteY179" fmla="*/ 2257692 h 4764066"/>
              <a:gd name="connsiteX180" fmla="*/ 464959 w 4803292"/>
              <a:gd name="connsiteY180" fmla="*/ 2257452 h 4764066"/>
              <a:gd name="connsiteX181" fmla="*/ 578156 w 4803292"/>
              <a:gd name="connsiteY181" fmla="*/ 2370817 h 4764066"/>
              <a:gd name="connsiteX182" fmla="*/ 464959 w 4803292"/>
              <a:gd name="connsiteY182" fmla="*/ 2484183 h 4764066"/>
              <a:gd name="connsiteX183" fmla="*/ 351921 w 4803292"/>
              <a:gd name="connsiteY183" fmla="*/ 2370817 h 4764066"/>
              <a:gd name="connsiteX184" fmla="*/ 464959 w 4803292"/>
              <a:gd name="connsiteY184" fmla="*/ 2257452 h 4764066"/>
              <a:gd name="connsiteX185" fmla="*/ 3881460 w 4803292"/>
              <a:gd name="connsiteY185" fmla="*/ 2179498 h 4764066"/>
              <a:gd name="connsiteX186" fmla="*/ 4012510 w 4803292"/>
              <a:gd name="connsiteY186" fmla="*/ 2310569 h 4764066"/>
              <a:gd name="connsiteX187" fmla="*/ 3881460 w 4803292"/>
              <a:gd name="connsiteY187" fmla="*/ 2441800 h 4764066"/>
              <a:gd name="connsiteX188" fmla="*/ 3750330 w 4803292"/>
              <a:gd name="connsiteY188" fmla="*/ 2310569 h 4764066"/>
              <a:gd name="connsiteX189" fmla="*/ 3881460 w 4803292"/>
              <a:gd name="connsiteY189" fmla="*/ 2179498 h 4764066"/>
              <a:gd name="connsiteX190" fmla="*/ 806713 w 4803292"/>
              <a:gd name="connsiteY190" fmla="*/ 2179498 h 4764066"/>
              <a:gd name="connsiteX191" fmla="*/ 937763 w 4803292"/>
              <a:gd name="connsiteY191" fmla="*/ 2310569 h 4764066"/>
              <a:gd name="connsiteX192" fmla="*/ 806713 w 4803292"/>
              <a:gd name="connsiteY192" fmla="*/ 2441800 h 4764066"/>
              <a:gd name="connsiteX193" fmla="*/ 675583 w 4803292"/>
              <a:gd name="connsiteY193" fmla="*/ 2310569 h 4764066"/>
              <a:gd name="connsiteX194" fmla="*/ 806713 w 4803292"/>
              <a:gd name="connsiteY194" fmla="*/ 2179498 h 4764066"/>
              <a:gd name="connsiteX195" fmla="*/ 89181 w 4803292"/>
              <a:gd name="connsiteY195" fmla="*/ 1950284 h 4764066"/>
              <a:gd name="connsiteX196" fmla="*/ 178282 w 4803292"/>
              <a:gd name="connsiteY196" fmla="*/ 2039454 h 4764066"/>
              <a:gd name="connsiteX197" fmla="*/ 89181 w 4803292"/>
              <a:gd name="connsiteY197" fmla="*/ 2128624 h 4764066"/>
              <a:gd name="connsiteX198" fmla="*/ 0 w 4803292"/>
              <a:gd name="connsiteY198" fmla="*/ 2039454 h 4764066"/>
              <a:gd name="connsiteX199" fmla="*/ 89181 w 4803292"/>
              <a:gd name="connsiteY199" fmla="*/ 1950284 h 4764066"/>
              <a:gd name="connsiteX200" fmla="*/ 4597391 w 4803292"/>
              <a:gd name="connsiteY200" fmla="*/ 1950204 h 4764066"/>
              <a:gd name="connsiteX201" fmla="*/ 4686492 w 4803292"/>
              <a:gd name="connsiteY201" fmla="*/ 2039374 h 4764066"/>
              <a:gd name="connsiteX202" fmla="*/ 4597391 w 4803292"/>
              <a:gd name="connsiteY202" fmla="*/ 2128544 h 4764066"/>
              <a:gd name="connsiteX203" fmla="*/ 4508050 w 4803292"/>
              <a:gd name="connsiteY203" fmla="*/ 2039374 h 4764066"/>
              <a:gd name="connsiteX204" fmla="*/ 4597391 w 4803292"/>
              <a:gd name="connsiteY204" fmla="*/ 1950204 h 4764066"/>
              <a:gd name="connsiteX205" fmla="*/ 4252194 w 4803292"/>
              <a:gd name="connsiteY205" fmla="*/ 1926169 h 4764066"/>
              <a:gd name="connsiteX206" fmla="*/ 4365232 w 4803292"/>
              <a:gd name="connsiteY206" fmla="*/ 2039534 h 4764066"/>
              <a:gd name="connsiteX207" fmla="*/ 4252194 w 4803292"/>
              <a:gd name="connsiteY207" fmla="*/ 2152900 h 4764066"/>
              <a:gd name="connsiteX208" fmla="*/ 4138837 w 4803292"/>
              <a:gd name="connsiteY208" fmla="*/ 2039534 h 4764066"/>
              <a:gd name="connsiteX209" fmla="*/ 4252194 w 4803292"/>
              <a:gd name="connsiteY209" fmla="*/ 1926169 h 4764066"/>
              <a:gd name="connsiteX210" fmla="*/ 436060 w 4803292"/>
              <a:gd name="connsiteY210" fmla="*/ 1926088 h 4764066"/>
              <a:gd name="connsiteX211" fmla="*/ 549257 w 4803292"/>
              <a:gd name="connsiteY211" fmla="*/ 2039454 h 4764066"/>
              <a:gd name="connsiteX212" fmla="*/ 436060 w 4803292"/>
              <a:gd name="connsiteY212" fmla="*/ 2152819 h 4764066"/>
              <a:gd name="connsiteX213" fmla="*/ 322862 w 4803292"/>
              <a:gd name="connsiteY213" fmla="*/ 2039454 h 4764066"/>
              <a:gd name="connsiteX214" fmla="*/ 436060 w 4803292"/>
              <a:gd name="connsiteY214" fmla="*/ 1926088 h 4764066"/>
              <a:gd name="connsiteX215" fmla="*/ 3905237 w 4803292"/>
              <a:gd name="connsiteY215" fmla="*/ 1908383 h 4764066"/>
              <a:gd name="connsiteX216" fmla="*/ 4036287 w 4803292"/>
              <a:gd name="connsiteY216" fmla="*/ 2039534 h 4764066"/>
              <a:gd name="connsiteX217" fmla="*/ 3905237 w 4803292"/>
              <a:gd name="connsiteY217" fmla="*/ 2170685 h 4764066"/>
              <a:gd name="connsiteX218" fmla="*/ 3774107 w 4803292"/>
              <a:gd name="connsiteY218" fmla="*/ 2039534 h 4764066"/>
              <a:gd name="connsiteX219" fmla="*/ 3905237 w 4803292"/>
              <a:gd name="connsiteY219" fmla="*/ 1908383 h 4764066"/>
              <a:gd name="connsiteX220" fmla="*/ 783097 w 4803292"/>
              <a:gd name="connsiteY220" fmla="*/ 1908383 h 4764066"/>
              <a:gd name="connsiteX221" fmla="*/ 914067 w 4803292"/>
              <a:gd name="connsiteY221" fmla="*/ 2039534 h 4764066"/>
              <a:gd name="connsiteX222" fmla="*/ 783097 w 4803292"/>
              <a:gd name="connsiteY222" fmla="*/ 2170685 h 4764066"/>
              <a:gd name="connsiteX223" fmla="*/ 651887 w 4803292"/>
              <a:gd name="connsiteY223" fmla="*/ 2039534 h 4764066"/>
              <a:gd name="connsiteX224" fmla="*/ 783097 w 4803292"/>
              <a:gd name="connsiteY224" fmla="*/ 1908383 h 4764066"/>
              <a:gd name="connsiteX225" fmla="*/ 3881460 w 4803292"/>
              <a:gd name="connsiteY225" fmla="*/ 1637027 h 4764066"/>
              <a:gd name="connsiteX226" fmla="*/ 4012510 w 4803292"/>
              <a:gd name="connsiteY226" fmla="*/ 1768178 h 4764066"/>
              <a:gd name="connsiteX227" fmla="*/ 3881460 w 4803292"/>
              <a:gd name="connsiteY227" fmla="*/ 1899329 h 4764066"/>
              <a:gd name="connsiteX228" fmla="*/ 3750330 w 4803292"/>
              <a:gd name="connsiteY228" fmla="*/ 1768178 h 4764066"/>
              <a:gd name="connsiteX229" fmla="*/ 3881460 w 4803292"/>
              <a:gd name="connsiteY229" fmla="*/ 1637027 h 4764066"/>
              <a:gd name="connsiteX230" fmla="*/ 806633 w 4803292"/>
              <a:gd name="connsiteY230" fmla="*/ 1637027 h 4764066"/>
              <a:gd name="connsiteX231" fmla="*/ 937683 w 4803292"/>
              <a:gd name="connsiteY231" fmla="*/ 1768178 h 4764066"/>
              <a:gd name="connsiteX232" fmla="*/ 806633 w 4803292"/>
              <a:gd name="connsiteY232" fmla="*/ 1899329 h 4764066"/>
              <a:gd name="connsiteX233" fmla="*/ 675503 w 4803292"/>
              <a:gd name="connsiteY233" fmla="*/ 1768178 h 4764066"/>
              <a:gd name="connsiteX234" fmla="*/ 806633 w 4803292"/>
              <a:gd name="connsiteY234" fmla="*/ 1637027 h 4764066"/>
              <a:gd name="connsiteX235" fmla="*/ 4222975 w 4803292"/>
              <a:gd name="connsiteY235" fmla="*/ 1594645 h 4764066"/>
              <a:gd name="connsiteX236" fmla="*/ 4336172 w 4803292"/>
              <a:gd name="connsiteY236" fmla="*/ 1707850 h 4764066"/>
              <a:gd name="connsiteX237" fmla="*/ 4222975 w 4803292"/>
              <a:gd name="connsiteY237" fmla="*/ 1821215 h 4764066"/>
              <a:gd name="connsiteX238" fmla="*/ 4109777 w 4803292"/>
              <a:gd name="connsiteY238" fmla="*/ 1707850 h 4764066"/>
              <a:gd name="connsiteX239" fmla="*/ 4222975 w 4803292"/>
              <a:gd name="connsiteY239" fmla="*/ 1594645 h 4764066"/>
              <a:gd name="connsiteX240" fmla="*/ 464959 w 4803292"/>
              <a:gd name="connsiteY240" fmla="*/ 1594645 h 4764066"/>
              <a:gd name="connsiteX241" fmla="*/ 578156 w 4803292"/>
              <a:gd name="connsiteY241" fmla="*/ 1707850 h 4764066"/>
              <a:gd name="connsiteX242" fmla="*/ 464959 w 4803292"/>
              <a:gd name="connsiteY242" fmla="*/ 1821215 h 4764066"/>
              <a:gd name="connsiteX243" fmla="*/ 351921 w 4803292"/>
              <a:gd name="connsiteY243" fmla="*/ 1707850 h 4764066"/>
              <a:gd name="connsiteX244" fmla="*/ 464959 w 4803292"/>
              <a:gd name="connsiteY244" fmla="*/ 1594645 h 4764066"/>
              <a:gd name="connsiteX245" fmla="*/ 123365 w 4803292"/>
              <a:gd name="connsiteY245" fmla="*/ 1558432 h 4764066"/>
              <a:gd name="connsiteX246" fmla="*/ 212466 w 4803292"/>
              <a:gd name="connsiteY246" fmla="*/ 1647602 h 4764066"/>
              <a:gd name="connsiteX247" fmla="*/ 123365 w 4803292"/>
              <a:gd name="connsiteY247" fmla="*/ 1736772 h 4764066"/>
              <a:gd name="connsiteX248" fmla="*/ 34184 w 4803292"/>
              <a:gd name="connsiteY248" fmla="*/ 1647602 h 4764066"/>
              <a:gd name="connsiteX249" fmla="*/ 123365 w 4803292"/>
              <a:gd name="connsiteY249" fmla="*/ 1558432 h 4764066"/>
              <a:gd name="connsiteX250" fmla="*/ 2354654 w 4803292"/>
              <a:gd name="connsiteY250" fmla="*/ 1508840 h 4764066"/>
              <a:gd name="connsiteX251" fmla="*/ 2878293 w 4803292"/>
              <a:gd name="connsiteY251" fmla="*/ 2032884 h 4764066"/>
              <a:gd name="connsiteX252" fmla="*/ 2354654 w 4803292"/>
              <a:gd name="connsiteY252" fmla="*/ 2556928 h 4764066"/>
              <a:gd name="connsiteX253" fmla="*/ 1831015 w 4803292"/>
              <a:gd name="connsiteY253" fmla="*/ 2032884 h 4764066"/>
              <a:gd name="connsiteX254" fmla="*/ 2354654 w 4803292"/>
              <a:gd name="connsiteY254" fmla="*/ 1508840 h 4764066"/>
              <a:gd name="connsiteX255" fmla="*/ 3811092 w 4803292"/>
              <a:gd name="connsiteY255" fmla="*/ 1374003 h 4764066"/>
              <a:gd name="connsiteX256" fmla="*/ 3942142 w 4803292"/>
              <a:gd name="connsiteY256" fmla="*/ 1505074 h 4764066"/>
              <a:gd name="connsiteX257" fmla="*/ 3811092 w 4803292"/>
              <a:gd name="connsiteY257" fmla="*/ 1636306 h 4764066"/>
              <a:gd name="connsiteX258" fmla="*/ 3679962 w 4803292"/>
              <a:gd name="connsiteY258" fmla="*/ 1505074 h 4764066"/>
              <a:gd name="connsiteX259" fmla="*/ 3811092 w 4803292"/>
              <a:gd name="connsiteY259" fmla="*/ 1374003 h 4764066"/>
              <a:gd name="connsiteX260" fmla="*/ 877161 w 4803292"/>
              <a:gd name="connsiteY260" fmla="*/ 1374003 h 4764066"/>
              <a:gd name="connsiteX261" fmla="*/ 1008211 w 4803292"/>
              <a:gd name="connsiteY261" fmla="*/ 1505074 h 4764066"/>
              <a:gd name="connsiteX262" fmla="*/ 877161 w 4803292"/>
              <a:gd name="connsiteY262" fmla="*/ 1636306 h 4764066"/>
              <a:gd name="connsiteX263" fmla="*/ 745951 w 4803292"/>
              <a:gd name="connsiteY263" fmla="*/ 1505074 h 4764066"/>
              <a:gd name="connsiteX264" fmla="*/ 877161 w 4803292"/>
              <a:gd name="connsiteY264" fmla="*/ 1374003 h 4764066"/>
              <a:gd name="connsiteX265" fmla="*/ 2232810 w 4803292"/>
              <a:gd name="connsiteY265" fmla="*/ 1301498 h 4764066"/>
              <a:gd name="connsiteX266" fmla="*/ 2098078 w 4803292"/>
              <a:gd name="connsiteY266" fmla="*/ 1401804 h 4764066"/>
              <a:gd name="connsiteX267" fmla="*/ 2001611 w 4803292"/>
              <a:gd name="connsiteY267" fmla="*/ 1363027 h 4764066"/>
              <a:gd name="connsiteX268" fmla="*/ 2004734 w 4803292"/>
              <a:gd name="connsiteY268" fmla="*/ 1378650 h 4764066"/>
              <a:gd name="connsiteX269" fmla="*/ 1861195 w 4803292"/>
              <a:gd name="connsiteY269" fmla="*/ 1522220 h 4764066"/>
              <a:gd name="connsiteX270" fmla="*/ 1814443 w 4803292"/>
              <a:gd name="connsiteY270" fmla="*/ 1514288 h 4764066"/>
              <a:gd name="connsiteX271" fmla="*/ 1817806 w 4803292"/>
              <a:gd name="connsiteY271" fmla="*/ 1544973 h 4764066"/>
              <a:gd name="connsiteX272" fmla="*/ 1686356 w 4803292"/>
              <a:gd name="connsiteY272" fmla="*/ 1687901 h 4764066"/>
              <a:gd name="connsiteX273" fmla="*/ 1718057 w 4803292"/>
              <a:gd name="connsiteY273" fmla="*/ 1777712 h 4764066"/>
              <a:gd name="connsiteX274" fmla="*/ 1595974 w 4803292"/>
              <a:gd name="connsiteY274" fmla="*/ 1916955 h 4764066"/>
              <a:gd name="connsiteX275" fmla="*/ 1668663 w 4803292"/>
              <a:gd name="connsiteY275" fmla="*/ 2039374 h 4764066"/>
              <a:gd name="connsiteX276" fmla="*/ 1595974 w 4803292"/>
              <a:gd name="connsiteY276" fmla="*/ 2161712 h 4764066"/>
              <a:gd name="connsiteX277" fmla="*/ 1718057 w 4803292"/>
              <a:gd name="connsiteY277" fmla="*/ 2300955 h 4764066"/>
              <a:gd name="connsiteX278" fmla="*/ 1683153 w 4803292"/>
              <a:gd name="connsiteY278" fmla="*/ 2391888 h 4764066"/>
              <a:gd name="connsiteX279" fmla="*/ 1817806 w 4803292"/>
              <a:gd name="connsiteY279" fmla="*/ 2533614 h 4764066"/>
              <a:gd name="connsiteX280" fmla="*/ 1811241 w 4803292"/>
              <a:gd name="connsiteY280" fmla="*/ 2566542 h 4764066"/>
              <a:gd name="connsiteX281" fmla="*/ 1861195 w 4803292"/>
              <a:gd name="connsiteY281" fmla="*/ 2556448 h 4764066"/>
              <a:gd name="connsiteX282" fmla="*/ 2004734 w 4803292"/>
              <a:gd name="connsiteY282" fmla="*/ 2700097 h 4764066"/>
              <a:gd name="connsiteX283" fmla="*/ 2001611 w 4803292"/>
              <a:gd name="connsiteY283" fmla="*/ 2715800 h 4764066"/>
              <a:gd name="connsiteX284" fmla="*/ 2098078 w 4803292"/>
              <a:gd name="connsiteY284" fmla="*/ 2677184 h 4764066"/>
              <a:gd name="connsiteX285" fmla="*/ 2232810 w 4803292"/>
              <a:gd name="connsiteY285" fmla="*/ 2777250 h 4764066"/>
              <a:gd name="connsiteX286" fmla="*/ 2344006 w 4803292"/>
              <a:gd name="connsiteY286" fmla="*/ 2720847 h 4764066"/>
              <a:gd name="connsiteX287" fmla="*/ 2455202 w 4803292"/>
              <a:gd name="connsiteY287" fmla="*/ 2777330 h 4764066"/>
              <a:gd name="connsiteX288" fmla="*/ 2589855 w 4803292"/>
              <a:gd name="connsiteY288" fmla="*/ 2677104 h 4764066"/>
              <a:gd name="connsiteX289" fmla="*/ 2686401 w 4803292"/>
              <a:gd name="connsiteY289" fmla="*/ 2715720 h 4764066"/>
              <a:gd name="connsiteX290" fmla="*/ 2683119 w 4803292"/>
              <a:gd name="connsiteY290" fmla="*/ 2700017 h 4764066"/>
              <a:gd name="connsiteX291" fmla="*/ 2826737 w 4803292"/>
              <a:gd name="connsiteY291" fmla="*/ 2556528 h 4764066"/>
              <a:gd name="connsiteX292" fmla="*/ 2876771 w 4803292"/>
              <a:gd name="connsiteY292" fmla="*/ 2566623 h 4764066"/>
              <a:gd name="connsiteX293" fmla="*/ 2870207 w 4803292"/>
              <a:gd name="connsiteY293" fmla="*/ 2533694 h 4764066"/>
              <a:gd name="connsiteX294" fmla="*/ 3004859 w 4803292"/>
              <a:gd name="connsiteY294" fmla="*/ 2391968 h 4764066"/>
              <a:gd name="connsiteX295" fmla="*/ 2969795 w 4803292"/>
              <a:gd name="connsiteY295" fmla="*/ 2301035 h 4764066"/>
              <a:gd name="connsiteX296" fmla="*/ 3092039 w 4803292"/>
              <a:gd name="connsiteY296" fmla="*/ 2161792 h 4764066"/>
              <a:gd name="connsiteX297" fmla="*/ 3019109 w 4803292"/>
              <a:gd name="connsiteY297" fmla="*/ 2039454 h 4764066"/>
              <a:gd name="connsiteX298" fmla="*/ 3092039 w 4803292"/>
              <a:gd name="connsiteY298" fmla="*/ 1917035 h 4764066"/>
              <a:gd name="connsiteX299" fmla="*/ 2969795 w 4803292"/>
              <a:gd name="connsiteY299" fmla="*/ 1777792 h 4764066"/>
              <a:gd name="connsiteX300" fmla="*/ 3004859 w 4803292"/>
              <a:gd name="connsiteY300" fmla="*/ 1686860 h 4764066"/>
              <a:gd name="connsiteX301" fmla="*/ 2870207 w 4803292"/>
              <a:gd name="connsiteY301" fmla="*/ 1545053 h 4764066"/>
              <a:gd name="connsiteX302" fmla="*/ 2876771 w 4803292"/>
              <a:gd name="connsiteY302" fmla="*/ 1512205 h 4764066"/>
              <a:gd name="connsiteX303" fmla="*/ 2826737 w 4803292"/>
              <a:gd name="connsiteY303" fmla="*/ 1522220 h 4764066"/>
              <a:gd name="connsiteX304" fmla="*/ 2683119 w 4803292"/>
              <a:gd name="connsiteY304" fmla="*/ 1378650 h 4764066"/>
              <a:gd name="connsiteX305" fmla="*/ 2686401 w 4803292"/>
              <a:gd name="connsiteY305" fmla="*/ 1363027 h 4764066"/>
              <a:gd name="connsiteX306" fmla="*/ 2589855 w 4803292"/>
              <a:gd name="connsiteY306" fmla="*/ 1401804 h 4764066"/>
              <a:gd name="connsiteX307" fmla="*/ 2455202 w 4803292"/>
              <a:gd name="connsiteY307" fmla="*/ 1301578 h 4764066"/>
              <a:gd name="connsiteX308" fmla="*/ 2344006 w 4803292"/>
              <a:gd name="connsiteY308" fmla="*/ 1357900 h 4764066"/>
              <a:gd name="connsiteX309" fmla="*/ 2232810 w 4803292"/>
              <a:gd name="connsiteY309" fmla="*/ 1301498 h 4764066"/>
              <a:gd name="connsiteX310" fmla="*/ 551018 w 4803292"/>
              <a:gd name="connsiteY310" fmla="*/ 1273136 h 4764066"/>
              <a:gd name="connsiteX311" fmla="*/ 664375 w 4803292"/>
              <a:gd name="connsiteY311" fmla="*/ 1386502 h 4764066"/>
              <a:gd name="connsiteX312" fmla="*/ 551018 w 4803292"/>
              <a:gd name="connsiteY312" fmla="*/ 1499787 h 4764066"/>
              <a:gd name="connsiteX313" fmla="*/ 437980 w 4803292"/>
              <a:gd name="connsiteY313" fmla="*/ 1386502 h 4764066"/>
              <a:gd name="connsiteX314" fmla="*/ 551018 w 4803292"/>
              <a:gd name="connsiteY314" fmla="*/ 1273136 h 4764066"/>
              <a:gd name="connsiteX315" fmla="*/ 4137076 w 4803292"/>
              <a:gd name="connsiteY315" fmla="*/ 1273056 h 4764066"/>
              <a:gd name="connsiteX316" fmla="*/ 4250273 w 4803292"/>
              <a:gd name="connsiteY316" fmla="*/ 1386261 h 4764066"/>
              <a:gd name="connsiteX317" fmla="*/ 4137076 w 4803292"/>
              <a:gd name="connsiteY317" fmla="*/ 1499626 h 4764066"/>
              <a:gd name="connsiteX318" fmla="*/ 4023878 w 4803292"/>
              <a:gd name="connsiteY318" fmla="*/ 1386261 h 4764066"/>
              <a:gd name="connsiteX319" fmla="*/ 4137076 w 4803292"/>
              <a:gd name="connsiteY319" fmla="*/ 1273056 h 4764066"/>
              <a:gd name="connsiteX320" fmla="*/ 3694852 w 4803292"/>
              <a:gd name="connsiteY320" fmla="*/ 1127163 h 4764066"/>
              <a:gd name="connsiteX321" fmla="*/ 3825821 w 4803292"/>
              <a:gd name="connsiteY321" fmla="*/ 1258314 h 4764066"/>
              <a:gd name="connsiteX322" fmla="*/ 3694852 w 4803292"/>
              <a:gd name="connsiteY322" fmla="*/ 1389546 h 4764066"/>
              <a:gd name="connsiteX323" fmla="*/ 3563802 w 4803292"/>
              <a:gd name="connsiteY323" fmla="*/ 1258314 h 4764066"/>
              <a:gd name="connsiteX324" fmla="*/ 3694852 w 4803292"/>
              <a:gd name="connsiteY324" fmla="*/ 1127163 h 4764066"/>
              <a:gd name="connsiteX325" fmla="*/ 992120 w 4803292"/>
              <a:gd name="connsiteY325" fmla="*/ 1127163 h 4764066"/>
              <a:gd name="connsiteX326" fmla="*/ 1123090 w 4803292"/>
              <a:gd name="connsiteY326" fmla="*/ 1258314 h 4764066"/>
              <a:gd name="connsiteX327" fmla="*/ 992120 w 4803292"/>
              <a:gd name="connsiteY327" fmla="*/ 1389546 h 4764066"/>
              <a:gd name="connsiteX328" fmla="*/ 860910 w 4803292"/>
              <a:gd name="connsiteY328" fmla="*/ 1258314 h 4764066"/>
              <a:gd name="connsiteX329" fmla="*/ 992120 w 4803292"/>
              <a:gd name="connsiteY329" fmla="*/ 1127163 h 4764066"/>
              <a:gd name="connsiteX330" fmla="*/ 2344006 w 4803292"/>
              <a:gd name="connsiteY330" fmla="*/ 1070601 h 4764066"/>
              <a:gd name="connsiteX331" fmla="*/ 2478739 w 4803292"/>
              <a:gd name="connsiteY331" fmla="*/ 1170827 h 4764066"/>
              <a:gd name="connsiteX332" fmla="*/ 2589775 w 4803292"/>
              <a:gd name="connsiteY332" fmla="*/ 1114345 h 4764066"/>
              <a:gd name="connsiteX333" fmla="*/ 2733393 w 4803292"/>
              <a:gd name="connsiteY333" fmla="*/ 1258074 h 4764066"/>
              <a:gd name="connsiteX334" fmla="*/ 2730271 w 4803292"/>
              <a:gd name="connsiteY334" fmla="*/ 1273617 h 4764066"/>
              <a:gd name="connsiteX335" fmla="*/ 2826737 w 4803292"/>
              <a:gd name="connsiteY335" fmla="*/ 1235081 h 4764066"/>
              <a:gd name="connsiteX336" fmla="*/ 2970275 w 4803292"/>
              <a:gd name="connsiteY336" fmla="*/ 1378570 h 4764066"/>
              <a:gd name="connsiteX337" fmla="*/ 2963711 w 4803292"/>
              <a:gd name="connsiteY337" fmla="*/ 1411418 h 4764066"/>
              <a:gd name="connsiteX338" fmla="*/ 3013665 w 4803292"/>
              <a:gd name="connsiteY338" fmla="*/ 1401243 h 4764066"/>
              <a:gd name="connsiteX339" fmla="*/ 3157204 w 4803292"/>
              <a:gd name="connsiteY339" fmla="*/ 1544893 h 4764066"/>
              <a:gd name="connsiteX340" fmla="*/ 3122299 w 4803292"/>
              <a:gd name="connsiteY340" fmla="*/ 1635745 h 4764066"/>
              <a:gd name="connsiteX341" fmla="*/ 3256952 w 4803292"/>
              <a:gd name="connsiteY341" fmla="*/ 1777632 h 4764066"/>
              <a:gd name="connsiteX342" fmla="*/ 3184102 w 4803292"/>
              <a:gd name="connsiteY342" fmla="*/ 1899971 h 4764066"/>
              <a:gd name="connsiteX343" fmla="*/ 3306186 w 4803292"/>
              <a:gd name="connsiteY343" fmla="*/ 2039374 h 4764066"/>
              <a:gd name="connsiteX344" fmla="*/ 3184102 w 4803292"/>
              <a:gd name="connsiteY344" fmla="*/ 2178617 h 4764066"/>
              <a:gd name="connsiteX345" fmla="*/ 3256952 w 4803292"/>
              <a:gd name="connsiteY345" fmla="*/ 2300955 h 4764066"/>
              <a:gd name="connsiteX346" fmla="*/ 3122299 w 4803292"/>
              <a:gd name="connsiteY346" fmla="*/ 2442842 h 4764066"/>
              <a:gd name="connsiteX347" fmla="*/ 3157204 w 4803292"/>
              <a:gd name="connsiteY347" fmla="*/ 2533614 h 4764066"/>
              <a:gd name="connsiteX348" fmla="*/ 3013665 w 4803292"/>
              <a:gd name="connsiteY348" fmla="*/ 2677344 h 4764066"/>
              <a:gd name="connsiteX349" fmla="*/ 2963711 w 4803292"/>
              <a:gd name="connsiteY349" fmla="*/ 2667249 h 4764066"/>
              <a:gd name="connsiteX350" fmla="*/ 2970275 w 4803292"/>
              <a:gd name="connsiteY350" fmla="*/ 2700017 h 4764066"/>
              <a:gd name="connsiteX351" fmla="*/ 2826817 w 4803292"/>
              <a:gd name="connsiteY351" fmla="*/ 2843827 h 4764066"/>
              <a:gd name="connsiteX352" fmla="*/ 2730351 w 4803292"/>
              <a:gd name="connsiteY352" fmla="*/ 2805050 h 4764066"/>
              <a:gd name="connsiteX353" fmla="*/ 2733473 w 4803292"/>
              <a:gd name="connsiteY353" fmla="*/ 2820593 h 4764066"/>
              <a:gd name="connsiteX354" fmla="*/ 2589855 w 4803292"/>
              <a:gd name="connsiteY354" fmla="*/ 2964242 h 4764066"/>
              <a:gd name="connsiteX355" fmla="*/ 2478819 w 4803292"/>
              <a:gd name="connsiteY355" fmla="*/ 2907840 h 4764066"/>
              <a:gd name="connsiteX356" fmla="*/ 2344086 w 4803292"/>
              <a:gd name="connsiteY356" fmla="*/ 3008146 h 4764066"/>
              <a:gd name="connsiteX357" fmla="*/ 2209354 w 4803292"/>
              <a:gd name="connsiteY357" fmla="*/ 2907840 h 4764066"/>
              <a:gd name="connsiteX358" fmla="*/ 2098158 w 4803292"/>
              <a:gd name="connsiteY358" fmla="*/ 2964242 h 4764066"/>
              <a:gd name="connsiteX359" fmla="*/ 1954699 w 4803292"/>
              <a:gd name="connsiteY359" fmla="*/ 2820593 h 4764066"/>
              <a:gd name="connsiteX360" fmla="*/ 1957822 w 4803292"/>
              <a:gd name="connsiteY360" fmla="*/ 2805050 h 4764066"/>
              <a:gd name="connsiteX361" fmla="*/ 1861355 w 4803292"/>
              <a:gd name="connsiteY361" fmla="*/ 2843827 h 4764066"/>
              <a:gd name="connsiteX362" fmla="*/ 1717977 w 4803292"/>
              <a:gd name="connsiteY362" fmla="*/ 2700097 h 4764066"/>
              <a:gd name="connsiteX363" fmla="*/ 1724542 w 4803292"/>
              <a:gd name="connsiteY363" fmla="*/ 2667329 h 4764066"/>
              <a:gd name="connsiteX364" fmla="*/ 1674507 w 4803292"/>
              <a:gd name="connsiteY364" fmla="*/ 2677424 h 4764066"/>
              <a:gd name="connsiteX365" fmla="*/ 1530889 w 4803292"/>
              <a:gd name="connsiteY365" fmla="*/ 2533694 h 4764066"/>
              <a:gd name="connsiteX366" fmla="*/ 1565793 w 4803292"/>
              <a:gd name="connsiteY366" fmla="*/ 2442922 h 4764066"/>
              <a:gd name="connsiteX367" fmla="*/ 1431301 w 4803292"/>
              <a:gd name="connsiteY367" fmla="*/ 2301035 h 4764066"/>
              <a:gd name="connsiteX368" fmla="*/ 1504151 w 4803292"/>
              <a:gd name="connsiteY368" fmla="*/ 2178697 h 4764066"/>
              <a:gd name="connsiteX369" fmla="*/ 1382067 w 4803292"/>
              <a:gd name="connsiteY369" fmla="*/ 2039454 h 4764066"/>
              <a:gd name="connsiteX370" fmla="*/ 1504151 w 4803292"/>
              <a:gd name="connsiteY370" fmla="*/ 1900050 h 4764066"/>
              <a:gd name="connsiteX371" fmla="*/ 1431301 w 4803292"/>
              <a:gd name="connsiteY371" fmla="*/ 1777712 h 4764066"/>
              <a:gd name="connsiteX372" fmla="*/ 1562671 w 4803292"/>
              <a:gd name="connsiteY372" fmla="*/ 1634784 h 4764066"/>
              <a:gd name="connsiteX373" fmla="*/ 1530969 w 4803292"/>
              <a:gd name="connsiteY373" fmla="*/ 1544973 h 4764066"/>
              <a:gd name="connsiteX374" fmla="*/ 1674267 w 4803292"/>
              <a:gd name="connsiteY374" fmla="*/ 1401323 h 4764066"/>
              <a:gd name="connsiteX375" fmla="*/ 1721259 w 4803292"/>
              <a:gd name="connsiteY375" fmla="*/ 1409335 h 4764066"/>
              <a:gd name="connsiteX376" fmla="*/ 1717897 w 4803292"/>
              <a:gd name="connsiteY376" fmla="*/ 1378570 h 4764066"/>
              <a:gd name="connsiteX377" fmla="*/ 1861275 w 4803292"/>
              <a:gd name="connsiteY377" fmla="*/ 1235081 h 4764066"/>
              <a:gd name="connsiteX378" fmla="*/ 1957742 w 4803292"/>
              <a:gd name="connsiteY378" fmla="*/ 1273617 h 4764066"/>
              <a:gd name="connsiteX379" fmla="*/ 1954619 w 4803292"/>
              <a:gd name="connsiteY379" fmla="*/ 1258074 h 4764066"/>
              <a:gd name="connsiteX380" fmla="*/ 2098078 w 4803292"/>
              <a:gd name="connsiteY380" fmla="*/ 1114345 h 4764066"/>
              <a:gd name="connsiteX381" fmla="*/ 2209274 w 4803292"/>
              <a:gd name="connsiteY381" fmla="*/ 1170827 h 4764066"/>
              <a:gd name="connsiteX382" fmla="*/ 2344006 w 4803292"/>
              <a:gd name="connsiteY382" fmla="*/ 1070601 h 4764066"/>
              <a:gd name="connsiteX383" fmla="*/ 3996579 w 4803292"/>
              <a:gd name="connsiteY383" fmla="*/ 971336 h 4764066"/>
              <a:gd name="connsiteX384" fmla="*/ 4109616 w 4803292"/>
              <a:gd name="connsiteY384" fmla="*/ 1084701 h 4764066"/>
              <a:gd name="connsiteX385" fmla="*/ 3996579 w 4803292"/>
              <a:gd name="connsiteY385" fmla="*/ 1198067 h 4764066"/>
              <a:gd name="connsiteX386" fmla="*/ 3883061 w 4803292"/>
              <a:gd name="connsiteY386" fmla="*/ 1084701 h 4764066"/>
              <a:gd name="connsiteX387" fmla="*/ 3996579 w 4803292"/>
              <a:gd name="connsiteY387" fmla="*/ 971336 h 4764066"/>
              <a:gd name="connsiteX388" fmla="*/ 2245699 w 4803292"/>
              <a:gd name="connsiteY388" fmla="*/ 915014 h 4764066"/>
              <a:gd name="connsiteX389" fmla="*/ 2156758 w 4803292"/>
              <a:gd name="connsiteY389" fmla="*/ 977826 h 4764066"/>
              <a:gd name="connsiteX390" fmla="*/ 2051966 w 4803292"/>
              <a:gd name="connsiteY390" fmla="*/ 949304 h 4764066"/>
              <a:gd name="connsiteX391" fmla="*/ 1975434 w 4803292"/>
              <a:gd name="connsiteY391" fmla="*/ 1026537 h 4764066"/>
              <a:gd name="connsiteX392" fmla="*/ 1867280 w 4803292"/>
              <a:gd name="connsiteY392" fmla="*/ 1016522 h 4764066"/>
              <a:gd name="connsiteX393" fmla="*/ 1805237 w 4803292"/>
              <a:gd name="connsiteY393" fmla="*/ 1105852 h 4764066"/>
              <a:gd name="connsiteX394" fmla="*/ 1696763 w 4803292"/>
              <a:gd name="connsiteY394" fmla="*/ 1114986 h 4764066"/>
              <a:gd name="connsiteX395" fmla="*/ 1651212 w 4803292"/>
              <a:gd name="connsiteY395" fmla="*/ 1213770 h 4764066"/>
              <a:gd name="connsiteX396" fmla="*/ 1546020 w 4803292"/>
              <a:gd name="connsiteY396" fmla="*/ 1241490 h 4764066"/>
              <a:gd name="connsiteX397" fmla="*/ 1518481 w 4803292"/>
              <a:gd name="connsiteY397" fmla="*/ 1346604 h 4764066"/>
              <a:gd name="connsiteX398" fmla="*/ 1419853 w 4803292"/>
              <a:gd name="connsiteY398" fmla="*/ 1392110 h 4764066"/>
              <a:gd name="connsiteX399" fmla="*/ 1410727 w 4803292"/>
              <a:gd name="connsiteY399" fmla="*/ 1500588 h 4764066"/>
              <a:gd name="connsiteX400" fmla="*/ 1321546 w 4803292"/>
              <a:gd name="connsiteY400" fmla="*/ 1562518 h 4764066"/>
              <a:gd name="connsiteX401" fmla="*/ 1331393 w 4803292"/>
              <a:gd name="connsiteY401" fmla="*/ 1670996 h 4764066"/>
              <a:gd name="connsiteX402" fmla="*/ 1254220 w 4803292"/>
              <a:gd name="connsiteY402" fmla="*/ 1747588 h 4764066"/>
              <a:gd name="connsiteX403" fmla="*/ 1282879 w 4803292"/>
              <a:gd name="connsiteY403" fmla="*/ 1852541 h 4764066"/>
              <a:gd name="connsiteX404" fmla="*/ 1220116 w 4803292"/>
              <a:gd name="connsiteY404" fmla="*/ 1941391 h 4764066"/>
              <a:gd name="connsiteX405" fmla="*/ 1266308 w 4803292"/>
              <a:gd name="connsiteY405" fmla="*/ 2039774 h 4764066"/>
              <a:gd name="connsiteX406" fmla="*/ 1220116 w 4803292"/>
              <a:gd name="connsiteY406" fmla="*/ 2138238 h 4764066"/>
              <a:gd name="connsiteX407" fmla="*/ 1282719 w 4803292"/>
              <a:gd name="connsiteY407" fmla="*/ 2227087 h 4764066"/>
              <a:gd name="connsiteX408" fmla="*/ 1254220 w 4803292"/>
              <a:gd name="connsiteY408" fmla="*/ 2332041 h 4764066"/>
              <a:gd name="connsiteX409" fmla="*/ 1331313 w 4803292"/>
              <a:gd name="connsiteY409" fmla="*/ 2408472 h 4764066"/>
              <a:gd name="connsiteX410" fmla="*/ 1321626 w 4803292"/>
              <a:gd name="connsiteY410" fmla="*/ 2516469 h 4764066"/>
              <a:gd name="connsiteX411" fmla="*/ 1410807 w 4803292"/>
              <a:gd name="connsiteY411" fmla="*/ 2578560 h 4764066"/>
              <a:gd name="connsiteX412" fmla="*/ 1419933 w 4803292"/>
              <a:gd name="connsiteY412" fmla="*/ 2686958 h 4764066"/>
              <a:gd name="connsiteX413" fmla="*/ 1518401 w 4803292"/>
              <a:gd name="connsiteY413" fmla="*/ 2732544 h 4764066"/>
              <a:gd name="connsiteX414" fmla="*/ 1546100 w 4803292"/>
              <a:gd name="connsiteY414" fmla="*/ 2837658 h 4764066"/>
              <a:gd name="connsiteX415" fmla="*/ 1651292 w 4803292"/>
              <a:gd name="connsiteY415" fmla="*/ 2865538 h 4764066"/>
              <a:gd name="connsiteX416" fmla="*/ 1696843 w 4803292"/>
              <a:gd name="connsiteY416" fmla="*/ 2964162 h 4764066"/>
              <a:gd name="connsiteX417" fmla="*/ 1805157 w 4803292"/>
              <a:gd name="connsiteY417" fmla="*/ 2973296 h 4764066"/>
              <a:gd name="connsiteX418" fmla="*/ 1867120 w 4803292"/>
              <a:gd name="connsiteY418" fmla="*/ 3062546 h 4764066"/>
              <a:gd name="connsiteX419" fmla="*/ 1975434 w 4803292"/>
              <a:gd name="connsiteY419" fmla="*/ 3052691 h 4764066"/>
              <a:gd name="connsiteX420" fmla="*/ 2052047 w 4803292"/>
              <a:gd name="connsiteY420" fmla="*/ 3129924 h 4764066"/>
              <a:gd name="connsiteX421" fmla="*/ 2156838 w 4803292"/>
              <a:gd name="connsiteY421" fmla="*/ 3101402 h 4764066"/>
              <a:gd name="connsiteX422" fmla="*/ 2245859 w 4803292"/>
              <a:gd name="connsiteY422" fmla="*/ 3163893 h 4764066"/>
              <a:gd name="connsiteX423" fmla="*/ 2344087 w 4803292"/>
              <a:gd name="connsiteY423" fmla="*/ 3117666 h 4764066"/>
              <a:gd name="connsiteX424" fmla="*/ 2442314 w 4803292"/>
              <a:gd name="connsiteY424" fmla="*/ 3164054 h 4764066"/>
              <a:gd name="connsiteX425" fmla="*/ 2531255 w 4803292"/>
              <a:gd name="connsiteY425" fmla="*/ 3101402 h 4764066"/>
              <a:gd name="connsiteX426" fmla="*/ 2636127 w 4803292"/>
              <a:gd name="connsiteY426" fmla="*/ 3129924 h 4764066"/>
              <a:gd name="connsiteX427" fmla="*/ 2712659 w 4803292"/>
              <a:gd name="connsiteY427" fmla="*/ 3052691 h 4764066"/>
              <a:gd name="connsiteX428" fmla="*/ 2820733 w 4803292"/>
              <a:gd name="connsiteY428" fmla="*/ 3062706 h 4764066"/>
              <a:gd name="connsiteX429" fmla="*/ 2882856 w 4803292"/>
              <a:gd name="connsiteY429" fmla="*/ 2973296 h 4764066"/>
              <a:gd name="connsiteX430" fmla="*/ 2991250 w 4803292"/>
              <a:gd name="connsiteY430" fmla="*/ 2964322 h 4764066"/>
              <a:gd name="connsiteX431" fmla="*/ 3036641 w 4803292"/>
              <a:gd name="connsiteY431" fmla="*/ 2865538 h 4764066"/>
              <a:gd name="connsiteX432" fmla="*/ 3141913 w 4803292"/>
              <a:gd name="connsiteY432" fmla="*/ 2837658 h 4764066"/>
              <a:gd name="connsiteX433" fmla="*/ 3169532 w 4803292"/>
              <a:gd name="connsiteY433" fmla="*/ 2732544 h 4764066"/>
              <a:gd name="connsiteX434" fmla="*/ 3268240 w 4803292"/>
              <a:gd name="connsiteY434" fmla="*/ 2686958 h 4764066"/>
              <a:gd name="connsiteX435" fmla="*/ 3277286 w 4803292"/>
              <a:gd name="connsiteY435" fmla="*/ 2578560 h 4764066"/>
              <a:gd name="connsiteX436" fmla="*/ 3366547 w 4803292"/>
              <a:gd name="connsiteY436" fmla="*/ 2516550 h 4764066"/>
              <a:gd name="connsiteX437" fmla="*/ 3356621 w 4803292"/>
              <a:gd name="connsiteY437" fmla="*/ 2408232 h 4764066"/>
              <a:gd name="connsiteX438" fmla="*/ 3433794 w 4803292"/>
              <a:gd name="connsiteY438" fmla="*/ 2331960 h 4764066"/>
              <a:gd name="connsiteX439" fmla="*/ 3405134 w 4803292"/>
              <a:gd name="connsiteY439" fmla="*/ 2227007 h 4764066"/>
              <a:gd name="connsiteX440" fmla="*/ 3468057 w 4803292"/>
              <a:gd name="connsiteY440" fmla="*/ 2138158 h 4764066"/>
              <a:gd name="connsiteX441" fmla="*/ 3421545 w 4803292"/>
              <a:gd name="connsiteY441" fmla="*/ 2039694 h 4764066"/>
              <a:gd name="connsiteX442" fmla="*/ 3467897 w 4803292"/>
              <a:gd name="connsiteY442" fmla="*/ 1941311 h 4764066"/>
              <a:gd name="connsiteX443" fmla="*/ 3405134 w 4803292"/>
              <a:gd name="connsiteY443" fmla="*/ 1852461 h 4764066"/>
              <a:gd name="connsiteX444" fmla="*/ 3433794 w 4803292"/>
              <a:gd name="connsiteY444" fmla="*/ 1747508 h 4764066"/>
              <a:gd name="connsiteX445" fmla="*/ 3356621 w 4803292"/>
              <a:gd name="connsiteY445" fmla="*/ 1670756 h 4764066"/>
              <a:gd name="connsiteX446" fmla="*/ 3366547 w 4803292"/>
              <a:gd name="connsiteY446" fmla="*/ 1562438 h 4764066"/>
              <a:gd name="connsiteX447" fmla="*/ 3277286 w 4803292"/>
              <a:gd name="connsiteY447" fmla="*/ 1500508 h 4764066"/>
              <a:gd name="connsiteX448" fmla="*/ 3268240 w 4803292"/>
              <a:gd name="connsiteY448" fmla="*/ 1392030 h 4764066"/>
              <a:gd name="connsiteX449" fmla="*/ 3169532 w 4803292"/>
              <a:gd name="connsiteY449" fmla="*/ 1346523 h 4764066"/>
              <a:gd name="connsiteX450" fmla="*/ 3141913 w 4803292"/>
              <a:gd name="connsiteY450" fmla="*/ 1241250 h 4764066"/>
              <a:gd name="connsiteX451" fmla="*/ 3036641 w 4803292"/>
              <a:gd name="connsiteY451" fmla="*/ 1213610 h 4764066"/>
              <a:gd name="connsiteX452" fmla="*/ 2991250 w 4803292"/>
              <a:gd name="connsiteY452" fmla="*/ 1114745 h 4764066"/>
              <a:gd name="connsiteX453" fmla="*/ 2882856 w 4803292"/>
              <a:gd name="connsiteY453" fmla="*/ 1105692 h 4764066"/>
              <a:gd name="connsiteX454" fmla="*/ 2820733 w 4803292"/>
              <a:gd name="connsiteY454" fmla="*/ 1016362 h 4764066"/>
              <a:gd name="connsiteX455" fmla="*/ 2712579 w 4803292"/>
              <a:gd name="connsiteY455" fmla="*/ 1026457 h 4764066"/>
              <a:gd name="connsiteX456" fmla="*/ 2636047 w 4803292"/>
              <a:gd name="connsiteY456" fmla="*/ 948984 h 4764066"/>
              <a:gd name="connsiteX457" fmla="*/ 2531175 w 4803292"/>
              <a:gd name="connsiteY457" fmla="*/ 977666 h 4764066"/>
              <a:gd name="connsiteX458" fmla="*/ 2442234 w 4803292"/>
              <a:gd name="connsiteY458" fmla="*/ 915014 h 4764066"/>
              <a:gd name="connsiteX459" fmla="*/ 2344007 w 4803292"/>
              <a:gd name="connsiteY459" fmla="*/ 961402 h 4764066"/>
              <a:gd name="connsiteX460" fmla="*/ 2245699 w 4803292"/>
              <a:gd name="connsiteY460" fmla="*/ 915014 h 4764066"/>
              <a:gd name="connsiteX461" fmla="*/ 3539946 w 4803292"/>
              <a:gd name="connsiteY461" fmla="*/ 904118 h 4764066"/>
              <a:gd name="connsiteX462" fmla="*/ 3670996 w 4803292"/>
              <a:gd name="connsiteY462" fmla="*/ 1035349 h 4764066"/>
              <a:gd name="connsiteX463" fmla="*/ 3539946 w 4803292"/>
              <a:gd name="connsiteY463" fmla="*/ 1166501 h 4764066"/>
              <a:gd name="connsiteX464" fmla="*/ 3408816 w 4803292"/>
              <a:gd name="connsiteY464" fmla="*/ 1035349 h 4764066"/>
              <a:gd name="connsiteX465" fmla="*/ 3539946 w 4803292"/>
              <a:gd name="connsiteY465" fmla="*/ 904118 h 4764066"/>
              <a:gd name="connsiteX466" fmla="*/ 1148147 w 4803292"/>
              <a:gd name="connsiteY466" fmla="*/ 904118 h 4764066"/>
              <a:gd name="connsiteX467" fmla="*/ 1279357 w 4803292"/>
              <a:gd name="connsiteY467" fmla="*/ 1035349 h 4764066"/>
              <a:gd name="connsiteX468" fmla="*/ 1148147 w 4803292"/>
              <a:gd name="connsiteY468" fmla="*/ 1166501 h 4764066"/>
              <a:gd name="connsiteX469" fmla="*/ 1017177 w 4803292"/>
              <a:gd name="connsiteY469" fmla="*/ 1035349 h 4764066"/>
              <a:gd name="connsiteX470" fmla="*/ 1148147 w 4803292"/>
              <a:gd name="connsiteY470" fmla="*/ 904118 h 4764066"/>
              <a:gd name="connsiteX471" fmla="*/ 3347895 w 4803292"/>
              <a:gd name="connsiteY471" fmla="*/ 711517 h 4764066"/>
              <a:gd name="connsiteX472" fmla="*/ 3478945 w 4803292"/>
              <a:gd name="connsiteY472" fmla="*/ 842668 h 4764066"/>
              <a:gd name="connsiteX473" fmla="*/ 3347895 w 4803292"/>
              <a:gd name="connsiteY473" fmla="*/ 973820 h 4764066"/>
              <a:gd name="connsiteX474" fmla="*/ 3216765 w 4803292"/>
              <a:gd name="connsiteY474" fmla="*/ 842668 h 4764066"/>
              <a:gd name="connsiteX475" fmla="*/ 3347895 w 4803292"/>
              <a:gd name="connsiteY475" fmla="*/ 711517 h 4764066"/>
              <a:gd name="connsiteX476" fmla="*/ 3805808 w 4803292"/>
              <a:gd name="connsiteY476" fmla="*/ 698699 h 4764066"/>
              <a:gd name="connsiteX477" fmla="*/ 3919006 w 4803292"/>
              <a:gd name="connsiteY477" fmla="*/ 812064 h 4764066"/>
              <a:gd name="connsiteX478" fmla="*/ 3805808 w 4803292"/>
              <a:gd name="connsiteY478" fmla="*/ 925430 h 4764066"/>
              <a:gd name="connsiteX479" fmla="*/ 3692611 w 4803292"/>
              <a:gd name="connsiteY479" fmla="*/ 812064 h 4764066"/>
              <a:gd name="connsiteX480" fmla="*/ 3805808 w 4803292"/>
              <a:gd name="connsiteY480" fmla="*/ 698699 h 4764066"/>
              <a:gd name="connsiteX481" fmla="*/ 2344247 w 4803292"/>
              <a:gd name="connsiteY481" fmla="*/ 687883 h 4764066"/>
              <a:gd name="connsiteX482" fmla="*/ 2456484 w 4803292"/>
              <a:gd name="connsiteY482" fmla="*/ 754220 h 4764066"/>
              <a:gd name="connsiteX483" fmla="*/ 2578807 w 4803292"/>
              <a:gd name="connsiteY483" fmla="*/ 708313 h 4764066"/>
              <a:gd name="connsiteX484" fmla="*/ 2677835 w 4803292"/>
              <a:gd name="connsiteY484" fmla="*/ 793477 h 4764066"/>
              <a:gd name="connsiteX485" fmla="*/ 2806243 w 4803292"/>
              <a:gd name="connsiteY485" fmla="*/ 769202 h 4764066"/>
              <a:gd name="connsiteX486" fmla="*/ 2888860 w 4803292"/>
              <a:gd name="connsiteY486" fmla="*/ 870149 h 4764066"/>
              <a:gd name="connsiteX487" fmla="*/ 3019349 w 4803292"/>
              <a:gd name="connsiteY487" fmla="*/ 868947 h 4764066"/>
              <a:gd name="connsiteX488" fmla="*/ 3083473 w 4803292"/>
              <a:gd name="connsiteY488" fmla="*/ 982713 h 4764066"/>
              <a:gd name="connsiteX489" fmla="*/ 3212522 w 4803292"/>
              <a:gd name="connsiteY489" fmla="*/ 1003944 h 4764066"/>
              <a:gd name="connsiteX490" fmla="*/ 3255591 w 4803292"/>
              <a:gd name="connsiteY490" fmla="*/ 1127244 h 4764066"/>
              <a:gd name="connsiteX491" fmla="*/ 3378796 w 4803292"/>
              <a:gd name="connsiteY491" fmla="*/ 1170667 h 4764066"/>
              <a:gd name="connsiteX492" fmla="*/ 3400090 w 4803292"/>
              <a:gd name="connsiteY492" fmla="*/ 1299655 h 4764066"/>
              <a:gd name="connsiteX493" fmla="*/ 3513848 w 4803292"/>
              <a:gd name="connsiteY493" fmla="*/ 1363668 h 4764066"/>
              <a:gd name="connsiteX494" fmla="*/ 3512488 w 4803292"/>
              <a:gd name="connsiteY494" fmla="*/ 1494259 h 4764066"/>
              <a:gd name="connsiteX495" fmla="*/ 3613596 w 4803292"/>
              <a:gd name="connsiteY495" fmla="*/ 1577180 h 4764066"/>
              <a:gd name="connsiteX496" fmla="*/ 3589260 w 4803292"/>
              <a:gd name="connsiteY496" fmla="*/ 1705527 h 4764066"/>
              <a:gd name="connsiteX497" fmla="*/ 3674438 w 4803292"/>
              <a:gd name="connsiteY497" fmla="*/ 1804792 h 4764066"/>
              <a:gd name="connsiteX498" fmla="*/ 3628487 w 4803292"/>
              <a:gd name="connsiteY498" fmla="*/ 1927130 h 4764066"/>
              <a:gd name="connsiteX499" fmla="*/ 3695093 w 4803292"/>
              <a:gd name="connsiteY499" fmla="*/ 2039694 h 4764066"/>
              <a:gd name="connsiteX500" fmla="*/ 3628487 w 4803292"/>
              <a:gd name="connsiteY500" fmla="*/ 2151858 h 4764066"/>
              <a:gd name="connsiteX501" fmla="*/ 3674438 w 4803292"/>
              <a:gd name="connsiteY501" fmla="*/ 2274276 h 4764066"/>
              <a:gd name="connsiteX502" fmla="*/ 3589260 w 4803292"/>
              <a:gd name="connsiteY502" fmla="*/ 2373301 h 4764066"/>
              <a:gd name="connsiteX503" fmla="*/ 3613596 w 4803292"/>
              <a:gd name="connsiteY503" fmla="*/ 2501648 h 4764066"/>
              <a:gd name="connsiteX504" fmla="*/ 3512488 w 4803292"/>
              <a:gd name="connsiteY504" fmla="*/ 2584408 h 4764066"/>
              <a:gd name="connsiteX505" fmla="*/ 3513848 w 4803292"/>
              <a:gd name="connsiteY505" fmla="*/ 2715239 h 4764066"/>
              <a:gd name="connsiteX506" fmla="*/ 3400090 w 4803292"/>
              <a:gd name="connsiteY506" fmla="*/ 2779092 h 4764066"/>
              <a:gd name="connsiteX507" fmla="*/ 3378796 w 4803292"/>
              <a:gd name="connsiteY507" fmla="*/ 2908161 h 4764066"/>
              <a:gd name="connsiteX508" fmla="*/ 3255591 w 4803292"/>
              <a:gd name="connsiteY508" fmla="*/ 2951584 h 4764066"/>
              <a:gd name="connsiteX509" fmla="*/ 3212362 w 4803292"/>
              <a:gd name="connsiteY509" fmla="*/ 3074804 h 4764066"/>
              <a:gd name="connsiteX510" fmla="*/ 3083393 w 4803292"/>
              <a:gd name="connsiteY510" fmla="*/ 3096115 h 4764066"/>
              <a:gd name="connsiteX511" fmla="*/ 3019269 w 4803292"/>
              <a:gd name="connsiteY511" fmla="*/ 3209961 h 4764066"/>
              <a:gd name="connsiteX512" fmla="*/ 2888860 w 4803292"/>
              <a:gd name="connsiteY512" fmla="*/ 3208438 h 4764066"/>
              <a:gd name="connsiteX513" fmla="*/ 2805923 w 4803292"/>
              <a:gd name="connsiteY513" fmla="*/ 3309546 h 4764066"/>
              <a:gd name="connsiteX514" fmla="*/ 2678075 w 4803292"/>
              <a:gd name="connsiteY514" fmla="*/ 3285351 h 4764066"/>
              <a:gd name="connsiteX515" fmla="*/ 2578888 w 4803292"/>
              <a:gd name="connsiteY515" fmla="*/ 3370675 h 4764066"/>
              <a:gd name="connsiteX516" fmla="*/ 2456644 w 4803292"/>
              <a:gd name="connsiteY516" fmla="*/ 3324368 h 4764066"/>
              <a:gd name="connsiteX517" fmla="*/ 2344407 w 4803292"/>
              <a:gd name="connsiteY517" fmla="*/ 3391025 h 4764066"/>
              <a:gd name="connsiteX518" fmla="*/ 2232010 w 4803292"/>
              <a:gd name="connsiteY518" fmla="*/ 3324368 h 4764066"/>
              <a:gd name="connsiteX519" fmla="*/ 2109766 w 4803292"/>
              <a:gd name="connsiteY519" fmla="*/ 3370355 h 4764066"/>
              <a:gd name="connsiteX520" fmla="*/ 2010578 w 4803292"/>
              <a:gd name="connsiteY520" fmla="*/ 3285190 h 4764066"/>
              <a:gd name="connsiteX521" fmla="*/ 1882330 w 4803292"/>
              <a:gd name="connsiteY521" fmla="*/ 3309386 h 4764066"/>
              <a:gd name="connsiteX522" fmla="*/ 1799393 w 4803292"/>
              <a:gd name="connsiteY522" fmla="*/ 3208519 h 4764066"/>
              <a:gd name="connsiteX523" fmla="*/ 1668904 w 4803292"/>
              <a:gd name="connsiteY523" fmla="*/ 3209721 h 4764066"/>
              <a:gd name="connsiteX524" fmla="*/ 1604940 w 4803292"/>
              <a:gd name="connsiteY524" fmla="*/ 3095874 h 4764066"/>
              <a:gd name="connsiteX525" fmla="*/ 1476052 w 4803292"/>
              <a:gd name="connsiteY525" fmla="*/ 3074723 h 4764066"/>
              <a:gd name="connsiteX526" fmla="*/ 1432902 w 4803292"/>
              <a:gd name="connsiteY526" fmla="*/ 2951424 h 4764066"/>
              <a:gd name="connsiteX527" fmla="*/ 1309698 w 4803292"/>
              <a:gd name="connsiteY527" fmla="*/ 2908000 h 4764066"/>
              <a:gd name="connsiteX528" fmla="*/ 1288403 w 4803292"/>
              <a:gd name="connsiteY528" fmla="*/ 2779012 h 4764066"/>
              <a:gd name="connsiteX529" fmla="*/ 1174405 w 4803292"/>
              <a:gd name="connsiteY529" fmla="*/ 2715079 h 4764066"/>
              <a:gd name="connsiteX530" fmla="*/ 1176006 w 4803292"/>
              <a:gd name="connsiteY530" fmla="*/ 2584328 h 4764066"/>
              <a:gd name="connsiteX531" fmla="*/ 1075057 w 4803292"/>
              <a:gd name="connsiteY531" fmla="*/ 2501568 h 4764066"/>
              <a:gd name="connsiteX532" fmla="*/ 1099073 w 4803292"/>
              <a:gd name="connsiteY532" fmla="*/ 2373220 h 4764066"/>
              <a:gd name="connsiteX533" fmla="*/ 1013895 w 4803292"/>
              <a:gd name="connsiteY533" fmla="*/ 2274196 h 4764066"/>
              <a:gd name="connsiteX534" fmla="*/ 1060167 w 4803292"/>
              <a:gd name="connsiteY534" fmla="*/ 2151858 h 4764066"/>
              <a:gd name="connsiteX535" fmla="*/ 993481 w 4803292"/>
              <a:gd name="connsiteY535" fmla="*/ 2039534 h 4764066"/>
              <a:gd name="connsiteX536" fmla="*/ 1060167 w 4803292"/>
              <a:gd name="connsiteY536" fmla="*/ 1927130 h 4764066"/>
              <a:gd name="connsiteX537" fmla="*/ 1013895 w 4803292"/>
              <a:gd name="connsiteY537" fmla="*/ 1804792 h 4764066"/>
              <a:gd name="connsiteX538" fmla="*/ 1099073 w 4803292"/>
              <a:gd name="connsiteY538" fmla="*/ 1705527 h 4764066"/>
              <a:gd name="connsiteX539" fmla="*/ 1075057 w 4803292"/>
              <a:gd name="connsiteY539" fmla="*/ 1577180 h 4764066"/>
              <a:gd name="connsiteX540" fmla="*/ 1176166 w 4803292"/>
              <a:gd name="connsiteY540" fmla="*/ 1494259 h 4764066"/>
              <a:gd name="connsiteX541" fmla="*/ 1174325 w 4803292"/>
              <a:gd name="connsiteY541" fmla="*/ 1363668 h 4764066"/>
              <a:gd name="connsiteX542" fmla="*/ 1288323 w 4803292"/>
              <a:gd name="connsiteY542" fmla="*/ 1299655 h 4764066"/>
              <a:gd name="connsiteX543" fmla="*/ 1309618 w 4803292"/>
              <a:gd name="connsiteY543" fmla="*/ 1170667 h 4764066"/>
              <a:gd name="connsiteX544" fmla="*/ 1432822 w 4803292"/>
              <a:gd name="connsiteY544" fmla="*/ 1127324 h 4764066"/>
              <a:gd name="connsiteX545" fmla="*/ 1475972 w 4803292"/>
              <a:gd name="connsiteY545" fmla="*/ 1003944 h 4764066"/>
              <a:gd name="connsiteX546" fmla="*/ 1604860 w 4803292"/>
              <a:gd name="connsiteY546" fmla="*/ 982873 h 4764066"/>
              <a:gd name="connsiteX547" fmla="*/ 1668824 w 4803292"/>
              <a:gd name="connsiteY547" fmla="*/ 868947 h 4764066"/>
              <a:gd name="connsiteX548" fmla="*/ 1799473 w 4803292"/>
              <a:gd name="connsiteY548" fmla="*/ 870309 h 4764066"/>
              <a:gd name="connsiteX549" fmla="*/ 1882250 w 4803292"/>
              <a:gd name="connsiteY549" fmla="*/ 769202 h 4764066"/>
              <a:gd name="connsiteX550" fmla="*/ 2010578 w 4803292"/>
              <a:gd name="connsiteY550" fmla="*/ 793477 h 4764066"/>
              <a:gd name="connsiteX551" fmla="*/ 2109606 w 4803292"/>
              <a:gd name="connsiteY551" fmla="*/ 708313 h 4764066"/>
              <a:gd name="connsiteX552" fmla="*/ 2231850 w 4803292"/>
              <a:gd name="connsiteY552" fmla="*/ 754540 h 4764066"/>
              <a:gd name="connsiteX553" fmla="*/ 2344247 w 4803292"/>
              <a:gd name="connsiteY553" fmla="*/ 687883 h 4764066"/>
              <a:gd name="connsiteX554" fmla="*/ 3570447 w 4803292"/>
              <a:gd name="connsiteY554" fmla="*/ 463396 h 4764066"/>
              <a:gd name="connsiteX555" fmla="*/ 3683805 w 4803292"/>
              <a:gd name="connsiteY555" fmla="*/ 576761 h 4764066"/>
              <a:gd name="connsiteX556" fmla="*/ 3570447 w 4803292"/>
              <a:gd name="connsiteY556" fmla="*/ 690127 h 4764066"/>
              <a:gd name="connsiteX557" fmla="*/ 3457410 w 4803292"/>
              <a:gd name="connsiteY557" fmla="*/ 576761 h 4764066"/>
              <a:gd name="connsiteX558" fmla="*/ 3570447 w 4803292"/>
              <a:gd name="connsiteY558" fmla="*/ 463396 h 4764066"/>
              <a:gd name="connsiteX559" fmla="*/ 2072861 w 4803292"/>
              <a:gd name="connsiteY559" fmla="*/ 369899 h 4764066"/>
              <a:gd name="connsiteX560" fmla="*/ 2203911 w 4803292"/>
              <a:gd name="connsiteY560" fmla="*/ 500970 h 4764066"/>
              <a:gd name="connsiteX561" fmla="*/ 2072861 w 4803292"/>
              <a:gd name="connsiteY561" fmla="*/ 632202 h 4764066"/>
              <a:gd name="connsiteX562" fmla="*/ 1941891 w 4803292"/>
              <a:gd name="connsiteY562" fmla="*/ 500970 h 4764066"/>
              <a:gd name="connsiteX563" fmla="*/ 2072861 w 4803292"/>
              <a:gd name="connsiteY563" fmla="*/ 369899 h 4764066"/>
              <a:gd name="connsiteX564" fmla="*/ 2615072 w 4803292"/>
              <a:gd name="connsiteY564" fmla="*/ 369579 h 4764066"/>
              <a:gd name="connsiteX565" fmla="*/ 2746122 w 4803292"/>
              <a:gd name="connsiteY565" fmla="*/ 500810 h 4764066"/>
              <a:gd name="connsiteX566" fmla="*/ 2615072 w 4803292"/>
              <a:gd name="connsiteY566" fmla="*/ 631962 h 4764066"/>
              <a:gd name="connsiteX567" fmla="*/ 2483942 w 4803292"/>
              <a:gd name="connsiteY567" fmla="*/ 500810 h 4764066"/>
              <a:gd name="connsiteX568" fmla="*/ 2615072 w 4803292"/>
              <a:gd name="connsiteY568" fmla="*/ 369579 h 4764066"/>
              <a:gd name="connsiteX569" fmla="*/ 2344087 w 4803292"/>
              <a:gd name="connsiteY569" fmla="*/ 346024 h 4764066"/>
              <a:gd name="connsiteX570" fmla="*/ 2475137 w 4803292"/>
              <a:gd name="connsiteY570" fmla="*/ 477255 h 4764066"/>
              <a:gd name="connsiteX571" fmla="*/ 2344087 w 4803292"/>
              <a:gd name="connsiteY571" fmla="*/ 608407 h 4764066"/>
              <a:gd name="connsiteX572" fmla="*/ 2213037 w 4803292"/>
              <a:gd name="connsiteY572" fmla="*/ 477255 h 4764066"/>
              <a:gd name="connsiteX573" fmla="*/ 2344087 w 4803292"/>
              <a:gd name="connsiteY573" fmla="*/ 346024 h 4764066"/>
              <a:gd name="connsiteX574" fmla="*/ 3298021 w 4803292"/>
              <a:gd name="connsiteY574" fmla="*/ 272557 h 4764066"/>
              <a:gd name="connsiteX575" fmla="*/ 3411218 w 4803292"/>
              <a:gd name="connsiteY575" fmla="*/ 385762 h 4764066"/>
              <a:gd name="connsiteX576" fmla="*/ 3298021 w 4803292"/>
              <a:gd name="connsiteY576" fmla="*/ 499127 h 4764066"/>
              <a:gd name="connsiteX577" fmla="*/ 3184823 w 4803292"/>
              <a:gd name="connsiteY577" fmla="*/ 385762 h 4764066"/>
              <a:gd name="connsiteX578" fmla="*/ 3298021 w 4803292"/>
              <a:gd name="connsiteY578" fmla="*/ 272557 h 4764066"/>
              <a:gd name="connsiteX579" fmla="*/ 3793320 w 4803292"/>
              <a:gd name="connsiteY579" fmla="*/ 224968 h 4764066"/>
              <a:gd name="connsiteX580" fmla="*/ 3882421 w 4803292"/>
              <a:gd name="connsiteY580" fmla="*/ 314138 h 4764066"/>
              <a:gd name="connsiteX581" fmla="*/ 3793320 w 4803292"/>
              <a:gd name="connsiteY581" fmla="*/ 403468 h 4764066"/>
              <a:gd name="connsiteX582" fmla="*/ 3703979 w 4803292"/>
              <a:gd name="connsiteY582" fmla="*/ 314138 h 4764066"/>
              <a:gd name="connsiteX583" fmla="*/ 3793320 w 4803292"/>
              <a:gd name="connsiteY583" fmla="*/ 224968 h 4764066"/>
              <a:gd name="connsiteX584" fmla="*/ 3473821 w 4803292"/>
              <a:gd name="connsiteY584" fmla="*/ 0 h 4764066"/>
              <a:gd name="connsiteX585" fmla="*/ 3562922 w 4803292"/>
              <a:gd name="connsiteY585" fmla="*/ 89170 h 4764066"/>
              <a:gd name="connsiteX586" fmla="*/ 3473821 w 4803292"/>
              <a:gd name="connsiteY586" fmla="*/ 178340 h 4764066"/>
              <a:gd name="connsiteX587" fmla="*/ 3384560 w 4803292"/>
              <a:gd name="connsiteY587" fmla="*/ 89170 h 4764066"/>
              <a:gd name="connsiteX588" fmla="*/ 3473821 w 4803292"/>
              <a:gd name="connsiteY588" fmla="*/ 0 h 476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Lst>
            <a:rect l="l" t="t" r="r" b="b"/>
            <a:pathLst>
              <a:path w="4803292" h="4764066">
                <a:moveTo>
                  <a:pt x="3825502" y="4632114"/>
                </a:moveTo>
                <a:cubicBezTo>
                  <a:pt x="3861927" y="4632114"/>
                  <a:pt x="3891547" y="4661597"/>
                  <a:pt x="3891547" y="4698050"/>
                </a:cubicBezTo>
                <a:cubicBezTo>
                  <a:pt x="3891547" y="4734583"/>
                  <a:pt x="3861927" y="4764066"/>
                  <a:pt x="3825502" y="4764066"/>
                </a:cubicBezTo>
                <a:cubicBezTo>
                  <a:pt x="3789157" y="4764066"/>
                  <a:pt x="3759537" y="4734663"/>
                  <a:pt x="3759537" y="4698050"/>
                </a:cubicBezTo>
                <a:cubicBezTo>
                  <a:pt x="3759537" y="4661597"/>
                  <a:pt x="3789077" y="4632114"/>
                  <a:pt x="3825502" y="4632114"/>
                </a:cubicBezTo>
                <a:close/>
                <a:moveTo>
                  <a:pt x="3925010" y="4414517"/>
                </a:moveTo>
                <a:cubicBezTo>
                  <a:pt x="3961355" y="4414517"/>
                  <a:pt x="3990816" y="4444000"/>
                  <a:pt x="3990895" y="4480453"/>
                </a:cubicBezTo>
                <a:cubicBezTo>
                  <a:pt x="3990895" y="4517066"/>
                  <a:pt x="3961435" y="4546710"/>
                  <a:pt x="3925010" y="4546710"/>
                </a:cubicBezTo>
                <a:cubicBezTo>
                  <a:pt x="3888585" y="4546710"/>
                  <a:pt x="3858965" y="4517066"/>
                  <a:pt x="3858965" y="4480453"/>
                </a:cubicBezTo>
                <a:cubicBezTo>
                  <a:pt x="3858965" y="4444000"/>
                  <a:pt x="3888585" y="4414517"/>
                  <a:pt x="3925010" y="4414517"/>
                </a:cubicBezTo>
                <a:close/>
                <a:moveTo>
                  <a:pt x="3661709" y="4414517"/>
                </a:moveTo>
                <a:cubicBezTo>
                  <a:pt x="3698135" y="4414517"/>
                  <a:pt x="3727595" y="4444000"/>
                  <a:pt x="3727595" y="4480453"/>
                </a:cubicBezTo>
                <a:cubicBezTo>
                  <a:pt x="3727595" y="4517066"/>
                  <a:pt x="3698135" y="4546710"/>
                  <a:pt x="3661709" y="4546710"/>
                </a:cubicBezTo>
                <a:cubicBezTo>
                  <a:pt x="3625284" y="4546710"/>
                  <a:pt x="3595664" y="4517066"/>
                  <a:pt x="3595664" y="4480453"/>
                </a:cubicBezTo>
                <a:cubicBezTo>
                  <a:pt x="3595664" y="4444000"/>
                  <a:pt x="3625284" y="4414517"/>
                  <a:pt x="3661709" y="4414517"/>
                </a:cubicBezTo>
                <a:close/>
                <a:moveTo>
                  <a:pt x="3982170" y="3933336"/>
                </a:moveTo>
                <a:cubicBezTo>
                  <a:pt x="4018514" y="3933336"/>
                  <a:pt x="4047974" y="3962739"/>
                  <a:pt x="4048055" y="3999352"/>
                </a:cubicBezTo>
                <a:cubicBezTo>
                  <a:pt x="4048055" y="4035805"/>
                  <a:pt x="4018594" y="4065288"/>
                  <a:pt x="3982170" y="4065288"/>
                </a:cubicBezTo>
                <a:cubicBezTo>
                  <a:pt x="3945584" y="4065288"/>
                  <a:pt x="3915964" y="4035805"/>
                  <a:pt x="3915964" y="3999352"/>
                </a:cubicBezTo>
                <a:cubicBezTo>
                  <a:pt x="3915964" y="3962819"/>
                  <a:pt x="3945584" y="3933336"/>
                  <a:pt x="3982170" y="3933336"/>
                </a:cubicBezTo>
                <a:close/>
                <a:moveTo>
                  <a:pt x="3471579" y="3904333"/>
                </a:moveTo>
                <a:cubicBezTo>
                  <a:pt x="3520653" y="3904333"/>
                  <a:pt x="3560600" y="3944312"/>
                  <a:pt x="3560680" y="3993503"/>
                </a:cubicBezTo>
                <a:cubicBezTo>
                  <a:pt x="3560680" y="4042775"/>
                  <a:pt x="3520733" y="4082753"/>
                  <a:pt x="3471579" y="4082753"/>
                </a:cubicBezTo>
                <a:cubicBezTo>
                  <a:pt x="3422426" y="4082753"/>
                  <a:pt x="3382558" y="4042775"/>
                  <a:pt x="3382558" y="3993503"/>
                </a:cubicBezTo>
                <a:cubicBezTo>
                  <a:pt x="3382558" y="3944312"/>
                  <a:pt x="3422346" y="3904333"/>
                  <a:pt x="3471579" y="3904333"/>
                </a:cubicBezTo>
                <a:close/>
                <a:moveTo>
                  <a:pt x="3793560" y="3678564"/>
                </a:moveTo>
                <a:cubicBezTo>
                  <a:pt x="3842714" y="3678564"/>
                  <a:pt x="3882661" y="3718542"/>
                  <a:pt x="3882661" y="3767975"/>
                </a:cubicBezTo>
                <a:cubicBezTo>
                  <a:pt x="3882661" y="3817167"/>
                  <a:pt x="3842714" y="3857145"/>
                  <a:pt x="3793560" y="3857145"/>
                </a:cubicBezTo>
                <a:cubicBezTo>
                  <a:pt x="3744246" y="3857145"/>
                  <a:pt x="3704379" y="3817167"/>
                  <a:pt x="3704379" y="3767975"/>
                </a:cubicBezTo>
                <a:cubicBezTo>
                  <a:pt x="3704379" y="3718542"/>
                  <a:pt x="3744167" y="3678564"/>
                  <a:pt x="3793560" y="3678564"/>
                </a:cubicBezTo>
                <a:close/>
                <a:moveTo>
                  <a:pt x="4302789" y="3612387"/>
                </a:moveTo>
                <a:cubicBezTo>
                  <a:pt x="4339134" y="3612387"/>
                  <a:pt x="4368674" y="3641870"/>
                  <a:pt x="4368674" y="3678323"/>
                </a:cubicBezTo>
                <a:cubicBezTo>
                  <a:pt x="4368674" y="3714937"/>
                  <a:pt x="4339054" y="3744580"/>
                  <a:pt x="4302789" y="3744580"/>
                </a:cubicBezTo>
                <a:cubicBezTo>
                  <a:pt x="4266204" y="3744580"/>
                  <a:pt x="4236744" y="3714937"/>
                  <a:pt x="4236744" y="3678323"/>
                </a:cubicBezTo>
                <a:cubicBezTo>
                  <a:pt x="4236744" y="3641870"/>
                  <a:pt x="4266204" y="3612387"/>
                  <a:pt x="4302789" y="3612387"/>
                </a:cubicBezTo>
                <a:close/>
                <a:moveTo>
                  <a:pt x="3298021" y="3579620"/>
                </a:moveTo>
                <a:cubicBezTo>
                  <a:pt x="3360704" y="3579620"/>
                  <a:pt x="3411299" y="3630254"/>
                  <a:pt x="3411218" y="3692745"/>
                </a:cubicBezTo>
                <a:cubicBezTo>
                  <a:pt x="3411218" y="3755396"/>
                  <a:pt x="3360624" y="3806190"/>
                  <a:pt x="3298021" y="3806190"/>
                </a:cubicBezTo>
                <a:cubicBezTo>
                  <a:pt x="3235578" y="3806190"/>
                  <a:pt x="3184823" y="3755396"/>
                  <a:pt x="3184823" y="3692745"/>
                </a:cubicBezTo>
                <a:cubicBezTo>
                  <a:pt x="3184823" y="3630254"/>
                  <a:pt x="3235578" y="3579620"/>
                  <a:pt x="3298021" y="3579620"/>
                </a:cubicBezTo>
                <a:close/>
                <a:moveTo>
                  <a:pt x="4071430" y="3400478"/>
                </a:moveTo>
                <a:cubicBezTo>
                  <a:pt x="4120744" y="3400478"/>
                  <a:pt x="4160691" y="3440456"/>
                  <a:pt x="4160611" y="3489648"/>
                </a:cubicBezTo>
                <a:cubicBezTo>
                  <a:pt x="4160611" y="3538920"/>
                  <a:pt x="4120664" y="3578898"/>
                  <a:pt x="4071430" y="3578898"/>
                </a:cubicBezTo>
                <a:cubicBezTo>
                  <a:pt x="4022196" y="3578898"/>
                  <a:pt x="3982249" y="3538920"/>
                  <a:pt x="3982249" y="3489648"/>
                </a:cubicBezTo>
                <a:cubicBezTo>
                  <a:pt x="3982249" y="3440456"/>
                  <a:pt x="4022196" y="3400478"/>
                  <a:pt x="4071430" y="3400478"/>
                </a:cubicBezTo>
                <a:close/>
                <a:moveTo>
                  <a:pt x="616663" y="3400318"/>
                </a:moveTo>
                <a:cubicBezTo>
                  <a:pt x="665897" y="3400318"/>
                  <a:pt x="705844" y="3440296"/>
                  <a:pt x="705844" y="3489568"/>
                </a:cubicBezTo>
                <a:cubicBezTo>
                  <a:pt x="705844" y="3538840"/>
                  <a:pt x="665897" y="3578738"/>
                  <a:pt x="616663" y="3578738"/>
                </a:cubicBezTo>
                <a:cubicBezTo>
                  <a:pt x="567429" y="3578738"/>
                  <a:pt x="527482" y="3538840"/>
                  <a:pt x="527482" y="3489568"/>
                </a:cubicBezTo>
                <a:cubicBezTo>
                  <a:pt x="527482" y="3440296"/>
                  <a:pt x="567429" y="3400318"/>
                  <a:pt x="616663" y="3400318"/>
                </a:cubicBezTo>
                <a:close/>
                <a:moveTo>
                  <a:pt x="3570447" y="3388461"/>
                </a:moveTo>
                <a:cubicBezTo>
                  <a:pt x="3633050" y="3388461"/>
                  <a:pt x="3683805" y="3439255"/>
                  <a:pt x="3683805" y="3501906"/>
                </a:cubicBezTo>
                <a:cubicBezTo>
                  <a:pt x="3683805" y="3564397"/>
                  <a:pt x="3633050" y="3615192"/>
                  <a:pt x="3570447" y="3615192"/>
                </a:cubicBezTo>
                <a:cubicBezTo>
                  <a:pt x="3508005" y="3615192"/>
                  <a:pt x="3457410" y="3564397"/>
                  <a:pt x="3457410" y="3501906"/>
                </a:cubicBezTo>
                <a:cubicBezTo>
                  <a:pt x="3457410" y="3439255"/>
                  <a:pt x="3508005" y="3388461"/>
                  <a:pt x="3570447" y="3388461"/>
                </a:cubicBezTo>
                <a:close/>
                <a:moveTo>
                  <a:pt x="2878053" y="3376042"/>
                </a:moveTo>
                <a:cubicBezTo>
                  <a:pt x="2950262" y="3376042"/>
                  <a:pt x="3009023" y="3434768"/>
                  <a:pt x="3009023" y="3507194"/>
                </a:cubicBezTo>
                <a:cubicBezTo>
                  <a:pt x="3009023" y="3579619"/>
                  <a:pt x="2950262" y="3638345"/>
                  <a:pt x="2878053" y="3638345"/>
                </a:cubicBezTo>
                <a:cubicBezTo>
                  <a:pt x="2805523" y="3638345"/>
                  <a:pt x="2746843" y="3579619"/>
                  <a:pt x="2746843" y="3507194"/>
                </a:cubicBezTo>
                <a:cubicBezTo>
                  <a:pt x="2746843" y="3434768"/>
                  <a:pt x="2805523" y="3376042"/>
                  <a:pt x="2878053" y="3376042"/>
                </a:cubicBezTo>
                <a:close/>
                <a:moveTo>
                  <a:pt x="3124542" y="3260995"/>
                </a:moveTo>
                <a:cubicBezTo>
                  <a:pt x="3196831" y="3260995"/>
                  <a:pt x="3255752" y="3319560"/>
                  <a:pt x="3255752" y="3392146"/>
                </a:cubicBezTo>
                <a:cubicBezTo>
                  <a:pt x="3255752" y="3464492"/>
                  <a:pt x="3196831" y="3523297"/>
                  <a:pt x="3124542" y="3523297"/>
                </a:cubicBezTo>
                <a:cubicBezTo>
                  <a:pt x="3052252" y="3523297"/>
                  <a:pt x="2993572" y="3464492"/>
                  <a:pt x="2993572" y="3392146"/>
                </a:cubicBezTo>
                <a:cubicBezTo>
                  <a:pt x="2993572" y="3319560"/>
                  <a:pt x="3052252" y="3260995"/>
                  <a:pt x="3124542" y="3260995"/>
                </a:cubicBezTo>
                <a:close/>
                <a:moveTo>
                  <a:pt x="4562807" y="3240485"/>
                </a:moveTo>
                <a:cubicBezTo>
                  <a:pt x="4599312" y="3240485"/>
                  <a:pt x="4628852" y="3269968"/>
                  <a:pt x="4628852" y="3306421"/>
                </a:cubicBezTo>
                <a:cubicBezTo>
                  <a:pt x="4628852" y="3343034"/>
                  <a:pt x="4599392" y="3372678"/>
                  <a:pt x="4562807" y="3372678"/>
                </a:cubicBezTo>
                <a:cubicBezTo>
                  <a:pt x="4526542" y="3372678"/>
                  <a:pt x="4496922" y="3343034"/>
                  <a:pt x="4496922" y="3306421"/>
                </a:cubicBezTo>
                <a:cubicBezTo>
                  <a:pt x="4496922" y="3269968"/>
                  <a:pt x="4526542" y="3240485"/>
                  <a:pt x="4562807" y="3240485"/>
                </a:cubicBezTo>
                <a:close/>
                <a:moveTo>
                  <a:pt x="3805568" y="3153318"/>
                </a:moveTo>
                <a:cubicBezTo>
                  <a:pt x="3868171" y="3153318"/>
                  <a:pt x="3918926" y="3203952"/>
                  <a:pt x="3918926" y="3266443"/>
                </a:cubicBezTo>
                <a:cubicBezTo>
                  <a:pt x="3918926" y="3329094"/>
                  <a:pt x="3868171" y="3379889"/>
                  <a:pt x="3805568" y="3379889"/>
                </a:cubicBezTo>
                <a:cubicBezTo>
                  <a:pt x="3743126" y="3379889"/>
                  <a:pt x="3692531" y="3329094"/>
                  <a:pt x="3692531" y="3266443"/>
                </a:cubicBezTo>
                <a:cubicBezTo>
                  <a:pt x="3692531" y="3203952"/>
                  <a:pt x="3743126" y="3153318"/>
                  <a:pt x="3805568" y="3153318"/>
                </a:cubicBezTo>
                <a:close/>
                <a:moveTo>
                  <a:pt x="882365" y="3152997"/>
                </a:moveTo>
                <a:cubicBezTo>
                  <a:pt x="944967" y="3152997"/>
                  <a:pt x="995722" y="3203791"/>
                  <a:pt x="995722" y="3266442"/>
                </a:cubicBezTo>
                <a:cubicBezTo>
                  <a:pt x="995722" y="3329094"/>
                  <a:pt x="944967" y="3379728"/>
                  <a:pt x="882365" y="3379728"/>
                </a:cubicBezTo>
                <a:cubicBezTo>
                  <a:pt x="819762" y="3379728"/>
                  <a:pt x="769327" y="3329094"/>
                  <a:pt x="769327" y="3266442"/>
                </a:cubicBezTo>
                <a:cubicBezTo>
                  <a:pt x="769327" y="3203791"/>
                  <a:pt x="819762" y="3152997"/>
                  <a:pt x="882365" y="3152997"/>
                </a:cubicBezTo>
                <a:close/>
                <a:moveTo>
                  <a:pt x="3347574" y="3104847"/>
                </a:moveTo>
                <a:cubicBezTo>
                  <a:pt x="3419864" y="3104847"/>
                  <a:pt x="3478544" y="3163493"/>
                  <a:pt x="3478544" y="3235998"/>
                </a:cubicBezTo>
                <a:cubicBezTo>
                  <a:pt x="3478544" y="3308344"/>
                  <a:pt x="3419864" y="3367069"/>
                  <a:pt x="3347574" y="3367069"/>
                </a:cubicBezTo>
                <a:cubicBezTo>
                  <a:pt x="3275124" y="3367069"/>
                  <a:pt x="3216364" y="3308344"/>
                  <a:pt x="3216364" y="3235998"/>
                </a:cubicBezTo>
                <a:cubicBezTo>
                  <a:pt x="3216364" y="3163573"/>
                  <a:pt x="3275124" y="3104847"/>
                  <a:pt x="3347574" y="3104847"/>
                </a:cubicBezTo>
                <a:close/>
                <a:moveTo>
                  <a:pt x="1340279" y="3104687"/>
                </a:moveTo>
                <a:cubicBezTo>
                  <a:pt x="1412728" y="3104687"/>
                  <a:pt x="1471329" y="3163333"/>
                  <a:pt x="1471329" y="3235838"/>
                </a:cubicBezTo>
                <a:cubicBezTo>
                  <a:pt x="1471329" y="3308344"/>
                  <a:pt x="1412648" y="3366910"/>
                  <a:pt x="1340279" y="3366910"/>
                </a:cubicBezTo>
                <a:cubicBezTo>
                  <a:pt x="1267909" y="3366910"/>
                  <a:pt x="1209229" y="3308264"/>
                  <a:pt x="1209229" y="3235838"/>
                </a:cubicBezTo>
                <a:cubicBezTo>
                  <a:pt x="1209229" y="3163413"/>
                  <a:pt x="1267829" y="3104687"/>
                  <a:pt x="1340279" y="3104687"/>
                </a:cubicBezTo>
                <a:close/>
                <a:moveTo>
                  <a:pt x="4296945" y="3078329"/>
                </a:moveTo>
                <a:cubicBezTo>
                  <a:pt x="4346019" y="3078329"/>
                  <a:pt x="4386046" y="3118147"/>
                  <a:pt x="4386046" y="3167499"/>
                </a:cubicBezTo>
                <a:cubicBezTo>
                  <a:pt x="4386046" y="3216691"/>
                  <a:pt x="4346098" y="3256669"/>
                  <a:pt x="4296945" y="3256669"/>
                </a:cubicBezTo>
                <a:cubicBezTo>
                  <a:pt x="4247791" y="3256669"/>
                  <a:pt x="4207924" y="3216691"/>
                  <a:pt x="4207924" y="3167499"/>
                </a:cubicBezTo>
                <a:cubicBezTo>
                  <a:pt x="4207924" y="3118227"/>
                  <a:pt x="4247711" y="3078329"/>
                  <a:pt x="4296945" y="3078329"/>
                </a:cubicBezTo>
                <a:close/>
                <a:moveTo>
                  <a:pt x="391148" y="3078168"/>
                </a:moveTo>
                <a:cubicBezTo>
                  <a:pt x="440382" y="3078168"/>
                  <a:pt x="480409" y="3118226"/>
                  <a:pt x="480329" y="3167258"/>
                </a:cubicBezTo>
                <a:cubicBezTo>
                  <a:pt x="480329" y="3216610"/>
                  <a:pt x="440382" y="3256508"/>
                  <a:pt x="391148" y="3256508"/>
                </a:cubicBezTo>
                <a:cubicBezTo>
                  <a:pt x="341914" y="3256508"/>
                  <a:pt x="302127" y="3216690"/>
                  <a:pt x="302127" y="3167258"/>
                </a:cubicBezTo>
                <a:cubicBezTo>
                  <a:pt x="302127" y="3118147"/>
                  <a:pt x="341914" y="3078168"/>
                  <a:pt x="391148" y="3078168"/>
                </a:cubicBezTo>
                <a:close/>
                <a:moveTo>
                  <a:pt x="1148227" y="2912647"/>
                </a:moveTo>
                <a:cubicBezTo>
                  <a:pt x="1220757" y="2912647"/>
                  <a:pt x="1279437" y="2971132"/>
                  <a:pt x="1279437" y="3043798"/>
                </a:cubicBezTo>
                <a:cubicBezTo>
                  <a:pt x="1279437" y="3116304"/>
                  <a:pt x="1220757" y="3174869"/>
                  <a:pt x="1148227" y="3174869"/>
                </a:cubicBezTo>
                <a:cubicBezTo>
                  <a:pt x="1075937" y="3174869"/>
                  <a:pt x="1017257" y="3116304"/>
                  <a:pt x="1017257" y="3043798"/>
                </a:cubicBezTo>
                <a:cubicBezTo>
                  <a:pt x="1017257" y="2971212"/>
                  <a:pt x="1075937" y="2912647"/>
                  <a:pt x="1148227" y="2912647"/>
                </a:cubicBezTo>
                <a:close/>
                <a:moveTo>
                  <a:pt x="3540026" y="2912086"/>
                </a:moveTo>
                <a:cubicBezTo>
                  <a:pt x="3612315" y="2912086"/>
                  <a:pt x="3670996" y="2970732"/>
                  <a:pt x="3670996" y="3043237"/>
                </a:cubicBezTo>
                <a:cubicBezTo>
                  <a:pt x="3670996" y="3115583"/>
                  <a:pt x="3612315" y="3174388"/>
                  <a:pt x="3540026" y="3174388"/>
                </a:cubicBezTo>
                <a:cubicBezTo>
                  <a:pt x="3467656" y="3174388"/>
                  <a:pt x="3408816" y="3115583"/>
                  <a:pt x="3408816" y="3043237"/>
                </a:cubicBezTo>
                <a:cubicBezTo>
                  <a:pt x="3408816" y="2970812"/>
                  <a:pt x="3467576" y="2912086"/>
                  <a:pt x="3540026" y="2912086"/>
                </a:cubicBezTo>
                <a:close/>
                <a:moveTo>
                  <a:pt x="3996499" y="2880680"/>
                </a:moveTo>
                <a:cubicBezTo>
                  <a:pt x="4058941" y="2880680"/>
                  <a:pt x="4109696" y="2931314"/>
                  <a:pt x="4109696" y="2993805"/>
                </a:cubicBezTo>
                <a:cubicBezTo>
                  <a:pt x="4109696" y="3056456"/>
                  <a:pt x="4058941" y="3107250"/>
                  <a:pt x="3996499" y="3107250"/>
                </a:cubicBezTo>
                <a:cubicBezTo>
                  <a:pt x="3934056" y="3107250"/>
                  <a:pt x="3883301" y="3056456"/>
                  <a:pt x="3883301" y="2993805"/>
                </a:cubicBezTo>
                <a:cubicBezTo>
                  <a:pt x="3883301" y="2931314"/>
                  <a:pt x="3934056" y="2880680"/>
                  <a:pt x="3996499" y="2880680"/>
                </a:cubicBezTo>
                <a:close/>
                <a:moveTo>
                  <a:pt x="691675" y="2880600"/>
                </a:moveTo>
                <a:cubicBezTo>
                  <a:pt x="754117" y="2880600"/>
                  <a:pt x="804872" y="2931234"/>
                  <a:pt x="804872" y="2993885"/>
                </a:cubicBezTo>
                <a:cubicBezTo>
                  <a:pt x="804872" y="3056376"/>
                  <a:pt x="754117" y="3107170"/>
                  <a:pt x="691675" y="3107170"/>
                </a:cubicBezTo>
                <a:cubicBezTo>
                  <a:pt x="629152" y="3107170"/>
                  <a:pt x="578477" y="3056376"/>
                  <a:pt x="578477" y="2993885"/>
                </a:cubicBezTo>
                <a:cubicBezTo>
                  <a:pt x="578477" y="2931234"/>
                  <a:pt x="629152" y="2880600"/>
                  <a:pt x="691675" y="2880600"/>
                </a:cubicBezTo>
                <a:close/>
                <a:moveTo>
                  <a:pt x="4737247" y="2846390"/>
                </a:moveTo>
                <a:cubicBezTo>
                  <a:pt x="4773832" y="2846390"/>
                  <a:pt x="4803292" y="2875873"/>
                  <a:pt x="4803292" y="2912326"/>
                </a:cubicBezTo>
                <a:cubicBezTo>
                  <a:pt x="4803292" y="2948940"/>
                  <a:pt x="4773832" y="2978583"/>
                  <a:pt x="4737247" y="2978583"/>
                </a:cubicBezTo>
                <a:cubicBezTo>
                  <a:pt x="4700902" y="2978583"/>
                  <a:pt x="4671282" y="2948940"/>
                  <a:pt x="4671282" y="2912326"/>
                </a:cubicBezTo>
                <a:cubicBezTo>
                  <a:pt x="4671282" y="2875873"/>
                  <a:pt x="4700822" y="2846390"/>
                  <a:pt x="4737247" y="2846390"/>
                </a:cubicBezTo>
                <a:close/>
                <a:moveTo>
                  <a:pt x="4463140" y="2721728"/>
                </a:moveTo>
                <a:cubicBezTo>
                  <a:pt x="4512213" y="2721728"/>
                  <a:pt x="4552160" y="2761786"/>
                  <a:pt x="4552160" y="2810898"/>
                </a:cubicBezTo>
                <a:cubicBezTo>
                  <a:pt x="4552160" y="2860170"/>
                  <a:pt x="4512213" y="2900068"/>
                  <a:pt x="4463140" y="2900068"/>
                </a:cubicBezTo>
                <a:cubicBezTo>
                  <a:pt x="4413745" y="2900068"/>
                  <a:pt x="4373798" y="2860170"/>
                  <a:pt x="4373798" y="2810898"/>
                </a:cubicBezTo>
                <a:cubicBezTo>
                  <a:pt x="4373798" y="2761786"/>
                  <a:pt x="4413745" y="2721728"/>
                  <a:pt x="4463140" y="2721728"/>
                </a:cubicBezTo>
                <a:close/>
                <a:moveTo>
                  <a:pt x="225114" y="2721728"/>
                </a:moveTo>
                <a:cubicBezTo>
                  <a:pt x="274268" y="2721728"/>
                  <a:pt x="314215" y="2761626"/>
                  <a:pt x="314215" y="2810898"/>
                </a:cubicBezTo>
                <a:cubicBezTo>
                  <a:pt x="314215" y="2860170"/>
                  <a:pt x="274268" y="2900068"/>
                  <a:pt x="225114" y="2900068"/>
                </a:cubicBezTo>
                <a:cubicBezTo>
                  <a:pt x="175720" y="2900068"/>
                  <a:pt x="135933" y="2860170"/>
                  <a:pt x="135933" y="2810898"/>
                </a:cubicBezTo>
                <a:cubicBezTo>
                  <a:pt x="135933" y="2761626"/>
                  <a:pt x="175720" y="2721728"/>
                  <a:pt x="225114" y="2721728"/>
                </a:cubicBezTo>
                <a:close/>
                <a:moveTo>
                  <a:pt x="3695973" y="2689041"/>
                </a:moveTo>
                <a:cubicBezTo>
                  <a:pt x="3768342" y="2689041"/>
                  <a:pt x="3827023" y="2747847"/>
                  <a:pt x="3827023" y="2820192"/>
                </a:cubicBezTo>
                <a:cubicBezTo>
                  <a:pt x="3827023" y="2892538"/>
                  <a:pt x="3768342" y="2951263"/>
                  <a:pt x="3695973" y="2951263"/>
                </a:cubicBezTo>
                <a:cubicBezTo>
                  <a:pt x="3623843" y="2951263"/>
                  <a:pt x="3564923" y="2892538"/>
                  <a:pt x="3564923" y="2820192"/>
                </a:cubicBezTo>
                <a:cubicBezTo>
                  <a:pt x="3564923" y="2747847"/>
                  <a:pt x="3623763" y="2689041"/>
                  <a:pt x="3695973" y="2689041"/>
                </a:cubicBezTo>
                <a:close/>
                <a:moveTo>
                  <a:pt x="992200" y="2689041"/>
                </a:moveTo>
                <a:cubicBezTo>
                  <a:pt x="1064489" y="2689041"/>
                  <a:pt x="1123170" y="2747847"/>
                  <a:pt x="1123170" y="2820192"/>
                </a:cubicBezTo>
                <a:cubicBezTo>
                  <a:pt x="1123170" y="2892538"/>
                  <a:pt x="1064489" y="2951264"/>
                  <a:pt x="992200" y="2951264"/>
                </a:cubicBezTo>
                <a:cubicBezTo>
                  <a:pt x="919750" y="2951264"/>
                  <a:pt x="860990" y="2892538"/>
                  <a:pt x="860990" y="2820192"/>
                </a:cubicBezTo>
                <a:cubicBezTo>
                  <a:pt x="860990" y="2747847"/>
                  <a:pt x="919750" y="2688961"/>
                  <a:pt x="992200" y="2689041"/>
                </a:cubicBezTo>
                <a:close/>
                <a:moveTo>
                  <a:pt x="4137075" y="2579040"/>
                </a:moveTo>
                <a:cubicBezTo>
                  <a:pt x="4199518" y="2579040"/>
                  <a:pt x="4250113" y="2629674"/>
                  <a:pt x="4250113" y="2692165"/>
                </a:cubicBezTo>
                <a:cubicBezTo>
                  <a:pt x="4250113" y="2754816"/>
                  <a:pt x="4199598" y="2805450"/>
                  <a:pt x="4137075" y="2805450"/>
                </a:cubicBezTo>
                <a:cubicBezTo>
                  <a:pt x="4074473" y="2805450"/>
                  <a:pt x="4023718" y="2754816"/>
                  <a:pt x="4023718" y="2692165"/>
                </a:cubicBezTo>
                <a:cubicBezTo>
                  <a:pt x="4023718" y="2629674"/>
                  <a:pt x="4074473" y="2579040"/>
                  <a:pt x="4137075" y="2579040"/>
                </a:cubicBezTo>
                <a:close/>
                <a:moveTo>
                  <a:pt x="551018" y="2578880"/>
                </a:moveTo>
                <a:cubicBezTo>
                  <a:pt x="613620" y="2578880"/>
                  <a:pt x="664375" y="2629594"/>
                  <a:pt x="664375" y="2692005"/>
                </a:cubicBezTo>
                <a:cubicBezTo>
                  <a:pt x="664375" y="2754656"/>
                  <a:pt x="613620" y="2805450"/>
                  <a:pt x="551018" y="2805450"/>
                </a:cubicBezTo>
                <a:cubicBezTo>
                  <a:pt x="488575" y="2805450"/>
                  <a:pt x="437980" y="2754656"/>
                  <a:pt x="437980" y="2692005"/>
                </a:cubicBezTo>
                <a:cubicBezTo>
                  <a:pt x="437980" y="2629674"/>
                  <a:pt x="488575" y="2578880"/>
                  <a:pt x="551018" y="2578880"/>
                </a:cubicBezTo>
                <a:close/>
                <a:moveTo>
                  <a:pt x="3811092" y="2442281"/>
                </a:moveTo>
                <a:cubicBezTo>
                  <a:pt x="3883381" y="2442281"/>
                  <a:pt x="3942062" y="2501007"/>
                  <a:pt x="3942062" y="2573432"/>
                </a:cubicBezTo>
                <a:cubicBezTo>
                  <a:pt x="3942062" y="2645858"/>
                  <a:pt x="3883381" y="2704583"/>
                  <a:pt x="3811092" y="2704583"/>
                </a:cubicBezTo>
                <a:cubicBezTo>
                  <a:pt x="3738562" y="2704583"/>
                  <a:pt x="3679802" y="2645858"/>
                  <a:pt x="3679882" y="2573432"/>
                </a:cubicBezTo>
                <a:cubicBezTo>
                  <a:pt x="3679882" y="2501007"/>
                  <a:pt x="3738562" y="2442281"/>
                  <a:pt x="3811092" y="2442281"/>
                </a:cubicBezTo>
                <a:close/>
                <a:moveTo>
                  <a:pt x="877161" y="2442201"/>
                </a:moveTo>
                <a:cubicBezTo>
                  <a:pt x="949450" y="2442201"/>
                  <a:pt x="1008291" y="2501007"/>
                  <a:pt x="1008211" y="2573352"/>
                </a:cubicBezTo>
                <a:cubicBezTo>
                  <a:pt x="1008211" y="2645778"/>
                  <a:pt x="949450" y="2704503"/>
                  <a:pt x="877161" y="2704503"/>
                </a:cubicBezTo>
                <a:cubicBezTo>
                  <a:pt x="804871" y="2704503"/>
                  <a:pt x="745951" y="2645858"/>
                  <a:pt x="745951" y="2573352"/>
                </a:cubicBezTo>
                <a:cubicBezTo>
                  <a:pt x="745951" y="2500927"/>
                  <a:pt x="804871" y="2442201"/>
                  <a:pt x="877161" y="2442201"/>
                </a:cubicBezTo>
                <a:close/>
                <a:moveTo>
                  <a:pt x="4564809" y="2341975"/>
                </a:moveTo>
                <a:cubicBezTo>
                  <a:pt x="4613963" y="2341975"/>
                  <a:pt x="4653910" y="2381873"/>
                  <a:pt x="4653910" y="2431145"/>
                </a:cubicBezTo>
                <a:cubicBezTo>
                  <a:pt x="4653910" y="2480337"/>
                  <a:pt x="4613963" y="2520315"/>
                  <a:pt x="4564809" y="2520315"/>
                </a:cubicBezTo>
                <a:cubicBezTo>
                  <a:pt x="4515575" y="2520315"/>
                  <a:pt x="4475628" y="2480337"/>
                  <a:pt x="4475628" y="2431145"/>
                </a:cubicBezTo>
                <a:cubicBezTo>
                  <a:pt x="4475628" y="2381873"/>
                  <a:pt x="4515575" y="2341975"/>
                  <a:pt x="4564809" y="2341975"/>
                </a:cubicBezTo>
                <a:close/>
                <a:moveTo>
                  <a:pt x="123365" y="2341975"/>
                </a:moveTo>
                <a:cubicBezTo>
                  <a:pt x="172679" y="2341975"/>
                  <a:pt x="212466" y="2381953"/>
                  <a:pt x="212466" y="2431145"/>
                </a:cubicBezTo>
                <a:cubicBezTo>
                  <a:pt x="212466" y="2480337"/>
                  <a:pt x="172679" y="2520315"/>
                  <a:pt x="123365" y="2520315"/>
                </a:cubicBezTo>
                <a:cubicBezTo>
                  <a:pt x="73971" y="2520315"/>
                  <a:pt x="34184" y="2480337"/>
                  <a:pt x="34184" y="2431145"/>
                </a:cubicBezTo>
                <a:cubicBezTo>
                  <a:pt x="34184" y="2381953"/>
                  <a:pt x="73971" y="2341975"/>
                  <a:pt x="123365" y="2341975"/>
                </a:cubicBezTo>
                <a:close/>
                <a:moveTo>
                  <a:pt x="4223054" y="2257692"/>
                </a:moveTo>
                <a:cubicBezTo>
                  <a:pt x="4285497" y="2257692"/>
                  <a:pt x="4336252" y="2308326"/>
                  <a:pt x="4336252" y="2370897"/>
                </a:cubicBezTo>
                <a:cubicBezTo>
                  <a:pt x="4336252" y="2433548"/>
                  <a:pt x="4285497" y="2484262"/>
                  <a:pt x="4223054" y="2484262"/>
                </a:cubicBezTo>
                <a:cubicBezTo>
                  <a:pt x="4160612" y="2484262"/>
                  <a:pt x="4109857" y="2433548"/>
                  <a:pt x="4109857" y="2370897"/>
                </a:cubicBezTo>
                <a:cubicBezTo>
                  <a:pt x="4109857" y="2308326"/>
                  <a:pt x="4160612" y="2257692"/>
                  <a:pt x="4223054" y="2257692"/>
                </a:cubicBezTo>
                <a:close/>
                <a:moveTo>
                  <a:pt x="464959" y="2257452"/>
                </a:moveTo>
                <a:cubicBezTo>
                  <a:pt x="527561" y="2257452"/>
                  <a:pt x="578156" y="2308246"/>
                  <a:pt x="578156" y="2370817"/>
                </a:cubicBezTo>
                <a:cubicBezTo>
                  <a:pt x="578156" y="2433469"/>
                  <a:pt x="527561" y="2484183"/>
                  <a:pt x="464959" y="2484183"/>
                </a:cubicBezTo>
                <a:cubicBezTo>
                  <a:pt x="402356" y="2484183"/>
                  <a:pt x="351921" y="2433469"/>
                  <a:pt x="351921" y="2370817"/>
                </a:cubicBezTo>
                <a:cubicBezTo>
                  <a:pt x="351921" y="2308246"/>
                  <a:pt x="402356" y="2257452"/>
                  <a:pt x="464959" y="2257452"/>
                </a:cubicBezTo>
                <a:close/>
                <a:moveTo>
                  <a:pt x="3881460" y="2179498"/>
                </a:moveTo>
                <a:cubicBezTo>
                  <a:pt x="3953909" y="2179498"/>
                  <a:pt x="4012510" y="2238224"/>
                  <a:pt x="4012510" y="2310569"/>
                </a:cubicBezTo>
                <a:cubicBezTo>
                  <a:pt x="4012510" y="2382995"/>
                  <a:pt x="3953909" y="2441800"/>
                  <a:pt x="3881460" y="2441800"/>
                </a:cubicBezTo>
                <a:cubicBezTo>
                  <a:pt x="3809171" y="2441800"/>
                  <a:pt x="3750330" y="2382995"/>
                  <a:pt x="3750330" y="2310569"/>
                </a:cubicBezTo>
                <a:cubicBezTo>
                  <a:pt x="3750330" y="2238224"/>
                  <a:pt x="3809171" y="2179498"/>
                  <a:pt x="3881460" y="2179498"/>
                </a:cubicBezTo>
                <a:close/>
                <a:moveTo>
                  <a:pt x="806713" y="2179498"/>
                </a:moveTo>
                <a:cubicBezTo>
                  <a:pt x="879082" y="2179498"/>
                  <a:pt x="937763" y="2238144"/>
                  <a:pt x="937763" y="2310569"/>
                </a:cubicBezTo>
                <a:cubicBezTo>
                  <a:pt x="937763" y="2382995"/>
                  <a:pt x="879162" y="2441800"/>
                  <a:pt x="806713" y="2441800"/>
                </a:cubicBezTo>
                <a:cubicBezTo>
                  <a:pt x="734423" y="2441800"/>
                  <a:pt x="675583" y="2382995"/>
                  <a:pt x="675583" y="2310569"/>
                </a:cubicBezTo>
                <a:cubicBezTo>
                  <a:pt x="675583" y="2238224"/>
                  <a:pt x="734343" y="2179498"/>
                  <a:pt x="806713" y="2179498"/>
                </a:cubicBezTo>
                <a:close/>
                <a:moveTo>
                  <a:pt x="89181" y="1950284"/>
                </a:moveTo>
                <a:cubicBezTo>
                  <a:pt x="138335" y="1950284"/>
                  <a:pt x="178282" y="1990262"/>
                  <a:pt x="178282" y="2039454"/>
                </a:cubicBezTo>
                <a:cubicBezTo>
                  <a:pt x="178282" y="2088726"/>
                  <a:pt x="138255" y="2128624"/>
                  <a:pt x="89181" y="2128624"/>
                </a:cubicBezTo>
                <a:cubicBezTo>
                  <a:pt x="39947" y="2128624"/>
                  <a:pt x="0" y="2088646"/>
                  <a:pt x="0" y="2039454"/>
                </a:cubicBezTo>
                <a:cubicBezTo>
                  <a:pt x="0" y="1990262"/>
                  <a:pt x="39947" y="1950284"/>
                  <a:pt x="89181" y="1950284"/>
                </a:cubicBezTo>
                <a:close/>
                <a:moveTo>
                  <a:pt x="4597391" y="1950204"/>
                </a:moveTo>
                <a:cubicBezTo>
                  <a:pt x="4646545" y="1950204"/>
                  <a:pt x="4686492" y="1990182"/>
                  <a:pt x="4686492" y="2039374"/>
                </a:cubicBezTo>
                <a:cubicBezTo>
                  <a:pt x="4686492" y="2088566"/>
                  <a:pt x="4646545" y="2128544"/>
                  <a:pt x="4597391" y="2128544"/>
                </a:cubicBezTo>
                <a:cubicBezTo>
                  <a:pt x="4547997" y="2128544"/>
                  <a:pt x="4508050" y="2088566"/>
                  <a:pt x="4508050" y="2039374"/>
                </a:cubicBezTo>
                <a:cubicBezTo>
                  <a:pt x="4508050" y="1990182"/>
                  <a:pt x="4547997" y="1950204"/>
                  <a:pt x="4597391" y="1950204"/>
                </a:cubicBezTo>
                <a:close/>
                <a:moveTo>
                  <a:pt x="4252194" y="1926169"/>
                </a:moveTo>
                <a:cubicBezTo>
                  <a:pt x="4314558" y="1926169"/>
                  <a:pt x="4365312" y="1976963"/>
                  <a:pt x="4365232" y="2039534"/>
                </a:cubicBezTo>
                <a:cubicBezTo>
                  <a:pt x="4365232" y="2102105"/>
                  <a:pt x="4314477" y="2152900"/>
                  <a:pt x="4252194" y="2152900"/>
                </a:cubicBezTo>
                <a:cubicBezTo>
                  <a:pt x="4189592" y="2152900"/>
                  <a:pt x="4138837" y="2102105"/>
                  <a:pt x="4138837" y="2039534"/>
                </a:cubicBezTo>
                <a:cubicBezTo>
                  <a:pt x="4138837" y="1977043"/>
                  <a:pt x="4189592" y="1926169"/>
                  <a:pt x="4252194" y="1926169"/>
                </a:cubicBezTo>
                <a:close/>
                <a:moveTo>
                  <a:pt x="436060" y="1926088"/>
                </a:moveTo>
                <a:cubicBezTo>
                  <a:pt x="498662" y="1926088"/>
                  <a:pt x="549257" y="1976962"/>
                  <a:pt x="549257" y="2039454"/>
                </a:cubicBezTo>
                <a:cubicBezTo>
                  <a:pt x="549257" y="2102025"/>
                  <a:pt x="498662" y="2152819"/>
                  <a:pt x="436060" y="2152819"/>
                </a:cubicBezTo>
                <a:cubicBezTo>
                  <a:pt x="373537" y="2152819"/>
                  <a:pt x="322862" y="2102105"/>
                  <a:pt x="322862" y="2039454"/>
                </a:cubicBezTo>
                <a:cubicBezTo>
                  <a:pt x="322862" y="1976962"/>
                  <a:pt x="373537" y="1926088"/>
                  <a:pt x="436060" y="1926088"/>
                </a:cubicBezTo>
                <a:close/>
                <a:moveTo>
                  <a:pt x="3905237" y="1908383"/>
                </a:moveTo>
                <a:cubicBezTo>
                  <a:pt x="3977606" y="1908383"/>
                  <a:pt x="4036287" y="1967109"/>
                  <a:pt x="4036287" y="2039534"/>
                </a:cubicBezTo>
                <a:cubicBezTo>
                  <a:pt x="4036287" y="2111960"/>
                  <a:pt x="3977686" y="2170685"/>
                  <a:pt x="3905237" y="2170685"/>
                </a:cubicBezTo>
                <a:cubicBezTo>
                  <a:pt x="3832787" y="2170685"/>
                  <a:pt x="3774107" y="2111960"/>
                  <a:pt x="3774107" y="2039534"/>
                </a:cubicBezTo>
                <a:cubicBezTo>
                  <a:pt x="3774107" y="1967109"/>
                  <a:pt x="3832787" y="1908383"/>
                  <a:pt x="3905237" y="1908383"/>
                </a:cubicBezTo>
                <a:close/>
                <a:moveTo>
                  <a:pt x="783097" y="1908383"/>
                </a:moveTo>
                <a:cubicBezTo>
                  <a:pt x="855386" y="1908383"/>
                  <a:pt x="914067" y="1967109"/>
                  <a:pt x="914067" y="2039534"/>
                </a:cubicBezTo>
                <a:cubicBezTo>
                  <a:pt x="914067" y="2111960"/>
                  <a:pt x="855386" y="2170685"/>
                  <a:pt x="783097" y="2170685"/>
                </a:cubicBezTo>
                <a:cubicBezTo>
                  <a:pt x="710567" y="2170685"/>
                  <a:pt x="651887" y="2111960"/>
                  <a:pt x="651887" y="2039534"/>
                </a:cubicBezTo>
                <a:cubicBezTo>
                  <a:pt x="651887" y="1967109"/>
                  <a:pt x="710487" y="1908383"/>
                  <a:pt x="783097" y="1908383"/>
                </a:cubicBezTo>
                <a:close/>
                <a:moveTo>
                  <a:pt x="3881460" y="1637027"/>
                </a:moveTo>
                <a:cubicBezTo>
                  <a:pt x="3953909" y="1637027"/>
                  <a:pt x="4012510" y="1695753"/>
                  <a:pt x="4012510" y="1768178"/>
                </a:cubicBezTo>
                <a:cubicBezTo>
                  <a:pt x="4012510" y="1840764"/>
                  <a:pt x="3953909" y="1899329"/>
                  <a:pt x="3881460" y="1899329"/>
                </a:cubicBezTo>
                <a:cubicBezTo>
                  <a:pt x="3809171" y="1899329"/>
                  <a:pt x="3750330" y="1840764"/>
                  <a:pt x="3750330" y="1768178"/>
                </a:cubicBezTo>
                <a:cubicBezTo>
                  <a:pt x="3750330" y="1695753"/>
                  <a:pt x="3809171" y="1637027"/>
                  <a:pt x="3881460" y="1637027"/>
                </a:cubicBezTo>
                <a:close/>
                <a:moveTo>
                  <a:pt x="806633" y="1637027"/>
                </a:moveTo>
                <a:cubicBezTo>
                  <a:pt x="879002" y="1637027"/>
                  <a:pt x="937683" y="1695753"/>
                  <a:pt x="937683" y="1768178"/>
                </a:cubicBezTo>
                <a:cubicBezTo>
                  <a:pt x="937683" y="1840764"/>
                  <a:pt x="879082" y="1899329"/>
                  <a:pt x="806633" y="1899329"/>
                </a:cubicBezTo>
                <a:cubicBezTo>
                  <a:pt x="734343" y="1899329"/>
                  <a:pt x="675583" y="1840764"/>
                  <a:pt x="675503" y="1768178"/>
                </a:cubicBezTo>
                <a:cubicBezTo>
                  <a:pt x="675503" y="1695753"/>
                  <a:pt x="734343" y="1637027"/>
                  <a:pt x="806633" y="1637027"/>
                </a:cubicBezTo>
                <a:close/>
                <a:moveTo>
                  <a:pt x="4222975" y="1594645"/>
                </a:moveTo>
                <a:cubicBezTo>
                  <a:pt x="4285417" y="1594645"/>
                  <a:pt x="4336172" y="1645199"/>
                  <a:pt x="4336172" y="1707850"/>
                </a:cubicBezTo>
                <a:cubicBezTo>
                  <a:pt x="4336172" y="1770421"/>
                  <a:pt x="4285417" y="1821215"/>
                  <a:pt x="4222975" y="1821215"/>
                </a:cubicBezTo>
                <a:cubicBezTo>
                  <a:pt x="4160532" y="1821215"/>
                  <a:pt x="4109777" y="1770421"/>
                  <a:pt x="4109777" y="1707850"/>
                </a:cubicBezTo>
                <a:cubicBezTo>
                  <a:pt x="4109777" y="1645199"/>
                  <a:pt x="4160532" y="1594645"/>
                  <a:pt x="4222975" y="1594645"/>
                </a:cubicBezTo>
                <a:close/>
                <a:moveTo>
                  <a:pt x="464959" y="1594645"/>
                </a:moveTo>
                <a:cubicBezTo>
                  <a:pt x="527561" y="1594645"/>
                  <a:pt x="578156" y="1645359"/>
                  <a:pt x="578156" y="1707850"/>
                </a:cubicBezTo>
                <a:cubicBezTo>
                  <a:pt x="578156" y="1770421"/>
                  <a:pt x="527561" y="1821215"/>
                  <a:pt x="464959" y="1821215"/>
                </a:cubicBezTo>
                <a:cubicBezTo>
                  <a:pt x="402356" y="1821215"/>
                  <a:pt x="351921" y="1770421"/>
                  <a:pt x="351921" y="1707850"/>
                </a:cubicBezTo>
                <a:cubicBezTo>
                  <a:pt x="351921" y="1645359"/>
                  <a:pt x="402356" y="1594645"/>
                  <a:pt x="464959" y="1594645"/>
                </a:cubicBezTo>
                <a:close/>
                <a:moveTo>
                  <a:pt x="123365" y="1558432"/>
                </a:moveTo>
                <a:cubicBezTo>
                  <a:pt x="172679" y="1558432"/>
                  <a:pt x="212466" y="1598250"/>
                  <a:pt x="212466" y="1647602"/>
                </a:cubicBezTo>
                <a:cubicBezTo>
                  <a:pt x="212466" y="1696794"/>
                  <a:pt x="172679" y="1736772"/>
                  <a:pt x="123365" y="1736772"/>
                </a:cubicBezTo>
                <a:cubicBezTo>
                  <a:pt x="74051" y="1736772"/>
                  <a:pt x="34184" y="1696874"/>
                  <a:pt x="34184" y="1647602"/>
                </a:cubicBezTo>
                <a:cubicBezTo>
                  <a:pt x="34184" y="1598250"/>
                  <a:pt x="73971" y="1558432"/>
                  <a:pt x="123365" y="1558432"/>
                </a:cubicBezTo>
                <a:close/>
                <a:moveTo>
                  <a:pt x="2354654" y="1508840"/>
                </a:moveTo>
                <a:cubicBezTo>
                  <a:pt x="2643972" y="1508840"/>
                  <a:pt x="2878373" y="1743582"/>
                  <a:pt x="2878293" y="2032884"/>
                </a:cubicBezTo>
                <a:cubicBezTo>
                  <a:pt x="2878293" y="2322426"/>
                  <a:pt x="2643972" y="2556928"/>
                  <a:pt x="2354654" y="2556928"/>
                </a:cubicBezTo>
                <a:cubicBezTo>
                  <a:pt x="2065656" y="2556928"/>
                  <a:pt x="1831015" y="2322426"/>
                  <a:pt x="1831015" y="2032884"/>
                </a:cubicBezTo>
                <a:cubicBezTo>
                  <a:pt x="1831015" y="1743582"/>
                  <a:pt x="2065656" y="1508840"/>
                  <a:pt x="2354654" y="1508840"/>
                </a:cubicBezTo>
                <a:close/>
                <a:moveTo>
                  <a:pt x="3811092" y="1374003"/>
                </a:moveTo>
                <a:cubicBezTo>
                  <a:pt x="3883381" y="1374003"/>
                  <a:pt x="3942142" y="1432649"/>
                  <a:pt x="3942142" y="1505074"/>
                </a:cubicBezTo>
                <a:cubicBezTo>
                  <a:pt x="3942142" y="1577580"/>
                  <a:pt x="3883381" y="1636306"/>
                  <a:pt x="3811092" y="1636306"/>
                </a:cubicBezTo>
                <a:cubicBezTo>
                  <a:pt x="3738642" y="1636306"/>
                  <a:pt x="3679962" y="1577580"/>
                  <a:pt x="3679962" y="1505074"/>
                </a:cubicBezTo>
                <a:cubicBezTo>
                  <a:pt x="3679962" y="1432729"/>
                  <a:pt x="3738642" y="1374003"/>
                  <a:pt x="3811092" y="1374003"/>
                </a:cubicBezTo>
                <a:close/>
                <a:moveTo>
                  <a:pt x="877161" y="1374003"/>
                </a:moveTo>
                <a:cubicBezTo>
                  <a:pt x="949450" y="1374003"/>
                  <a:pt x="1008211" y="1432649"/>
                  <a:pt x="1008211" y="1505074"/>
                </a:cubicBezTo>
                <a:cubicBezTo>
                  <a:pt x="1008211" y="1577580"/>
                  <a:pt x="949450" y="1636306"/>
                  <a:pt x="877161" y="1636306"/>
                </a:cubicBezTo>
                <a:cubicBezTo>
                  <a:pt x="804871" y="1636306"/>
                  <a:pt x="745951" y="1577580"/>
                  <a:pt x="745951" y="1505074"/>
                </a:cubicBezTo>
                <a:cubicBezTo>
                  <a:pt x="745951" y="1432729"/>
                  <a:pt x="804871" y="1374003"/>
                  <a:pt x="877161" y="1374003"/>
                </a:cubicBezTo>
                <a:close/>
                <a:moveTo>
                  <a:pt x="2232810" y="1301498"/>
                </a:moveTo>
                <a:cubicBezTo>
                  <a:pt x="2214317" y="1359262"/>
                  <a:pt x="2162041" y="1401804"/>
                  <a:pt x="2098078" y="1401804"/>
                </a:cubicBezTo>
                <a:cubicBezTo>
                  <a:pt x="2060532" y="1401804"/>
                  <a:pt x="2027229" y="1386502"/>
                  <a:pt x="2001611" y="1363027"/>
                </a:cubicBezTo>
                <a:cubicBezTo>
                  <a:pt x="2002092" y="1368555"/>
                  <a:pt x="2004734" y="1373042"/>
                  <a:pt x="2004734" y="1378650"/>
                </a:cubicBezTo>
                <a:cubicBezTo>
                  <a:pt x="2004734" y="1458046"/>
                  <a:pt x="1940450" y="1522220"/>
                  <a:pt x="1861195" y="1522220"/>
                </a:cubicBezTo>
                <a:cubicBezTo>
                  <a:pt x="1844784" y="1522220"/>
                  <a:pt x="1829093" y="1519335"/>
                  <a:pt x="1814443" y="1514288"/>
                </a:cubicBezTo>
                <a:cubicBezTo>
                  <a:pt x="1816605" y="1524142"/>
                  <a:pt x="1817806" y="1534397"/>
                  <a:pt x="1817806" y="1544973"/>
                </a:cubicBezTo>
                <a:cubicBezTo>
                  <a:pt x="1817806" y="1620122"/>
                  <a:pt x="1760006" y="1681652"/>
                  <a:pt x="1686356" y="1687901"/>
                </a:cubicBezTo>
                <a:cubicBezTo>
                  <a:pt x="1706129" y="1712497"/>
                  <a:pt x="1718057" y="1743663"/>
                  <a:pt x="1718057" y="1777712"/>
                </a:cubicBezTo>
                <a:cubicBezTo>
                  <a:pt x="1718057" y="1849577"/>
                  <a:pt x="1664420" y="1906300"/>
                  <a:pt x="1595974" y="1916955"/>
                </a:cubicBezTo>
                <a:cubicBezTo>
                  <a:pt x="1638643" y="1941792"/>
                  <a:pt x="1668663" y="1986256"/>
                  <a:pt x="1668663" y="2039374"/>
                </a:cubicBezTo>
                <a:cubicBezTo>
                  <a:pt x="1668663" y="2092411"/>
                  <a:pt x="1638643" y="2136796"/>
                  <a:pt x="1595974" y="2161712"/>
                </a:cubicBezTo>
                <a:cubicBezTo>
                  <a:pt x="1664420" y="2172368"/>
                  <a:pt x="1718057" y="2229251"/>
                  <a:pt x="1718057" y="2300955"/>
                </a:cubicBezTo>
                <a:cubicBezTo>
                  <a:pt x="1718057" y="2335966"/>
                  <a:pt x="1704048" y="2367052"/>
                  <a:pt x="1683153" y="2391888"/>
                </a:cubicBezTo>
                <a:cubicBezTo>
                  <a:pt x="1757925" y="2396775"/>
                  <a:pt x="1817806" y="2457504"/>
                  <a:pt x="1817806" y="2533614"/>
                </a:cubicBezTo>
                <a:cubicBezTo>
                  <a:pt x="1817806" y="2545392"/>
                  <a:pt x="1813723" y="2555727"/>
                  <a:pt x="1811241" y="2566542"/>
                </a:cubicBezTo>
                <a:cubicBezTo>
                  <a:pt x="1826772" y="2560694"/>
                  <a:pt x="1843503" y="2556448"/>
                  <a:pt x="1861195" y="2556448"/>
                </a:cubicBezTo>
                <a:cubicBezTo>
                  <a:pt x="1940530" y="2556448"/>
                  <a:pt x="2004734" y="2620782"/>
                  <a:pt x="2004734" y="2700097"/>
                </a:cubicBezTo>
                <a:cubicBezTo>
                  <a:pt x="2004734" y="2705705"/>
                  <a:pt x="2002172" y="2710352"/>
                  <a:pt x="2001611" y="2715800"/>
                </a:cubicBezTo>
                <a:cubicBezTo>
                  <a:pt x="2027309" y="2692326"/>
                  <a:pt x="2060612" y="2677184"/>
                  <a:pt x="2098078" y="2677184"/>
                </a:cubicBezTo>
                <a:cubicBezTo>
                  <a:pt x="2162041" y="2677184"/>
                  <a:pt x="2214237" y="2719485"/>
                  <a:pt x="2232810" y="2777250"/>
                </a:cubicBezTo>
                <a:cubicBezTo>
                  <a:pt x="2259148" y="2743761"/>
                  <a:pt x="2298055" y="2720847"/>
                  <a:pt x="2344006" y="2720847"/>
                </a:cubicBezTo>
                <a:cubicBezTo>
                  <a:pt x="2389878" y="2720847"/>
                  <a:pt x="2429024" y="2743761"/>
                  <a:pt x="2455202" y="2777330"/>
                </a:cubicBezTo>
                <a:cubicBezTo>
                  <a:pt x="2473775" y="2719566"/>
                  <a:pt x="2525971" y="2677104"/>
                  <a:pt x="2589855" y="2677104"/>
                </a:cubicBezTo>
                <a:cubicBezTo>
                  <a:pt x="2627481" y="2677104"/>
                  <a:pt x="2660863" y="2692246"/>
                  <a:pt x="2686401" y="2715720"/>
                </a:cubicBezTo>
                <a:cubicBezTo>
                  <a:pt x="2685840" y="2710272"/>
                  <a:pt x="2683119" y="2705625"/>
                  <a:pt x="2683119" y="2700017"/>
                </a:cubicBezTo>
                <a:cubicBezTo>
                  <a:pt x="2683119" y="2620782"/>
                  <a:pt x="2747403" y="2556448"/>
                  <a:pt x="2826737" y="2556528"/>
                </a:cubicBezTo>
                <a:cubicBezTo>
                  <a:pt x="2844509" y="2556528"/>
                  <a:pt x="2861081" y="2560774"/>
                  <a:pt x="2876771" y="2566623"/>
                </a:cubicBezTo>
                <a:cubicBezTo>
                  <a:pt x="2874049" y="2555807"/>
                  <a:pt x="2870207" y="2545392"/>
                  <a:pt x="2870207" y="2533694"/>
                </a:cubicBezTo>
                <a:cubicBezTo>
                  <a:pt x="2870207" y="2457583"/>
                  <a:pt x="2929848" y="2396855"/>
                  <a:pt x="3004859" y="2391968"/>
                </a:cubicBezTo>
                <a:cubicBezTo>
                  <a:pt x="2983885" y="2367132"/>
                  <a:pt x="2969795" y="2336127"/>
                  <a:pt x="2969795" y="2301035"/>
                </a:cubicBezTo>
                <a:cubicBezTo>
                  <a:pt x="2969795" y="2229331"/>
                  <a:pt x="3023272" y="2172448"/>
                  <a:pt x="3092039" y="2161792"/>
                </a:cubicBezTo>
                <a:cubicBezTo>
                  <a:pt x="3049290" y="2136876"/>
                  <a:pt x="3019109" y="2092411"/>
                  <a:pt x="3019109" y="2039454"/>
                </a:cubicBezTo>
                <a:cubicBezTo>
                  <a:pt x="3019109" y="1986336"/>
                  <a:pt x="3049210" y="1941871"/>
                  <a:pt x="3092039" y="1917035"/>
                </a:cubicBezTo>
                <a:cubicBezTo>
                  <a:pt x="3023272" y="1906380"/>
                  <a:pt x="2969795" y="1849657"/>
                  <a:pt x="2969795" y="1777792"/>
                </a:cubicBezTo>
                <a:cubicBezTo>
                  <a:pt x="2969795" y="1742781"/>
                  <a:pt x="2983885" y="1711696"/>
                  <a:pt x="3004859" y="1686860"/>
                </a:cubicBezTo>
                <a:cubicBezTo>
                  <a:pt x="2929848" y="1682053"/>
                  <a:pt x="2870207" y="1621244"/>
                  <a:pt x="2870207" y="1545053"/>
                </a:cubicBezTo>
                <a:cubicBezTo>
                  <a:pt x="2870207" y="1533436"/>
                  <a:pt x="2874049" y="1523021"/>
                  <a:pt x="2876771" y="1512205"/>
                </a:cubicBezTo>
                <a:cubicBezTo>
                  <a:pt x="2861161" y="1518054"/>
                  <a:pt x="2844509" y="1522220"/>
                  <a:pt x="2826737" y="1522220"/>
                </a:cubicBezTo>
                <a:cubicBezTo>
                  <a:pt x="2747323" y="1522220"/>
                  <a:pt x="2683119" y="1458046"/>
                  <a:pt x="2683119" y="1378650"/>
                </a:cubicBezTo>
                <a:cubicBezTo>
                  <a:pt x="2683119" y="1373042"/>
                  <a:pt x="2685840" y="1368555"/>
                  <a:pt x="2686401" y="1363027"/>
                </a:cubicBezTo>
                <a:cubicBezTo>
                  <a:pt x="2660863" y="1386582"/>
                  <a:pt x="2627481" y="1401804"/>
                  <a:pt x="2589855" y="1401804"/>
                </a:cubicBezTo>
                <a:cubicBezTo>
                  <a:pt x="2525971" y="1401804"/>
                  <a:pt x="2473775" y="1359262"/>
                  <a:pt x="2455202" y="1301578"/>
                </a:cubicBezTo>
                <a:cubicBezTo>
                  <a:pt x="2428944" y="1334987"/>
                  <a:pt x="2389878" y="1357900"/>
                  <a:pt x="2344006" y="1357900"/>
                </a:cubicBezTo>
                <a:cubicBezTo>
                  <a:pt x="2297975" y="1357900"/>
                  <a:pt x="2259148" y="1334987"/>
                  <a:pt x="2232810" y="1301498"/>
                </a:cubicBezTo>
                <a:close/>
                <a:moveTo>
                  <a:pt x="551018" y="1273136"/>
                </a:moveTo>
                <a:cubicBezTo>
                  <a:pt x="613620" y="1273136"/>
                  <a:pt x="664375" y="1323850"/>
                  <a:pt x="664375" y="1386502"/>
                </a:cubicBezTo>
                <a:cubicBezTo>
                  <a:pt x="664375" y="1448912"/>
                  <a:pt x="613620" y="1499787"/>
                  <a:pt x="551018" y="1499787"/>
                </a:cubicBezTo>
                <a:cubicBezTo>
                  <a:pt x="488575" y="1499787"/>
                  <a:pt x="437980" y="1448832"/>
                  <a:pt x="437980" y="1386502"/>
                </a:cubicBezTo>
                <a:cubicBezTo>
                  <a:pt x="437980" y="1323850"/>
                  <a:pt x="488575" y="1273136"/>
                  <a:pt x="551018" y="1273136"/>
                </a:cubicBezTo>
                <a:close/>
                <a:moveTo>
                  <a:pt x="4137076" y="1273056"/>
                </a:moveTo>
                <a:cubicBezTo>
                  <a:pt x="4199518" y="1273056"/>
                  <a:pt x="4250273" y="1323850"/>
                  <a:pt x="4250273" y="1386261"/>
                </a:cubicBezTo>
                <a:cubicBezTo>
                  <a:pt x="4250273" y="1448912"/>
                  <a:pt x="4199518" y="1499626"/>
                  <a:pt x="4137076" y="1499626"/>
                </a:cubicBezTo>
                <a:cubicBezTo>
                  <a:pt x="4074473" y="1499626"/>
                  <a:pt x="4023878" y="1448912"/>
                  <a:pt x="4023878" y="1386261"/>
                </a:cubicBezTo>
                <a:cubicBezTo>
                  <a:pt x="4023878" y="1323850"/>
                  <a:pt x="4074473" y="1273056"/>
                  <a:pt x="4137076" y="1273056"/>
                </a:cubicBezTo>
                <a:close/>
                <a:moveTo>
                  <a:pt x="3694852" y="1127163"/>
                </a:moveTo>
                <a:cubicBezTo>
                  <a:pt x="3767142" y="1127163"/>
                  <a:pt x="3825821" y="1185889"/>
                  <a:pt x="3825821" y="1258314"/>
                </a:cubicBezTo>
                <a:cubicBezTo>
                  <a:pt x="3825821" y="1330820"/>
                  <a:pt x="3767142" y="1389546"/>
                  <a:pt x="3694852" y="1389546"/>
                </a:cubicBezTo>
                <a:cubicBezTo>
                  <a:pt x="3622242" y="1389546"/>
                  <a:pt x="3563802" y="1330900"/>
                  <a:pt x="3563802" y="1258314"/>
                </a:cubicBezTo>
                <a:cubicBezTo>
                  <a:pt x="3563802" y="1185889"/>
                  <a:pt x="3622242" y="1127163"/>
                  <a:pt x="3694852" y="1127163"/>
                </a:cubicBezTo>
                <a:close/>
                <a:moveTo>
                  <a:pt x="992120" y="1127163"/>
                </a:moveTo>
                <a:cubicBezTo>
                  <a:pt x="1064410" y="1127163"/>
                  <a:pt x="1123090" y="1185889"/>
                  <a:pt x="1123090" y="1258314"/>
                </a:cubicBezTo>
                <a:cubicBezTo>
                  <a:pt x="1123090" y="1330820"/>
                  <a:pt x="1064410" y="1389546"/>
                  <a:pt x="992120" y="1389546"/>
                </a:cubicBezTo>
                <a:cubicBezTo>
                  <a:pt x="919750" y="1389546"/>
                  <a:pt x="860990" y="1330900"/>
                  <a:pt x="860910" y="1258314"/>
                </a:cubicBezTo>
                <a:cubicBezTo>
                  <a:pt x="860910" y="1185889"/>
                  <a:pt x="919670" y="1127163"/>
                  <a:pt x="992120" y="1127163"/>
                </a:cubicBezTo>
                <a:close/>
                <a:moveTo>
                  <a:pt x="2344006" y="1070601"/>
                </a:moveTo>
                <a:cubicBezTo>
                  <a:pt x="2407970" y="1070601"/>
                  <a:pt x="2460086" y="1113063"/>
                  <a:pt x="2478739" y="1170827"/>
                </a:cubicBezTo>
                <a:cubicBezTo>
                  <a:pt x="2505077" y="1137258"/>
                  <a:pt x="2544063" y="1114345"/>
                  <a:pt x="2589775" y="1114345"/>
                </a:cubicBezTo>
                <a:cubicBezTo>
                  <a:pt x="2669189" y="1114345"/>
                  <a:pt x="2733393" y="1178679"/>
                  <a:pt x="2733393" y="1258074"/>
                </a:cubicBezTo>
                <a:cubicBezTo>
                  <a:pt x="2733393" y="1263602"/>
                  <a:pt x="2730911" y="1268249"/>
                  <a:pt x="2730271" y="1273617"/>
                </a:cubicBezTo>
                <a:cubicBezTo>
                  <a:pt x="2755809" y="1250143"/>
                  <a:pt x="2789352" y="1235081"/>
                  <a:pt x="2826737" y="1235081"/>
                </a:cubicBezTo>
                <a:cubicBezTo>
                  <a:pt x="2906071" y="1235081"/>
                  <a:pt x="2970275" y="1299335"/>
                  <a:pt x="2970275" y="1378570"/>
                </a:cubicBezTo>
                <a:cubicBezTo>
                  <a:pt x="2970275" y="1390187"/>
                  <a:pt x="2966193" y="1400602"/>
                  <a:pt x="2963711" y="1411418"/>
                </a:cubicBezTo>
                <a:cubicBezTo>
                  <a:pt x="2979242" y="1405409"/>
                  <a:pt x="2995973" y="1401243"/>
                  <a:pt x="3013665" y="1401243"/>
                </a:cubicBezTo>
                <a:cubicBezTo>
                  <a:pt x="3093080" y="1401243"/>
                  <a:pt x="3157204" y="1465657"/>
                  <a:pt x="3157204" y="1544893"/>
                </a:cubicBezTo>
                <a:cubicBezTo>
                  <a:pt x="3157204" y="1579984"/>
                  <a:pt x="3143194" y="1610909"/>
                  <a:pt x="3122299" y="1635745"/>
                </a:cubicBezTo>
                <a:cubicBezTo>
                  <a:pt x="3197311" y="1640632"/>
                  <a:pt x="3256952" y="1701441"/>
                  <a:pt x="3256952" y="1777632"/>
                </a:cubicBezTo>
                <a:cubicBezTo>
                  <a:pt x="3256952" y="1830749"/>
                  <a:pt x="3226931" y="1875134"/>
                  <a:pt x="3184102" y="1899971"/>
                </a:cubicBezTo>
                <a:cubicBezTo>
                  <a:pt x="3252789" y="1910786"/>
                  <a:pt x="3306186" y="1967669"/>
                  <a:pt x="3306186" y="2039374"/>
                </a:cubicBezTo>
                <a:cubicBezTo>
                  <a:pt x="3306186" y="2111078"/>
                  <a:pt x="3252869" y="2167801"/>
                  <a:pt x="3184102" y="2178617"/>
                </a:cubicBezTo>
                <a:cubicBezTo>
                  <a:pt x="3226931" y="2203453"/>
                  <a:pt x="3256952" y="2247838"/>
                  <a:pt x="3256952" y="2300955"/>
                </a:cubicBezTo>
                <a:cubicBezTo>
                  <a:pt x="3256952" y="2377146"/>
                  <a:pt x="3197311" y="2437955"/>
                  <a:pt x="3122299" y="2442842"/>
                </a:cubicBezTo>
                <a:cubicBezTo>
                  <a:pt x="3143114" y="2467678"/>
                  <a:pt x="3157204" y="2498603"/>
                  <a:pt x="3157204" y="2533614"/>
                </a:cubicBezTo>
                <a:cubicBezTo>
                  <a:pt x="3157204" y="2613090"/>
                  <a:pt x="3093080" y="2677344"/>
                  <a:pt x="3013665" y="2677344"/>
                </a:cubicBezTo>
                <a:cubicBezTo>
                  <a:pt x="2995893" y="2677344"/>
                  <a:pt x="2979242" y="2673098"/>
                  <a:pt x="2963711" y="2667249"/>
                </a:cubicBezTo>
                <a:cubicBezTo>
                  <a:pt x="2966193" y="2678065"/>
                  <a:pt x="2970275" y="2688400"/>
                  <a:pt x="2970275" y="2700017"/>
                </a:cubicBezTo>
                <a:cubicBezTo>
                  <a:pt x="2970275" y="2779413"/>
                  <a:pt x="2906071" y="2843747"/>
                  <a:pt x="2826817" y="2843827"/>
                </a:cubicBezTo>
                <a:cubicBezTo>
                  <a:pt x="2789431" y="2843827"/>
                  <a:pt x="2755888" y="2828524"/>
                  <a:pt x="2730351" y="2805050"/>
                </a:cubicBezTo>
                <a:cubicBezTo>
                  <a:pt x="2730991" y="2810338"/>
                  <a:pt x="2733473" y="2815145"/>
                  <a:pt x="2733473" y="2820593"/>
                </a:cubicBezTo>
                <a:cubicBezTo>
                  <a:pt x="2733473" y="2899989"/>
                  <a:pt x="2669269" y="2964242"/>
                  <a:pt x="2589855" y="2964242"/>
                </a:cubicBezTo>
                <a:cubicBezTo>
                  <a:pt x="2544143" y="2964242"/>
                  <a:pt x="2505157" y="2941249"/>
                  <a:pt x="2478819" y="2907840"/>
                </a:cubicBezTo>
                <a:cubicBezTo>
                  <a:pt x="2460166" y="2965444"/>
                  <a:pt x="2407970" y="3008146"/>
                  <a:pt x="2344086" y="3008146"/>
                </a:cubicBezTo>
                <a:cubicBezTo>
                  <a:pt x="2280122" y="3008146"/>
                  <a:pt x="2227927" y="2965444"/>
                  <a:pt x="2209354" y="2907840"/>
                </a:cubicBezTo>
                <a:cubicBezTo>
                  <a:pt x="2183016" y="2941329"/>
                  <a:pt x="2144109" y="2964242"/>
                  <a:pt x="2098158" y="2964242"/>
                </a:cubicBezTo>
                <a:cubicBezTo>
                  <a:pt x="2018903" y="2964242"/>
                  <a:pt x="1954699" y="2899909"/>
                  <a:pt x="1954699" y="2820593"/>
                </a:cubicBezTo>
                <a:cubicBezTo>
                  <a:pt x="1954699" y="2815145"/>
                  <a:pt x="1957261" y="2810338"/>
                  <a:pt x="1957822" y="2805050"/>
                </a:cubicBezTo>
                <a:cubicBezTo>
                  <a:pt x="1932124" y="2828524"/>
                  <a:pt x="1898901" y="2843827"/>
                  <a:pt x="1861355" y="2843827"/>
                </a:cubicBezTo>
                <a:cubicBezTo>
                  <a:pt x="1782101" y="2843827"/>
                  <a:pt x="1717977" y="2779413"/>
                  <a:pt x="1717977" y="2700097"/>
                </a:cubicBezTo>
                <a:cubicBezTo>
                  <a:pt x="1717977" y="2688480"/>
                  <a:pt x="1721820" y="2678145"/>
                  <a:pt x="1724542" y="2667329"/>
                </a:cubicBezTo>
                <a:cubicBezTo>
                  <a:pt x="1708931" y="2673178"/>
                  <a:pt x="1692280" y="2677424"/>
                  <a:pt x="1674507" y="2677424"/>
                </a:cubicBezTo>
                <a:cubicBezTo>
                  <a:pt x="1595093" y="2677424"/>
                  <a:pt x="1530889" y="2613170"/>
                  <a:pt x="1530889" y="2533694"/>
                </a:cubicBezTo>
                <a:cubicBezTo>
                  <a:pt x="1530889" y="2498683"/>
                  <a:pt x="1545059" y="2467758"/>
                  <a:pt x="1565793" y="2442922"/>
                </a:cubicBezTo>
                <a:cubicBezTo>
                  <a:pt x="1491022" y="2438035"/>
                  <a:pt x="1431301" y="2377226"/>
                  <a:pt x="1431301" y="2301035"/>
                </a:cubicBezTo>
                <a:cubicBezTo>
                  <a:pt x="1431301" y="2247918"/>
                  <a:pt x="1461321" y="2203533"/>
                  <a:pt x="1504151" y="2178697"/>
                </a:cubicBezTo>
                <a:cubicBezTo>
                  <a:pt x="1435384" y="2167881"/>
                  <a:pt x="1382067" y="2111239"/>
                  <a:pt x="1382067" y="2039454"/>
                </a:cubicBezTo>
                <a:cubicBezTo>
                  <a:pt x="1382067" y="1967669"/>
                  <a:pt x="1435384" y="1910866"/>
                  <a:pt x="1504151" y="1900050"/>
                </a:cubicBezTo>
                <a:cubicBezTo>
                  <a:pt x="1461321" y="1875214"/>
                  <a:pt x="1431301" y="1830830"/>
                  <a:pt x="1431301" y="1777712"/>
                </a:cubicBezTo>
                <a:cubicBezTo>
                  <a:pt x="1431301" y="1702563"/>
                  <a:pt x="1489020" y="1640953"/>
                  <a:pt x="1562671" y="1634784"/>
                </a:cubicBezTo>
                <a:cubicBezTo>
                  <a:pt x="1542897" y="1610188"/>
                  <a:pt x="1530969" y="1579023"/>
                  <a:pt x="1530969" y="1544973"/>
                </a:cubicBezTo>
                <a:cubicBezTo>
                  <a:pt x="1530969" y="1465737"/>
                  <a:pt x="1595173" y="1401323"/>
                  <a:pt x="1674267" y="1401323"/>
                </a:cubicBezTo>
                <a:cubicBezTo>
                  <a:pt x="1690759" y="1401323"/>
                  <a:pt x="1706529" y="1404208"/>
                  <a:pt x="1721259" y="1409335"/>
                </a:cubicBezTo>
                <a:cubicBezTo>
                  <a:pt x="1719098" y="1399401"/>
                  <a:pt x="1717897" y="1389146"/>
                  <a:pt x="1717897" y="1378570"/>
                </a:cubicBezTo>
                <a:cubicBezTo>
                  <a:pt x="1717897" y="1299415"/>
                  <a:pt x="1782021" y="1235081"/>
                  <a:pt x="1861275" y="1235081"/>
                </a:cubicBezTo>
                <a:cubicBezTo>
                  <a:pt x="1898821" y="1235081"/>
                  <a:pt x="1932124" y="1250143"/>
                  <a:pt x="1957742" y="1273617"/>
                </a:cubicBezTo>
                <a:cubicBezTo>
                  <a:pt x="1957181" y="1268249"/>
                  <a:pt x="1954619" y="1263522"/>
                  <a:pt x="1954619" y="1258074"/>
                </a:cubicBezTo>
                <a:cubicBezTo>
                  <a:pt x="1954619" y="1178679"/>
                  <a:pt x="2018823" y="1114345"/>
                  <a:pt x="2098078" y="1114345"/>
                </a:cubicBezTo>
                <a:cubicBezTo>
                  <a:pt x="2144109" y="1114345"/>
                  <a:pt x="2182936" y="1137258"/>
                  <a:pt x="2209274" y="1170827"/>
                </a:cubicBezTo>
                <a:cubicBezTo>
                  <a:pt x="2227766" y="1113143"/>
                  <a:pt x="2280043" y="1070601"/>
                  <a:pt x="2344006" y="1070601"/>
                </a:cubicBezTo>
                <a:close/>
                <a:moveTo>
                  <a:pt x="3996579" y="971336"/>
                </a:moveTo>
                <a:cubicBezTo>
                  <a:pt x="4059021" y="971336"/>
                  <a:pt x="4109616" y="1022130"/>
                  <a:pt x="4109616" y="1084701"/>
                </a:cubicBezTo>
                <a:cubicBezTo>
                  <a:pt x="4109616" y="1147192"/>
                  <a:pt x="4059021" y="1198067"/>
                  <a:pt x="3996579" y="1198067"/>
                </a:cubicBezTo>
                <a:cubicBezTo>
                  <a:pt x="3933976" y="1198067"/>
                  <a:pt x="3883061" y="1147192"/>
                  <a:pt x="3883061" y="1084701"/>
                </a:cubicBezTo>
                <a:cubicBezTo>
                  <a:pt x="3883061" y="1022130"/>
                  <a:pt x="3933976" y="971336"/>
                  <a:pt x="3996579" y="971336"/>
                </a:cubicBezTo>
                <a:close/>
                <a:moveTo>
                  <a:pt x="2245699" y="915014"/>
                </a:moveTo>
                <a:cubicBezTo>
                  <a:pt x="2227127" y="946740"/>
                  <a:pt x="2195905" y="971016"/>
                  <a:pt x="2156758" y="977826"/>
                </a:cubicBezTo>
                <a:cubicBezTo>
                  <a:pt x="2117852" y="984636"/>
                  <a:pt x="2080066" y="972778"/>
                  <a:pt x="2051966" y="949304"/>
                </a:cubicBezTo>
                <a:cubicBezTo>
                  <a:pt x="2039398" y="983835"/>
                  <a:pt x="2012659" y="1012917"/>
                  <a:pt x="1975434" y="1026537"/>
                </a:cubicBezTo>
                <a:cubicBezTo>
                  <a:pt x="1938209" y="1039997"/>
                  <a:pt x="1898902" y="1034869"/>
                  <a:pt x="1867280" y="1016522"/>
                </a:cubicBezTo>
                <a:cubicBezTo>
                  <a:pt x="1860635" y="1052815"/>
                  <a:pt x="1839661" y="1085984"/>
                  <a:pt x="1805237" y="1105852"/>
                </a:cubicBezTo>
                <a:cubicBezTo>
                  <a:pt x="1770814" y="1125721"/>
                  <a:pt x="1731267" y="1127404"/>
                  <a:pt x="1696763" y="1114986"/>
                </a:cubicBezTo>
                <a:cubicBezTo>
                  <a:pt x="1696603" y="1151679"/>
                  <a:pt x="1681793" y="1188213"/>
                  <a:pt x="1651212" y="1213770"/>
                </a:cubicBezTo>
                <a:cubicBezTo>
                  <a:pt x="1620791" y="1239247"/>
                  <a:pt x="1582445" y="1247819"/>
                  <a:pt x="1546020" y="1241490"/>
                </a:cubicBezTo>
                <a:cubicBezTo>
                  <a:pt x="1552424" y="1277623"/>
                  <a:pt x="1543938" y="1316239"/>
                  <a:pt x="1518481" y="1346604"/>
                </a:cubicBezTo>
                <a:cubicBezTo>
                  <a:pt x="1492943" y="1377048"/>
                  <a:pt x="1456518" y="1392110"/>
                  <a:pt x="1419853" y="1392110"/>
                </a:cubicBezTo>
                <a:cubicBezTo>
                  <a:pt x="1432262" y="1426801"/>
                  <a:pt x="1430500" y="1466218"/>
                  <a:pt x="1410727" y="1500588"/>
                </a:cubicBezTo>
                <a:cubicBezTo>
                  <a:pt x="1390953" y="1534798"/>
                  <a:pt x="1357731" y="1556189"/>
                  <a:pt x="1321546" y="1562518"/>
                </a:cubicBezTo>
                <a:cubicBezTo>
                  <a:pt x="1339879" y="1594565"/>
                  <a:pt x="1345002" y="1633662"/>
                  <a:pt x="1331393" y="1670996"/>
                </a:cubicBezTo>
                <a:cubicBezTo>
                  <a:pt x="1317943" y="1708171"/>
                  <a:pt x="1288723" y="1734930"/>
                  <a:pt x="1254220" y="1747588"/>
                </a:cubicBezTo>
                <a:cubicBezTo>
                  <a:pt x="1277836" y="1775789"/>
                  <a:pt x="1289684" y="1813444"/>
                  <a:pt x="1282879" y="1852541"/>
                </a:cubicBezTo>
                <a:cubicBezTo>
                  <a:pt x="1276075" y="1891638"/>
                  <a:pt x="1252058" y="1922964"/>
                  <a:pt x="1220116" y="1941391"/>
                </a:cubicBezTo>
                <a:cubicBezTo>
                  <a:pt x="1248216" y="1965105"/>
                  <a:pt x="1266308" y="2000197"/>
                  <a:pt x="1266308" y="2039774"/>
                </a:cubicBezTo>
                <a:cubicBezTo>
                  <a:pt x="1266548" y="2079432"/>
                  <a:pt x="1248216" y="2114363"/>
                  <a:pt x="1220116" y="2138238"/>
                </a:cubicBezTo>
                <a:cubicBezTo>
                  <a:pt x="1251898" y="2156665"/>
                  <a:pt x="1275915" y="2188071"/>
                  <a:pt x="1282719" y="2227087"/>
                </a:cubicBezTo>
                <a:cubicBezTo>
                  <a:pt x="1289684" y="2266024"/>
                  <a:pt x="1277836" y="2303759"/>
                  <a:pt x="1254220" y="2332041"/>
                </a:cubicBezTo>
                <a:cubicBezTo>
                  <a:pt x="1288723" y="2344539"/>
                  <a:pt x="1317943" y="2371138"/>
                  <a:pt x="1331313" y="2408472"/>
                </a:cubicBezTo>
                <a:cubicBezTo>
                  <a:pt x="1345082" y="2445646"/>
                  <a:pt x="1339958" y="2484583"/>
                  <a:pt x="1321626" y="2516469"/>
                </a:cubicBezTo>
                <a:cubicBezTo>
                  <a:pt x="1357731" y="2522959"/>
                  <a:pt x="1391033" y="2544190"/>
                  <a:pt x="1410807" y="2578560"/>
                </a:cubicBezTo>
                <a:cubicBezTo>
                  <a:pt x="1430581" y="2612850"/>
                  <a:pt x="1432342" y="2652428"/>
                  <a:pt x="1419933" y="2686958"/>
                </a:cubicBezTo>
                <a:cubicBezTo>
                  <a:pt x="1456598" y="2687118"/>
                  <a:pt x="1492863" y="2702260"/>
                  <a:pt x="1518401" y="2732544"/>
                </a:cubicBezTo>
                <a:cubicBezTo>
                  <a:pt x="1544018" y="2762829"/>
                  <a:pt x="1552504" y="2801445"/>
                  <a:pt x="1546100" y="2837658"/>
                </a:cubicBezTo>
                <a:cubicBezTo>
                  <a:pt x="1582525" y="2831409"/>
                  <a:pt x="1620871" y="2840141"/>
                  <a:pt x="1651292" y="2865538"/>
                </a:cubicBezTo>
                <a:cubicBezTo>
                  <a:pt x="1681873" y="2890855"/>
                  <a:pt x="1696843" y="2927469"/>
                  <a:pt x="1696843" y="2964162"/>
                </a:cubicBezTo>
                <a:cubicBezTo>
                  <a:pt x="1731347" y="2951744"/>
                  <a:pt x="1770894" y="2953346"/>
                  <a:pt x="1805157" y="2973296"/>
                </a:cubicBezTo>
                <a:cubicBezTo>
                  <a:pt x="1839581" y="2993085"/>
                  <a:pt x="1860715" y="3026333"/>
                  <a:pt x="1867120" y="3062546"/>
                </a:cubicBezTo>
                <a:cubicBezTo>
                  <a:pt x="1899062" y="3044279"/>
                  <a:pt x="1938289" y="3039072"/>
                  <a:pt x="1975434" y="3052691"/>
                </a:cubicBezTo>
                <a:cubicBezTo>
                  <a:pt x="2012820" y="3066151"/>
                  <a:pt x="2039398" y="3095394"/>
                  <a:pt x="2052047" y="3129924"/>
                </a:cubicBezTo>
                <a:cubicBezTo>
                  <a:pt x="2080146" y="3106130"/>
                  <a:pt x="2117932" y="3094272"/>
                  <a:pt x="2156838" y="3101402"/>
                </a:cubicBezTo>
                <a:cubicBezTo>
                  <a:pt x="2195905" y="3108052"/>
                  <a:pt x="2227207" y="3132087"/>
                  <a:pt x="2245859" y="3163893"/>
                </a:cubicBezTo>
                <a:cubicBezTo>
                  <a:pt x="2269476" y="3135933"/>
                  <a:pt x="2304540" y="3117666"/>
                  <a:pt x="2344087" y="3117666"/>
                </a:cubicBezTo>
                <a:cubicBezTo>
                  <a:pt x="2383634" y="3117666"/>
                  <a:pt x="2418698" y="3136093"/>
                  <a:pt x="2442314" y="3164054"/>
                </a:cubicBezTo>
                <a:cubicBezTo>
                  <a:pt x="2461047" y="3132247"/>
                  <a:pt x="2492268" y="3108212"/>
                  <a:pt x="2531255" y="3101402"/>
                </a:cubicBezTo>
                <a:cubicBezTo>
                  <a:pt x="2570242" y="3094272"/>
                  <a:pt x="2607948" y="3106289"/>
                  <a:pt x="2636127" y="3129924"/>
                </a:cubicBezTo>
                <a:cubicBezTo>
                  <a:pt x="2648776" y="3095554"/>
                  <a:pt x="2675434" y="3066311"/>
                  <a:pt x="2712659" y="3052691"/>
                </a:cubicBezTo>
                <a:cubicBezTo>
                  <a:pt x="2749885" y="3039152"/>
                  <a:pt x="2788951" y="3044359"/>
                  <a:pt x="2820733" y="3062706"/>
                </a:cubicBezTo>
                <a:cubicBezTo>
                  <a:pt x="2827298" y="3026493"/>
                  <a:pt x="2848432" y="2993085"/>
                  <a:pt x="2882856" y="2973296"/>
                </a:cubicBezTo>
                <a:cubicBezTo>
                  <a:pt x="2917200" y="2953427"/>
                  <a:pt x="2956747" y="2951744"/>
                  <a:pt x="2991250" y="2964322"/>
                </a:cubicBezTo>
                <a:cubicBezTo>
                  <a:pt x="2991410" y="2927629"/>
                  <a:pt x="3006381" y="2891176"/>
                  <a:pt x="3036641" y="2865538"/>
                </a:cubicBezTo>
                <a:cubicBezTo>
                  <a:pt x="3067142" y="2840061"/>
                  <a:pt x="3105489" y="2831489"/>
                  <a:pt x="3141913" y="2837658"/>
                </a:cubicBezTo>
                <a:cubicBezTo>
                  <a:pt x="3135589" y="2801525"/>
                  <a:pt x="3143995" y="2762829"/>
                  <a:pt x="3169532" y="2732544"/>
                </a:cubicBezTo>
                <a:cubicBezTo>
                  <a:pt x="3194990" y="2702260"/>
                  <a:pt x="3231575" y="2687118"/>
                  <a:pt x="3268240" y="2686958"/>
                </a:cubicBezTo>
                <a:cubicBezTo>
                  <a:pt x="3255672" y="2652428"/>
                  <a:pt x="3257432" y="2613010"/>
                  <a:pt x="3277286" y="2578560"/>
                </a:cubicBezTo>
                <a:cubicBezTo>
                  <a:pt x="3297060" y="2544270"/>
                  <a:pt x="3330442" y="2523039"/>
                  <a:pt x="3366547" y="2516550"/>
                </a:cubicBezTo>
                <a:cubicBezTo>
                  <a:pt x="3348215" y="2484503"/>
                  <a:pt x="3343171" y="2445486"/>
                  <a:pt x="3356621" y="2408232"/>
                </a:cubicBezTo>
                <a:cubicBezTo>
                  <a:pt x="3370230" y="2371057"/>
                  <a:pt x="3399450" y="2344539"/>
                  <a:pt x="3433794" y="2331960"/>
                </a:cubicBezTo>
                <a:cubicBezTo>
                  <a:pt x="3410338" y="2303679"/>
                  <a:pt x="3398329" y="2265944"/>
                  <a:pt x="3405134" y="2227007"/>
                </a:cubicBezTo>
                <a:cubicBezTo>
                  <a:pt x="3412259" y="2187830"/>
                  <a:pt x="3436275" y="2156505"/>
                  <a:pt x="3468057" y="2138158"/>
                </a:cubicBezTo>
                <a:cubicBezTo>
                  <a:pt x="3439958" y="2114283"/>
                  <a:pt x="3421705" y="2079352"/>
                  <a:pt x="3421545" y="2039694"/>
                </a:cubicBezTo>
                <a:cubicBezTo>
                  <a:pt x="3421705" y="2000117"/>
                  <a:pt x="3439958" y="1965025"/>
                  <a:pt x="3467897" y="1941311"/>
                </a:cubicBezTo>
                <a:cubicBezTo>
                  <a:pt x="3436115" y="1922804"/>
                  <a:pt x="3412099" y="1891478"/>
                  <a:pt x="3405134" y="1852461"/>
                </a:cubicBezTo>
                <a:cubicBezTo>
                  <a:pt x="3398329" y="1813204"/>
                  <a:pt x="3410338" y="1775709"/>
                  <a:pt x="3433794" y="1747508"/>
                </a:cubicBezTo>
                <a:cubicBezTo>
                  <a:pt x="3399450" y="1734769"/>
                  <a:pt x="3370230" y="1708091"/>
                  <a:pt x="3356621" y="1670756"/>
                </a:cubicBezTo>
                <a:cubicBezTo>
                  <a:pt x="3343091" y="1633422"/>
                  <a:pt x="3348135" y="1594485"/>
                  <a:pt x="3366547" y="1562438"/>
                </a:cubicBezTo>
                <a:cubicBezTo>
                  <a:pt x="3330442" y="1556029"/>
                  <a:pt x="3297060" y="1534718"/>
                  <a:pt x="3277286" y="1500508"/>
                </a:cubicBezTo>
                <a:cubicBezTo>
                  <a:pt x="3257432" y="1466058"/>
                  <a:pt x="3255672" y="1426560"/>
                  <a:pt x="3268240" y="1392030"/>
                </a:cubicBezTo>
                <a:cubicBezTo>
                  <a:pt x="3231575" y="1391870"/>
                  <a:pt x="3194990" y="1376808"/>
                  <a:pt x="3169532" y="1346523"/>
                </a:cubicBezTo>
                <a:cubicBezTo>
                  <a:pt x="3143995" y="1316079"/>
                  <a:pt x="3135509" y="1277463"/>
                  <a:pt x="3141913" y="1241250"/>
                </a:cubicBezTo>
                <a:cubicBezTo>
                  <a:pt x="3105569" y="1247579"/>
                  <a:pt x="3067222" y="1239007"/>
                  <a:pt x="3036641" y="1213610"/>
                </a:cubicBezTo>
                <a:cubicBezTo>
                  <a:pt x="3006381" y="1187972"/>
                  <a:pt x="2991410" y="1151519"/>
                  <a:pt x="2991250" y="1114745"/>
                </a:cubicBezTo>
                <a:cubicBezTo>
                  <a:pt x="2956586" y="1127244"/>
                  <a:pt x="2917200" y="1125561"/>
                  <a:pt x="2882856" y="1105692"/>
                </a:cubicBezTo>
                <a:cubicBezTo>
                  <a:pt x="2848432" y="1085823"/>
                  <a:pt x="2827298" y="1052655"/>
                  <a:pt x="2820733" y="1016362"/>
                </a:cubicBezTo>
                <a:cubicBezTo>
                  <a:pt x="2788951" y="1034709"/>
                  <a:pt x="2749805" y="1039836"/>
                  <a:pt x="2712579" y="1026457"/>
                </a:cubicBezTo>
                <a:cubicBezTo>
                  <a:pt x="2675194" y="1012757"/>
                  <a:pt x="2648695" y="983514"/>
                  <a:pt x="2636047" y="948984"/>
                </a:cubicBezTo>
                <a:cubicBezTo>
                  <a:pt x="2607867" y="972618"/>
                  <a:pt x="2570162" y="984476"/>
                  <a:pt x="2531175" y="977666"/>
                </a:cubicBezTo>
                <a:cubicBezTo>
                  <a:pt x="2492188" y="970695"/>
                  <a:pt x="2460887" y="946580"/>
                  <a:pt x="2442234" y="915014"/>
                </a:cubicBezTo>
                <a:cubicBezTo>
                  <a:pt x="2418618" y="943135"/>
                  <a:pt x="2383634" y="961402"/>
                  <a:pt x="2344007" y="961402"/>
                </a:cubicBezTo>
                <a:cubicBezTo>
                  <a:pt x="2304460" y="961402"/>
                  <a:pt x="2269395" y="943135"/>
                  <a:pt x="2245699" y="915014"/>
                </a:cubicBezTo>
                <a:close/>
                <a:moveTo>
                  <a:pt x="3539946" y="904118"/>
                </a:moveTo>
                <a:cubicBezTo>
                  <a:pt x="3612315" y="904118"/>
                  <a:pt x="3670996" y="962764"/>
                  <a:pt x="3670996" y="1035349"/>
                </a:cubicBezTo>
                <a:cubicBezTo>
                  <a:pt x="3670996" y="1107775"/>
                  <a:pt x="3612395" y="1166501"/>
                  <a:pt x="3539946" y="1166501"/>
                </a:cubicBezTo>
                <a:cubicBezTo>
                  <a:pt x="3467416" y="1166501"/>
                  <a:pt x="3408816" y="1107775"/>
                  <a:pt x="3408816" y="1035349"/>
                </a:cubicBezTo>
                <a:cubicBezTo>
                  <a:pt x="3408816" y="962844"/>
                  <a:pt x="3467496" y="904118"/>
                  <a:pt x="3539946" y="904118"/>
                </a:cubicBezTo>
                <a:close/>
                <a:moveTo>
                  <a:pt x="1148147" y="904118"/>
                </a:moveTo>
                <a:cubicBezTo>
                  <a:pt x="1220676" y="904118"/>
                  <a:pt x="1279357" y="962764"/>
                  <a:pt x="1279357" y="1035349"/>
                </a:cubicBezTo>
                <a:cubicBezTo>
                  <a:pt x="1279357" y="1107775"/>
                  <a:pt x="1220756" y="1166501"/>
                  <a:pt x="1148147" y="1166501"/>
                </a:cubicBezTo>
                <a:cubicBezTo>
                  <a:pt x="1075937" y="1166501"/>
                  <a:pt x="1017257" y="1107775"/>
                  <a:pt x="1017177" y="1035349"/>
                </a:cubicBezTo>
                <a:cubicBezTo>
                  <a:pt x="1017177" y="962844"/>
                  <a:pt x="1075857" y="904118"/>
                  <a:pt x="1148147" y="904118"/>
                </a:cubicBezTo>
                <a:close/>
                <a:moveTo>
                  <a:pt x="3347895" y="711517"/>
                </a:moveTo>
                <a:cubicBezTo>
                  <a:pt x="3420264" y="711517"/>
                  <a:pt x="3478945" y="770243"/>
                  <a:pt x="3478945" y="842668"/>
                </a:cubicBezTo>
                <a:cubicBezTo>
                  <a:pt x="3478945" y="915254"/>
                  <a:pt x="3420344" y="973820"/>
                  <a:pt x="3347895" y="973820"/>
                </a:cubicBezTo>
                <a:cubicBezTo>
                  <a:pt x="3275445" y="973820"/>
                  <a:pt x="3216765" y="915254"/>
                  <a:pt x="3216765" y="842668"/>
                </a:cubicBezTo>
                <a:cubicBezTo>
                  <a:pt x="3216765" y="770243"/>
                  <a:pt x="3275445" y="711517"/>
                  <a:pt x="3347895" y="711517"/>
                </a:cubicBezTo>
                <a:close/>
                <a:moveTo>
                  <a:pt x="3805808" y="698699"/>
                </a:moveTo>
                <a:cubicBezTo>
                  <a:pt x="3868251" y="698699"/>
                  <a:pt x="3919006" y="749413"/>
                  <a:pt x="3919006" y="812064"/>
                </a:cubicBezTo>
                <a:cubicBezTo>
                  <a:pt x="3919006" y="874636"/>
                  <a:pt x="3868251" y="925430"/>
                  <a:pt x="3805808" y="925430"/>
                </a:cubicBezTo>
                <a:cubicBezTo>
                  <a:pt x="3743126" y="925430"/>
                  <a:pt x="3692531" y="874636"/>
                  <a:pt x="3692611" y="812064"/>
                </a:cubicBezTo>
                <a:cubicBezTo>
                  <a:pt x="3692611" y="749413"/>
                  <a:pt x="3743205" y="698699"/>
                  <a:pt x="3805808" y="698699"/>
                </a:cubicBezTo>
                <a:close/>
                <a:moveTo>
                  <a:pt x="2344247" y="687883"/>
                </a:moveTo>
                <a:cubicBezTo>
                  <a:pt x="2392760" y="687883"/>
                  <a:pt x="2434389" y="714882"/>
                  <a:pt x="2456484" y="754220"/>
                </a:cubicBezTo>
                <a:cubicBezTo>
                  <a:pt x="2485063" y="719209"/>
                  <a:pt x="2530935" y="699820"/>
                  <a:pt x="2578807" y="708313"/>
                </a:cubicBezTo>
                <a:cubicBezTo>
                  <a:pt x="2626600" y="716645"/>
                  <a:pt x="2662945" y="750534"/>
                  <a:pt x="2677835" y="793477"/>
                </a:cubicBezTo>
                <a:cubicBezTo>
                  <a:pt x="2712099" y="763673"/>
                  <a:pt x="2760612" y="752617"/>
                  <a:pt x="2806243" y="769202"/>
                </a:cubicBezTo>
                <a:cubicBezTo>
                  <a:pt x="2851875" y="785866"/>
                  <a:pt x="2881735" y="825604"/>
                  <a:pt x="2888860" y="870149"/>
                </a:cubicBezTo>
                <a:cubicBezTo>
                  <a:pt x="2927847" y="847075"/>
                  <a:pt x="2977481" y="844591"/>
                  <a:pt x="3019349" y="868947"/>
                </a:cubicBezTo>
                <a:cubicBezTo>
                  <a:pt x="3061699" y="893142"/>
                  <a:pt x="3084274" y="937447"/>
                  <a:pt x="3083473" y="982713"/>
                </a:cubicBezTo>
                <a:cubicBezTo>
                  <a:pt x="3125902" y="966609"/>
                  <a:pt x="3175136" y="972698"/>
                  <a:pt x="3212522" y="1003944"/>
                </a:cubicBezTo>
                <a:cubicBezTo>
                  <a:pt x="3249667" y="1035109"/>
                  <a:pt x="3264318" y="1082779"/>
                  <a:pt x="3255591" y="1127244"/>
                </a:cubicBezTo>
                <a:cubicBezTo>
                  <a:pt x="3300262" y="1118671"/>
                  <a:pt x="3347735" y="1133413"/>
                  <a:pt x="3378796" y="1170667"/>
                </a:cubicBezTo>
                <a:cubicBezTo>
                  <a:pt x="3410338" y="1207841"/>
                  <a:pt x="3416181" y="1257113"/>
                  <a:pt x="3400090" y="1299655"/>
                </a:cubicBezTo>
                <a:cubicBezTo>
                  <a:pt x="3445481" y="1298854"/>
                  <a:pt x="3489672" y="1321527"/>
                  <a:pt x="3513848" y="1363668"/>
                </a:cubicBezTo>
                <a:cubicBezTo>
                  <a:pt x="3538425" y="1405650"/>
                  <a:pt x="3535703" y="1455402"/>
                  <a:pt x="3512488" y="1494259"/>
                </a:cubicBezTo>
                <a:cubicBezTo>
                  <a:pt x="3557238" y="1501469"/>
                  <a:pt x="3597105" y="1531433"/>
                  <a:pt x="3613596" y="1577180"/>
                </a:cubicBezTo>
                <a:cubicBezTo>
                  <a:pt x="3630088" y="1622766"/>
                  <a:pt x="3619120" y="1671237"/>
                  <a:pt x="3589260" y="1705527"/>
                </a:cubicBezTo>
                <a:cubicBezTo>
                  <a:pt x="3632169" y="1720509"/>
                  <a:pt x="3665953" y="1757122"/>
                  <a:pt x="3674438" y="1804792"/>
                </a:cubicBezTo>
                <a:cubicBezTo>
                  <a:pt x="3682924" y="1852621"/>
                  <a:pt x="3663551" y="1898448"/>
                  <a:pt x="3628487" y="1927130"/>
                </a:cubicBezTo>
                <a:cubicBezTo>
                  <a:pt x="3668034" y="1949242"/>
                  <a:pt x="3695253" y="1990983"/>
                  <a:pt x="3695093" y="2039694"/>
                </a:cubicBezTo>
                <a:cubicBezTo>
                  <a:pt x="3695172" y="2088085"/>
                  <a:pt x="3668034" y="2129906"/>
                  <a:pt x="3628487" y="2151858"/>
                </a:cubicBezTo>
                <a:cubicBezTo>
                  <a:pt x="3663551" y="2180459"/>
                  <a:pt x="3682764" y="2226527"/>
                  <a:pt x="3674438" y="2274276"/>
                </a:cubicBezTo>
                <a:cubicBezTo>
                  <a:pt x="3665953" y="2322026"/>
                  <a:pt x="3632090" y="2358479"/>
                  <a:pt x="3589260" y="2373301"/>
                </a:cubicBezTo>
                <a:cubicBezTo>
                  <a:pt x="3618880" y="2407591"/>
                  <a:pt x="3630088" y="2455981"/>
                  <a:pt x="3613596" y="2501648"/>
                </a:cubicBezTo>
                <a:cubicBezTo>
                  <a:pt x="3597105" y="2547154"/>
                  <a:pt x="3557238" y="2577198"/>
                  <a:pt x="3512488" y="2584408"/>
                </a:cubicBezTo>
                <a:cubicBezTo>
                  <a:pt x="3535703" y="2623345"/>
                  <a:pt x="3538425" y="2673178"/>
                  <a:pt x="3513848" y="2715239"/>
                </a:cubicBezTo>
                <a:cubicBezTo>
                  <a:pt x="3489752" y="2757300"/>
                  <a:pt x="3445481" y="2779733"/>
                  <a:pt x="3400090" y="2779092"/>
                </a:cubicBezTo>
                <a:cubicBezTo>
                  <a:pt x="3416181" y="2821634"/>
                  <a:pt x="3410017" y="2870986"/>
                  <a:pt x="3378796" y="2908161"/>
                </a:cubicBezTo>
                <a:cubicBezTo>
                  <a:pt x="3347735" y="2945415"/>
                  <a:pt x="3300182" y="2959916"/>
                  <a:pt x="3255591" y="2951584"/>
                </a:cubicBezTo>
                <a:cubicBezTo>
                  <a:pt x="3264318" y="2996049"/>
                  <a:pt x="3249587" y="3043718"/>
                  <a:pt x="3212362" y="3074804"/>
                </a:cubicBezTo>
                <a:cubicBezTo>
                  <a:pt x="3175056" y="3105969"/>
                  <a:pt x="3125822" y="3112058"/>
                  <a:pt x="3083393" y="3096115"/>
                </a:cubicBezTo>
                <a:cubicBezTo>
                  <a:pt x="3084194" y="3141300"/>
                  <a:pt x="3061458" y="3185685"/>
                  <a:pt x="3019269" y="3209961"/>
                </a:cubicBezTo>
                <a:cubicBezTo>
                  <a:pt x="2977401" y="3234236"/>
                  <a:pt x="2927927" y="3231592"/>
                  <a:pt x="2888860" y="3208438"/>
                </a:cubicBezTo>
                <a:cubicBezTo>
                  <a:pt x="2881815" y="3253224"/>
                  <a:pt x="2851795" y="3292882"/>
                  <a:pt x="2805923" y="3309546"/>
                </a:cubicBezTo>
                <a:cubicBezTo>
                  <a:pt x="2760372" y="3326130"/>
                  <a:pt x="2712099" y="3314914"/>
                  <a:pt x="2678075" y="3285351"/>
                </a:cubicBezTo>
                <a:cubicBezTo>
                  <a:pt x="2663185" y="3328373"/>
                  <a:pt x="2626600" y="3362022"/>
                  <a:pt x="2578888" y="3370675"/>
                </a:cubicBezTo>
                <a:cubicBezTo>
                  <a:pt x="2531095" y="3379007"/>
                  <a:pt x="2485303" y="3359539"/>
                  <a:pt x="2456644" y="3324368"/>
                </a:cubicBezTo>
                <a:cubicBezTo>
                  <a:pt x="2434709" y="3364025"/>
                  <a:pt x="2393000" y="3391025"/>
                  <a:pt x="2344407" y="3391025"/>
                </a:cubicBezTo>
                <a:cubicBezTo>
                  <a:pt x="2295894" y="3391025"/>
                  <a:pt x="2253945" y="3364025"/>
                  <a:pt x="2232010" y="3324368"/>
                </a:cubicBezTo>
                <a:cubicBezTo>
                  <a:pt x="2203350" y="3359459"/>
                  <a:pt x="2157479" y="3378847"/>
                  <a:pt x="2109766" y="3370355"/>
                </a:cubicBezTo>
                <a:cubicBezTo>
                  <a:pt x="2061973" y="3361942"/>
                  <a:pt x="2025628" y="3328213"/>
                  <a:pt x="2010578" y="3285190"/>
                </a:cubicBezTo>
                <a:cubicBezTo>
                  <a:pt x="1976315" y="3314834"/>
                  <a:pt x="1927881" y="3326050"/>
                  <a:pt x="1882330" y="3309386"/>
                </a:cubicBezTo>
                <a:cubicBezTo>
                  <a:pt x="1836619" y="3293042"/>
                  <a:pt x="1806758" y="3253304"/>
                  <a:pt x="1799393" y="3208519"/>
                </a:cubicBezTo>
                <a:cubicBezTo>
                  <a:pt x="1760567" y="3231592"/>
                  <a:pt x="1710853" y="3234076"/>
                  <a:pt x="1668904" y="3209721"/>
                </a:cubicBezTo>
                <a:cubicBezTo>
                  <a:pt x="1626875" y="3185525"/>
                  <a:pt x="1604300" y="3141141"/>
                  <a:pt x="1604940" y="3095874"/>
                </a:cubicBezTo>
                <a:cubicBezTo>
                  <a:pt x="1562671" y="3111978"/>
                  <a:pt x="1513277" y="3105889"/>
                  <a:pt x="1476052" y="3074723"/>
                </a:cubicBezTo>
                <a:cubicBezTo>
                  <a:pt x="1438906" y="3043558"/>
                  <a:pt x="1424176" y="2995888"/>
                  <a:pt x="1432902" y="2951424"/>
                </a:cubicBezTo>
                <a:cubicBezTo>
                  <a:pt x="1388312" y="2959916"/>
                  <a:pt x="1340839" y="2945255"/>
                  <a:pt x="1309698" y="2908000"/>
                </a:cubicBezTo>
                <a:cubicBezTo>
                  <a:pt x="1278316" y="2870906"/>
                  <a:pt x="1272232" y="2821634"/>
                  <a:pt x="1288403" y="2779012"/>
                </a:cubicBezTo>
                <a:cubicBezTo>
                  <a:pt x="1243012" y="2779653"/>
                  <a:pt x="1198822" y="2757140"/>
                  <a:pt x="1174405" y="2715079"/>
                </a:cubicBezTo>
                <a:cubicBezTo>
                  <a:pt x="1150068" y="2673098"/>
                  <a:pt x="1152870" y="2623345"/>
                  <a:pt x="1176006" y="2584328"/>
                </a:cubicBezTo>
                <a:cubicBezTo>
                  <a:pt x="1131256" y="2577118"/>
                  <a:pt x="1091548" y="2547074"/>
                  <a:pt x="1075057" y="2501568"/>
                </a:cubicBezTo>
                <a:cubicBezTo>
                  <a:pt x="1058245" y="2455981"/>
                  <a:pt x="1069453" y="2407430"/>
                  <a:pt x="1099073" y="2373220"/>
                </a:cubicBezTo>
                <a:cubicBezTo>
                  <a:pt x="1056324" y="2358319"/>
                  <a:pt x="1022381" y="2321946"/>
                  <a:pt x="1013895" y="2274196"/>
                </a:cubicBezTo>
                <a:cubicBezTo>
                  <a:pt x="1005489" y="2226366"/>
                  <a:pt x="1025103" y="2180379"/>
                  <a:pt x="1060167" y="2151858"/>
                </a:cubicBezTo>
                <a:cubicBezTo>
                  <a:pt x="1020620" y="2129826"/>
                  <a:pt x="993481" y="2088005"/>
                  <a:pt x="993481" y="2039534"/>
                </a:cubicBezTo>
                <a:cubicBezTo>
                  <a:pt x="993481" y="1990983"/>
                  <a:pt x="1020620" y="1949242"/>
                  <a:pt x="1060167" y="1927130"/>
                </a:cubicBezTo>
                <a:cubicBezTo>
                  <a:pt x="1025103" y="1898368"/>
                  <a:pt x="1005649" y="1852541"/>
                  <a:pt x="1013895" y="1804792"/>
                </a:cubicBezTo>
                <a:cubicBezTo>
                  <a:pt x="1022381" y="1757122"/>
                  <a:pt x="1056404" y="1720509"/>
                  <a:pt x="1099073" y="1705527"/>
                </a:cubicBezTo>
                <a:cubicBezTo>
                  <a:pt x="1069613" y="1671237"/>
                  <a:pt x="1058566" y="1622846"/>
                  <a:pt x="1075057" y="1577180"/>
                </a:cubicBezTo>
                <a:cubicBezTo>
                  <a:pt x="1091548" y="1531593"/>
                  <a:pt x="1131256" y="1501549"/>
                  <a:pt x="1176166" y="1494259"/>
                </a:cubicBezTo>
                <a:cubicBezTo>
                  <a:pt x="1152790" y="1455482"/>
                  <a:pt x="1150148" y="1405650"/>
                  <a:pt x="1174325" y="1363668"/>
                </a:cubicBezTo>
                <a:cubicBezTo>
                  <a:pt x="1198822" y="1321527"/>
                  <a:pt x="1243092" y="1299014"/>
                  <a:pt x="1288323" y="1299655"/>
                </a:cubicBezTo>
                <a:cubicBezTo>
                  <a:pt x="1272232" y="1257193"/>
                  <a:pt x="1278236" y="1207921"/>
                  <a:pt x="1309618" y="1170667"/>
                </a:cubicBezTo>
                <a:cubicBezTo>
                  <a:pt x="1340759" y="1133573"/>
                  <a:pt x="1388392" y="1118831"/>
                  <a:pt x="1432822" y="1127324"/>
                </a:cubicBezTo>
                <a:cubicBezTo>
                  <a:pt x="1424336" y="1082779"/>
                  <a:pt x="1438826" y="1035269"/>
                  <a:pt x="1475972" y="1003944"/>
                </a:cubicBezTo>
                <a:cubicBezTo>
                  <a:pt x="1513197" y="972939"/>
                  <a:pt x="1562591" y="966770"/>
                  <a:pt x="1604860" y="982873"/>
                </a:cubicBezTo>
                <a:cubicBezTo>
                  <a:pt x="1604300" y="937527"/>
                  <a:pt x="1626795" y="893142"/>
                  <a:pt x="1668824" y="868947"/>
                </a:cubicBezTo>
                <a:cubicBezTo>
                  <a:pt x="1710773" y="844752"/>
                  <a:pt x="1760487" y="847235"/>
                  <a:pt x="1799473" y="870309"/>
                </a:cubicBezTo>
                <a:cubicBezTo>
                  <a:pt x="1806678" y="825604"/>
                  <a:pt x="1836539" y="785866"/>
                  <a:pt x="1882250" y="769202"/>
                </a:cubicBezTo>
                <a:cubicBezTo>
                  <a:pt x="1927801" y="752778"/>
                  <a:pt x="1976235" y="763834"/>
                  <a:pt x="2010578" y="793477"/>
                </a:cubicBezTo>
                <a:cubicBezTo>
                  <a:pt x="2025468" y="750614"/>
                  <a:pt x="2061893" y="716805"/>
                  <a:pt x="2109606" y="708313"/>
                </a:cubicBezTo>
                <a:cubicBezTo>
                  <a:pt x="2157399" y="699981"/>
                  <a:pt x="2203190" y="719369"/>
                  <a:pt x="2231850" y="754540"/>
                </a:cubicBezTo>
                <a:cubicBezTo>
                  <a:pt x="2253945" y="714882"/>
                  <a:pt x="2295734" y="687883"/>
                  <a:pt x="2344247" y="687883"/>
                </a:cubicBezTo>
                <a:close/>
                <a:moveTo>
                  <a:pt x="3570447" y="463396"/>
                </a:moveTo>
                <a:cubicBezTo>
                  <a:pt x="3633050" y="463396"/>
                  <a:pt x="3683805" y="514110"/>
                  <a:pt x="3683805" y="576761"/>
                </a:cubicBezTo>
                <a:cubicBezTo>
                  <a:pt x="3683805" y="639333"/>
                  <a:pt x="3633050" y="690127"/>
                  <a:pt x="3570447" y="690127"/>
                </a:cubicBezTo>
                <a:cubicBezTo>
                  <a:pt x="3508005" y="690127"/>
                  <a:pt x="3457410" y="639333"/>
                  <a:pt x="3457410" y="576761"/>
                </a:cubicBezTo>
                <a:cubicBezTo>
                  <a:pt x="3457410" y="514110"/>
                  <a:pt x="3508005" y="463396"/>
                  <a:pt x="3570447" y="463396"/>
                </a:cubicBezTo>
                <a:close/>
                <a:moveTo>
                  <a:pt x="2072861" y="369899"/>
                </a:moveTo>
                <a:cubicBezTo>
                  <a:pt x="2145230" y="369899"/>
                  <a:pt x="2203911" y="428545"/>
                  <a:pt x="2203911" y="500970"/>
                </a:cubicBezTo>
                <a:cubicBezTo>
                  <a:pt x="2203911" y="573476"/>
                  <a:pt x="2145310" y="632202"/>
                  <a:pt x="2072861" y="632202"/>
                </a:cubicBezTo>
                <a:cubicBezTo>
                  <a:pt x="2000571" y="632202"/>
                  <a:pt x="1941971" y="573556"/>
                  <a:pt x="1941891" y="500970"/>
                </a:cubicBezTo>
                <a:cubicBezTo>
                  <a:pt x="1941891" y="428625"/>
                  <a:pt x="2000571" y="369899"/>
                  <a:pt x="2072861" y="369899"/>
                </a:cubicBezTo>
                <a:close/>
                <a:moveTo>
                  <a:pt x="2615072" y="369579"/>
                </a:moveTo>
                <a:cubicBezTo>
                  <a:pt x="2687442" y="369579"/>
                  <a:pt x="2746122" y="428224"/>
                  <a:pt x="2746122" y="500810"/>
                </a:cubicBezTo>
                <a:cubicBezTo>
                  <a:pt x="2746122" y="573236"/>
                  <a:pt x="2687522" y="631962"/>
                  <a:pt x="2615072" y="631962"/>
                </a:cubicBezTo>
                <a:cubicBezTo>
                  <a:pt x="2542622" y="631962"/>
                  <a:pt x="2484022" y="573236"/>
                  <a:pt x="2483942" y="500810"/>
                </a:cubicBezTo>
                <a:cubicBezTo>
                  <a:pt x="2483942" y="428305"/>
                  <a:pt x="2542622" y="369579"/>
                  <a:pt x="2615072" y="369579"/>
                </a:cubicBezTo>
                <a:close/>
                <a:moveTo>
                  <a:pt x="2344087" y="346024"/>
                </a:moveTo>
                <a:cubicBezTo>
                  <a:pt x="2416457" y="346024"/>
                  <a:pt x="2475137" y="404830"/>
                  <a:pt x="2475137" y="477255"/>
                </a:cubicBezTo>
                <a:cubicBezTo>
                  <a:pt x="2475137" y="549681"/>
                  <a:pt x="2416537" y="608407"/>
                  <a:pt x="2344087" y="608407"/>
                </a:cubicBezTo>
                <a:cubicBezTo>
                  <a:pt x="2271637" y="608407"/>
                  <a:pt x="2212957" y="549681"/>
                  <a:pt x="2213037" y="477255"/>
                </a:cubicBezTo>
                <a:cubicBezTo>
                  <a:pt x="2213037" y="404830"/>
                  <a:pt x="2271717" y="346024"/>
                  <a:pt x="2344087" y="346024"/>
                </a:cubicBezTo>
                <a:close/>
                <a:moveTo>
                  <a:pt x="3298021" y="272557"/>
                </a:moveTo>
                <a:cubicBezTo>
                  <a:pt x="3360624" y="272557"/>
                  <a:pt x="3411218" y="323191"/>
                  <a:pt x="3411218" y="385762"/>
                </a:cubicBezTo>
                <a:cubicBezTo>
                  <a:pt x="3411218" y="448413"/>
                  <a:pt x="3360624" y="499127"/>
                  <a:pt x="3298021" y="499127"/>
                </a:cubicBezTo>
                <a:cubicBezTo>
                  <a:pt x="3235578" y="499127"/>
                  <a:pt x="3184823" y="448413"/>
                  <a:pt x="3184823" y="385762"/>
                </a:cubicBezTo>
                <a:cubicBezTo>
                  <a:pt x="3184823" y="323191"/>
                  <a:pt x="3235578" y="272557"/>
                  <a:pt x="3298021" y="272557"/>
                </a:cubicBezTo>
                <a:close/>
                <a:moveTo>
                  <a:pt x="3793320" y="224968"/>
                </a:moveTo>
                <a:cubicBezTo>
                  <a:pt x="3842474" y="224968"/>
                  <a:pt x="3882421" y="264946"/>
                  <a:pt x="3882421" y="314138"/>
                </a:cubicBezTo>
                <a:cubicBezTo>
                  <a:pt x="3882421" y="363490"/>
                  <a:pt x="3842474" y="403468"/>
                  <a:pt x="3793320" y="403468"/>
                </a:cubicBezTo>
                <a:cubicBezTo>
                  <a:pt x="3743926" y="403468"/>
                  <a:pt x="3703979" y="363490"/>
                  <a:pt x="3703979" y="314138"/>
                </a:cubicBezTo>
                <a:cubicBezTo>
                  <a:pt x="3703979" y="264946"/>
                  <a:pt x="3743926" y="224968"/>
                  <a:pt x="3793320" y="224968"/>
                </a:cubicBezTo>
                <a:close/>
                <a:moveTo>
                  <a:pt x="3473821" y="0"/>
                </a:moveTo>
                <a:cubicBezTo>
                  <a:pt x="3522975" y="0"/>
                  <a:pt x="3562922" y="39978"/>
                  <a:pt x="3562922" y="89170"/>
                </a:cubicBezTo>
                <a:cubicBezTo>
                  <a:pt x="3562922" y="138362"/>
                  <a:pt x="3522975" y="178340"/>
                  <a:pt x="3473821" y="178340"/>
                </a:cubicBezTo>
                <a:cubicBezTo>
                  <a:pt x="3424507" y="178340"/>
                  <a:pt x="3384560" y="138362"/>
                  <a:pt x="3384560" y="89170"/>
                </a:cubicBezTo>
                <a:cubicBezTo>
                  <a:pt x="3384560" y="39978"/>
                  <a:pt x="3424428" y="0"/>
                  <a:pt x="3473821" y="0"/>
                </a:cubicBezTo>
                <a:close/>
              </a:path>
            </a:pathLst>
          </a:custGeom>
          <a:solidFill>
            <a:schemeClr val="accent1"/>
          </a:solidFill>
          <a:ln w="8000" cap="flat">
            <a:noFill/>
            <a:prstDash val="solid"/>
            <a:miter/>
          </a:ln>
        </p:spPr>
        <p:txBody>
          <a:bodyPr rtlCol="0" anchor="ctr"/>
          <a:lstStyle/>
          <a:p>
            <a:endParaRPr lang="en-US"/>
          </a:p>
        </p:txBody>
      </p:sp>
      <p:sp>
        <p:nvSpPr>
          <p:cNvPr id="28" name="Text Placeholder 34">
            <a:extLst>
              <a:ext uri="{FF2B5EF4-FFF2-40B4-BE49-F238E27FC236}">
                <a16:creationId xmlns:a16="http://schemas.microsoft.com/office/drawing/2014/main" id="{4DE8CB1C-EA8C-4BC7-08DE-DA4042D5F1A4}"/>
              </a:ext>
            </a:extLst>
          </p:cNvPr>
          <p:cNvSpPr>
            <a:spLocks noGrp="1"/>
          </p:cNvSpPr>
          <p:nvPr>
            <p:ph type="body" sz="quarter" idx="10"/>
          </p:nvPr>
        </p:nvSpPr>
        <p:spPr>
          <a:xfrm>
            <a:off x="328743" y="5971977"/>
            <a:ext cx="5583600" cy="403200"/>
          </a:xfrm>
        </p:spPr>
        <p:txBody>
          <a:bodyPr anchor="b" anchorCtr="0"/>
          <a:lstStyle>
            <a:lvl1pPr>
              <a:defRPr sz="570">
                <a:solidFill>
                  <a:schemeClr val="tx1"/>
                </a:solidFill>
              </a:defRPr>
            </a:lvl1pPr>
            <a:lvl2pPr marL="92075" indent="-92075">
              <a:tabLst/>
              <a:defRPr sz="570"/>
            </a:lvl2pPr>
            <a:lvl3pPr marL="179388" indent="-87313">
              <a:tabLst/>
              <a:defRPr sz="570"/>
            </a:lvl3pPr>
            <a:lvl4pPr marL="271463" indent="-92075">
              <a:tabLst/>
              <a:defRPr sz="570"/>
            </a:lvl4pPr>
            <a:lvl5pPr marL="358775" indent="-87313">
              <a:tabLst/>
              <a:defRPr sz="570"/>
            </a:lvl5pPr>
          </a:lstStyle>
          <a:p>
            <a:pPr lvl="0"/>
            <a:r>
              <a:rPr lang="en-US"/>
              <a:t>Click to edit Master text styles</a:t>
            </a:r>
          </a:p>
        </p:txBody>
      </p:sp>
      <p:sp>
        <p:nvSpPr>
          <p:cNvPr id="29" name="Text Placeholder 34">
            <a:extLst>
              <a:ext uri="{FF2B5EF4-FFF2-40B4-BE49-F238E27FC236}">
                <a16:creationId xmlns:a16="http://schemas.microsoft.com/office/drawing/2014/main" id="{486FC71E-BBED-B7E6-995C-14C73A7AEE42}"/>
              </a:ext>
            </a:extLst>
          </p:cNvPr>
          <p:cNvSpPr>
            <a:spLocks noGrp="1"/>
          </p:cNvSpPr>
          <p:nvPr>
            <p:ph type="body" sz="quarter" idx="11"/>
          </p:nvPr>
        </p:nvSpPr>
        <p:spPr>
          <a:xfrm>
            <a:off x="328743" y="6392076"/>
            <a:ext cx="5583600" cy="155265"/>
          </a:xfrm>
        </p:spPr>
        <p:txBody>
          <a:bodyPr anchor="b" anchorCtr="0"/>
          <a:lstStyle>
            <a:lvl1pPr>
              <a:defRPr sz="570">
                <a:solidFill>
                  <a:schemeClr val="tx1"/>
                </a:solidFill>
              </a:defRPr>
            </a:lvl1pPr>
            <a:lvl2pPr marL="92075" indent="-92075">
              <a:tabLst/>
              <a:defRPr sz="570"/>
            </a:lvl2pPr>
            <a:lvl3pPr marL="179388" indent="-87313">
              <a:tabLst/>
              <a:defRPr sz="570"/>
            </a:lvl3pPr>
            <a:lvl4pPr marL="271463" indent="-92075">
              <a:tabLst/>
              <a:defRPr sz="570"/>
            </a:lvl4pPr>
            <a:lvl5pPr marL="358775" indent="-87313">
              <a:tabLst/>
              <a:defRPr sz="570"/>
            </a:lvl5pPr>
          </a:lstStyle>
          <a:p>
            <a:pPr lvl="0"/>
            <a:r>
              <a:rPr lang="en-US"/>
              <a:t>Click to edit Master text styles</a:t>
            </a:r>
          </a:p>
        </p:txBody>
      </p:sp>
    </p:spTree>
    <p:extLst>
      <p:ext uri="{BB962C8B-B14F-4D97-AF65-F5344CB8AC3E}">
        <p14:creationId xmlns:p14="http://schemas.microsoft.com/office/powerpoint/2010/main" val="6433414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 White BG">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1F85-2F49-84E0-FBB4-4667851EAFF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2" name="Table Placeholder 11">
            <a:extLst>
              <a:ext uri="{FF2B5EF4-FFF2-40B4-BE49-F238E27FC236}">
                <a16:creationId xmlns:a16="http://schemas.microsoft.com/office/drawing/2014/main" id="{2FE6F2A4-85F2-56FF-6475-B07C8610C04B}"/>
              </a:ext>
            </a:extLst>
          </p:cNvPr>
          <p:cNvSpPr>
            <a:spLocks noGrp="1"/>
          </p:cNvSpPr>
          <p:nvPr>
            <p:ph type="tbl" sz="quarter" idx="10"/>
          </p:nvPr>
        </p:nvSpPr>
        <p:spPr>
          <a:xfrm>
            <a:off x="334963" y="2406650"/>
            <a:ext cx="11522075" cy="2836863"/>
          </a:xfrm>
        </p:spPr>
        <p:txBody>
          <a:bodyPr/>
          <a:lstStyle>
            <a:lvl1pPr>
              <a:defRPr sz="1800">
                <a:solidFill>
                  <a:schemeClr val="tx1"/>
                </a:solidFill>
              </a:defRPr>
            </a:lvl1pPr>
          </a:lstStyle>
          <a:p>
            <a:r>
              <a:rPr lang="en-US"/>
              <a:t>Click icon to add table</a:t>
            </a:r>
          </a:p>
        </p:txBody>
      </p:sp>
      <p:sp>
        <p:nvSpPr>
          <p:cNvPr id="5" name="Graphic 11">
            <a:extLst>
              <a:ext uri="{FF2B5EF4-FFF2-40B4-BE49-F238E27FC236}">
                <a16:creationId xmlns:a16="http://schemas.microsoft.com/office/drawing/2014/main" id="{EBB29CA7-72BA-FD94-160D-0880116A2EEA}"/>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solidFill>
                <a:schemeClr val="tx1"/>
              </a:solidFill>
            </a:endParaRPr>
          </a:p>
        </p:txBody>
      </p:sp>
    </p:spTree>
    <p:extLst>
      <p:ext uri="{BB962C8B-B14F-4D97-AF65-F5344CB8AC3E}">
        <p14:creationId xmlns:p14="http://schemas.microsoft.com/office/powerpoint/2010/main" val="3692406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 White BG">
    <p:bg>
      <p:bgPr>
        <a:solidFill>
          <a:schemeClr val="bg1"/>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6E63273C-64E4-69FF-B71B-56712A6D2E89}"/>
              </a:ext>
            </a:extLst>
          </p:cNvPr>
          <p:cNvGrpSpPr/>
          <p:nvPr/>
        </p:nvGrpSpPr>
        <p:grpSpPr>
          <a:xfrm>
            <a:off x="0" y="2767861"/>
            <a:ext cx="12192000" cy="4090139"/>
            <a:chOff x="210028" y="1383258"/>
            <a:chExt cx="7405959" cy="2484531"/>
          </a:xfrm>
        </p:grpSpPr>
        <p:sp>
          <p:nvSpPr>
            <p:cNvPr id="10" name="Freeform 9">
              <a:extLst>
                <a:ext uri="{FF2B5EF4-FFF2-40B4-BE49-F238E27FC236}">
                  <a16:creationId xmlns:a16="http://schemas.microsoft.com/office/drawing/2014/main" id="{8109C5A2-6C1C-F948-20C5-01281B8EB446}"/>
                </a:ext>
              </a:extLst>
            </p:cNvPr>
            <p:cNvSpPr/>
            <p:nvPr/>
          </p:nvSpPr>
          <p:spPr>
            <a:xfrm>
              <a:off x="3936151" y="1383258"/>
              <a:ext cx="2484081" cy="2484492"/>
            </a:xfrm>
            <a:custGeom>
              <a:avLst/>
              <a:gdLst>
                <a:gd name="connsiteX0" fmla="*/ 0 w 2484081"/>
                <a:gd name="connsiteY0" fmla="*/ 1242246 h 2484492"/>
                <a:gd name="connsiteX1" fmla="*/ 1242041 w 2484081"/>
                <a:gd name="connsiteY1" fmla="*/ 2484493 h 2484492"/>
                <a:gd name="connsiteX2" fmla="*/ 2484082 w 2484081"/>
                <a:gd name="connsiteY2" fmla="*/ 1242246 h 2484492"/>
                <a:gd name="connsiteX3" fmla="*/ 1242041 w 2484081"/>
                <a:gd name="connsiteY3" fmla="*/ 0 h 2484492"/>
                <a:gd name="connsiteX4" fmla="*/ 0 w 2484081"/>
                <a:gd name="connsiteY4" fmla="*/ 1242246 h 2484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4081" h="2484492">
                  <a:moveTo>
                    <a:pt x="0" y="1242246"/>
                  </a:moveTo>
                  <a:cubicBezTo>
                    <a:pt x="0" y="1928337"/>
                    <a:pt x="556064" y="2484493"/>
                    <a:pt x="1242041" y="2484493"/>
                  </a:cubicBezTo>
                  <a:cubicBezTo>
                    <a:pt x="1928018" y="2484493"/>
                    <a:pt x="2484082" y="1928337"/>
                    <a:pt x="2484082" y="1242246"/>
                  </a:cubicBezTo>
                  <a:cubicBezTo>
                    <a:pt x="2484082" y="556156"/>
                    <a:pt x="1928018" y="0"/>
                    <a:pt x="1242041" y="0"/>
                  </a:cubicBezTo>
                  <a:cubicBezTo>
                    <a:pt x="556064" y="0"/>
                    <a:pt x="0" y="556195"/>
                    <a:pt x="0" y="1242246"/>
                  </a:cubicBezTo>
                </a:path>
              </a:pathLst>
            </a:custGeom>
            <a:solidFill>
              <a:schemeClr val="accent1">
                <a:alpha val="30000"/>
              </a:schemeClr>
            </a:solidFill>
            <a:ln w="385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A07FB9A1-C07D-8633-A88F-F56FEF058C78}"/>
                </a:ext>
              </a:extLst>
            </p:cNvPr>
            <p:cNvSpPr/>
            <p:nvPr/>
          </p:nvSpPr>
          <p:spPr>
            <a:xfrm>
              <a:off x="5131905" y="1383258"/>
              <a:ext cx="2484082" cy="2484492"/>
            </a:xfrm>
            <a:custGeom>
              <a:avLst/>
              <a:gdLst>
                <a:gd name="connsiteX0" fmla="*/ 0 w 2484082"/>
                <a:gd name="connsiteY0" fmla="*/ 1242246 h 2484492"/>
                <a:gd name="connsiteX1" fmla="*/ 1242041 w 2484082"/>
                <a:gd name="connsiteY1" fmla="*/ 2484493 h 2484492"/>
                <a:gd name="connsiteX2" fmla="*/ 2484082 w 2484082"/>
                <a:gd name="connsiteY2" fmla="*/ 1242246 h 2484492"/>
                <a:gd name="connsiteX3" fmla="*/ 1242041 w 2484082"/>
                <a:gd name="connsiteY3" fmla="*/ 0 h 2484492"/>
                <a:gd name="connsiteX4" fmla="*/ 0 w 2484082"/>
                <a:gd name="connsiteY4" fmla="*/ 1242246 h 2484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4082" h="2484492">
                  <a:moveTo>
                    <a:pt x="0" y="1242246"/>
                  </a:moveTo>
                  <a:cubicBezTo>
                    <a:pt x="0" y="1928337"/>
                    <a:pt x="556064" y="2484493"/>
                    <a:pt x="1242041" y="2484493"/>
                  </a:cubicBezTo>
                  <a:cubicBezTo>
                    <a:pt x="1928018" y="2484493"/>
                    <a:pt x="2484082" y="1928337"/>
                    <a:pt x="2484082" y="1242246"/>
                  </a:cubicBezTo>
                  <a:cubicBezTo>
                    <a:pt x="2484082" y="556156"/>
                    <a:pt x="1928018" y="0"/>
                    <a:pt x="1242041" y="0"/>
                  </a:cubicBezTo>
                  <a:cubicBezTo>
                    <a:pt x="556064" y="0"/>
                    <a:pt x="0" y="556195"/>
                    <a:pt x="0" y="1242246"/>
                  </a:cubicBezTo>
                </a:path>
              </a:pathLst>
            </a:custGeom>
            <a:solidFill>
              <a:schemeClr val="accent1"/>
            </a:solidFill>
            <a:ln w="385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746C459-8BCE-E7CD-D664-C0271F1186E9}"/>
                </a:ext>
              </a:extLst>
            </p:cNvPr>
            <p:cNvSpPr/>
            <p:nvPr/>
          </p:nvSpPr>
          <p:spPr>
            <a:xfrm>
              <a:off x="210028" y="1383258"/>
              <a:ext cx="1288328" cy="2484531"/>
            </a:xfrm>
            <a:custGeom>
              <a:avLst/>
              <a:gdLst>
                <a:gd name="connsiteX0" fmla="*/ 46287 w 1288328"/>
                <a:gd name="connsiteY0" fmla="*/ 0 h 2484531"/>
                <a:gd name="connsiteX1" fmla="*/ 0 w 1288328"/>
                <a:gd name="connsiteY1" fmla="*/ 964 h 2484531"/>
                <a:gd name="connsiteX2" fmla="*/ 0 w 1288328"/>
                <a:gd name="connsiteY2" fmla="*/ 2483567 h 2484531"/>
                <a:gd name="connsiteX3" fmla="*/ 46287 w 1288328"/>
                <a:gd name="connsiteY3" fmla="*/ 2484532 h 2484531"/>
                <a:gd name="connsiteX4" fmla="*/ 1288328 w 1288328"/>
                <a:gd name="connsiteY4" fmla="*/ 1242285 h 2484531"/>
                <a:gd name="connsiteX5" fmla="*/ 46287 w 1288328"/>
                <a:gd name="connsiteY5" fmla="*/ 0 h 248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8328" h="2484531">
                  <a:moveTo>
                    <a:pt x="46287" y="0"/>
                  </a:moveTo>
                  <a:cubicBezTo>
                    <a:pt x="30781" y="0"/>
                    <a:pt x="15352" y="386"/>
                    <a:pt x="0" y="964"/>
                  </a:cubicBezTo>
                  <a:lnTo>
                    <a:pt x="0" y="2483567"/>
                  </a:lnTo>
                  <a:cubicBezTo>
                    <a:pt x="15352" y="2484146"/>
                    <a:pt x="30781" y="2484532"/>
                    <a:pt x="46287" y="2484532"/>
                  </a:cubicBezTo>
                  <a:cubicBezTo>
                    <a:pt x="732264" y="2484532"/>
                    <a:pt x="1288328" y="1928337"/>
                    <a:pt x="1288328" y="1242285"/>
                  </a:cubicBezTo>
                  <a:cubicBezTo>
                    <a:pt x="1288328" y="556195"/>
                    <a:pt x="732264" y="0"/>
                    <a:pt x="46287" y="0"/>
                  </a:cubicBezTo>
                  <a:close/>
                </a:path>
              </a:pathLst>
            </a:custGeom>
            <a:solidFill>
              <a:schemeClr val="accent1">
                <a:alpha val="12000"/>
              </a:schemeClr>
            </a:solidFill>
            <a:ln w="3857"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D895EEE8-FF85-7216-E1D3-A064CC954F9F}"/>
              </a:ext>
            </a:extLst>
          </p:cNvPr>
          <p:cNvSpPr>
            <a:spLocks noGrp="1"/>
          </p:cNvSpPr>
          <p:nvPr>
            <p:ph type="ctrTitle"/>
          </p:nvPr>
        </p:nvSpPr>
        <p:spPr>
          <a:xfrm>
            <a:off x="303433" y="298970"/>
            <a:ext cx="5613180" cy="1368591"/>
          </a:xfrm>
        </p:spPr>
        <p:txBody>
          <a:bodyPr anchor="t" anchorCtr="0"/>
          <a:lstStyle>
            <a:lvl1pPr algn="l">
              <a:lnSpc>
                <a:spcPct val="85000"/>
              </a:lnSpc>
              <a:defRPr sz="4100">
                <a:solidFill>
                  <a:schemeClr val="tx1"/>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46DF77C-7312-4A37-D98E-89314F0CC908}"/>
              </a:ext>
            </a:extLst>
          </p:cNvPr>
          <p:cNvSpPr>
            <a:spLocks noGrp="1"/>
          </p:cNvSpPr>
          <p:nvPr>
            <p:ph type="body" sz="quarter" idx="10" hasCustomPrompt="1"/>
          </p:nvPr>
        </p:nvSpPr>
        <p:spPr>
          <a:xfrm>
            <a:off x="8092751" y="3373016"/>
            <a:ext cx="4099249" cy="3095625"/>
          </a:xfrm>
        </p:spPr>
        <p:txBody>
          <a:bodyPr anchor="ctr" anchorCtr="0"/>
          <a:lstStyle>
            <a:lvl1pPr algn="ctr">
              <a:defRPr sz="15000" b="1" i="0">
                <a:solidFill>
                  <a:schemeClr val="bg1"/>
                </a:solidFill>
                <a:latin typeface="Aptos" panose="020B0004020202020204" pitchFamily="34" charset="0"/>
              </a:defRPr>
            </a:lvl1pPr>
          </a:lstStyle>
          <a:p>
            <a:pPr lvl="0"/>
            <a:r>
              <a:rPr lang="en-GB"/>
              <a:t>#</a:t>
            </a:r>
            <a:endParaRPr lang="en-US"/>
          </a:p>
        </p:txBody>
      </p:sp>
      <p:sp>
        <p:nvSpPr>
          <p:cNvPr id="20" name="Graphic 11">
            <a:extLst>
              <a:ext uri="{FF2B5EF4-FFF2-40B4-BE49-F238E27FC236}">
                <a16:creationId xmlns:a16="http://schemas.microsoft.com/office/drawing/2014/main" id="{A6EB27CE-7E91-E807-4766-6E0D7DE93258}"/>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tx1"/>
          </a:solidFill>
          <a:ln w="9076" cap="flat">
            <a:noFill/>
            <a:prstDash val="solid"/>
            <a:miter/>
          </a:ln>
        </p:spPr>
        <p:txBody>
          <a:bodyPr rtlCol="0" anchor="ctr"/>
          <a:lstStyle/>
          <a:p>
            <a:endParaRPr lang="en-US"/>
          </a:p>
        </p:txBody>
      </p:sp>
      <p:sp>
        <p:nvSpPr>
          <p:cNvPr id="22" name="Text Placeholder 34">
            <a:extLst>
              <a:ext uri="{FF2B5EF4-FFF2-40B4-BE49-F238E27FC236}">
                <a16:creationId xmlns:a16="http://schemas.microsoft.com/office/drawing/2014/main" id="{CC11D2A5-4D2D-0BF1-E51A-054C0FBEF76A}"/>
              </a:ext>
            </a:extLst>
          </p:cNvPr>
          <p:cNvSpPr>
            <a:spLocks noGrp="1"/>
          </p:cNvSpPr>
          <p:nvPr>
            <p:ph type="body" sz="quarter" idx="11"/>
          </p:nvPr>
        </p:nvSpPr>
        <p:spPr>
          <a:xfrm>
            <a:off x="328743" y="5971977"/>
            <a:ext cx="5583600" cy="403200"/>
          </a:xfrm>
        </p:spPr>
        <p:txBody>
          <a:bodyPr anchor="b" anchorCtr="0"/>
          <a:lstStyle>
            <a:lvl1pPr>
              <a:defRPr sz="570"/>
            </a:lvl1pPr>
            <a:lvl2pPr marL="92075" indent="-92075">
              <a:tabLst/>
              <a:defRPr sz="570"/>
            </a:lvl2pPr>
            <a:lvl3pPr marL="179388" indent="-87313">
              <a:tabLst/>
              <a:defRPr sz="570"/>
            </a:lvl3pPr>
            <a:lvl4pPr marL="271463" indent="-92075">
              <a:tabLst/>
              <a:defRPr sz="570"/>
            </a:lvl4pPr>
            <a:lvl5pPr marL="358775" indent="-87313">
              <a:tabLst/>
              <a:defRPr sz="570"/>
            </a:lvl5pPr>
          </a:lstStyle>
          <a:p>
            <a:pPr lvl="0"/>
            <a:r>
              <a:rPr lang="en-US"/>
              <a:t>Click to edit Master text styles</a:t>
            </a:r>
          </a:p>
        </p:txBody>
      </p:sp>
      <p:sp>
        <p:nvSpPr>
          <p:cNvPr id="23" name="Text Placeholder 34">
            <a:extLst>
              <a:ext uri="{FF2B5EF4-FFF2-40B4-BE49-F238E27FC236}">
                <a16:creationId xmlns:a16="http://schemas.microsoft.com/office/drawing/2014/main" id="{AC9CFCBD-AD1F-E309-C787-E674857AF240}"/>
              </a:ext>
            </a:extLst>
          </p:cNvPr>
          <p:cNvSpPr>
            <a:spLocks noGrp="1"/>
          </p:cNvSpPr>
          <p:nvPr>
            <p:ph type="body" sz="quarter" idx="12"/>
          </p:nvPr>
        </p:nvSpPr>
        <p:spPr>
          <a:xfrm>
            <a:off x="328743" y="6392076"/>
            <a:ext cx="5583600" cy="155265"/>
          </a:xfrm>
        </p:spPr>
        <p:txBody>
          <a:bodyPr anchor="b" anchorCtr="0"/>
          <a:lstStyle>
            <a:lvl1pPr>
              <a:defRPr sz="570"/>
            </a:lvl1pPr>
            <a:lvl2pPr marL="92075" indent="-92075">
              <a:tabLst/>
              <a:defRPr sz="570"/>
            </a:lvl2pPr>
            <a:lvl3pPr marL="179388" indent="-87313">
              <a:tabLst/>
              <a:defRPr sz="570"/>
            </a:lvl3pPr>
            <a:lvl4pPr marL="271463" indent="-92075">
              <a:tabLst/>
              <a:defRPr sz="570"/>
            </a:lvl4pPr>
            <a:lvl5pPr marL="358775" indent="-87313">
              <a:tabLst/>
              <a:defRPr sz="570"/>
            </a:lvl5pPr>
          </a:lstStyle>
          <a:p>
            <a:pPr lvl="0"/>
            <a:r>
              <a:rPr lang="en-US"/>
              <a:t>Click to edit Master text styles</a:t>
            </a:r>
          </a:p>
        </p:txBody>
      </p:sp>
    </p:spTree>
    <p:extLst>
      <p:ext uri="{BB962C8B-B14F-4D97-AF65-F5344CB8AC3E}">
        <p14:creationId xmlns:p14="http://schemas.microsoft.com/office/powerpoint/2010/main" val="42556920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 Imag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6E63273C-64E4-69FF-B71B-56712A6D2E89}"/>
              </a:ext>
            </a:extLst>
          </p:cNvPr>
          <p:cNvGrpSpPr/>
          <p:nvPr/>
        </p:nvGrpSpPr>
        <p:grpSpPr>
          <a:xfrm>
            <a:off x="0" y="2767861"/>
            <a:ext cx="12192000" cy="4090139"/>
            <a:chOff x="210028" y="1383258"/>
            <a:chExt cx="7405959" cy="2484531"/>
          </a:xfrm>
        </p:grpSpPr>
        <p:sp>
          <p:nvSpPr>
            <p:cNvPr id="10" name="Freeform 9">
              <a:extLst>
                <a:ext uri="{FF2B5EF4-FFF2-40B4-BE49-F238E27FC236}">
                  <a16:creationId xmlns:a16="http://schemas.microsoft.com/office/drawing/2014/main" id="{8109C5A2-6C1C-F948-20C5-01281B8EB446}"/>
                </a:ext>
              </a:extLst>
            </p:cNvPr>
            <p:cNvSpPr/>
            <p:nvPr/>
          </p:nvSpPr>
          <p:spPr>
            <a:xfrm>
              <a:off x="3936151" y="1383258"/>
              <a:ext cx="2484081" cy="2484492"/>
            </a:xfrm>
            <a:custGeom>
              <a:avLst/>
              <a:gdLst>
                <a:gd name="connsiteX0" fmla="*/ 0 w 2484081"/>
                <a:gd name="connsiteY0" fmla="*/ 1242246 h 2484492"/>
                <a:gd name="connsiteX1" fmla="*/ 1242041 w 2484081"/>
                <a:gd name="connsiteY1" fmla="*/ 2484493 h 2484492"/>
                <a:gd name="connsiteX2" fmla="*/ 2484082 w 2484081"/>
                <a:gd name="connsiteY2" fmla="*/ 1242246 h 2484492"/>
                <a:gd name="connsiteX3" fmla="*/ 1242041 w 2484081"/>
                <a:gd name="connsiteY3" fmla="*/ 0 h 2484492"/>
                <a:gd name="connsiteX4" fmla="*/ 0 w 2484081"/>
                <a:gd name="connsiteY4" fmla="*/ 1242246 h 2484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4081" h="2484492">
                  <a:moveTo>
                    <a:pt x="0" y="1242246"/>
                  </a:moveTo>
                  <a:cubicBezTo>
                    <a:pt x="0" y="1928337"/>
                    <a:pt x="556064" y="2484493"/>
                    <a:pt x="1242041" y="2484493"/>
                  </a:cubicBezTo>
                  <a:cubicBezTo>
                    <a:pt x="1928018" y="2484493"/>
                    <a:pt x="2484082" y="1928337"/>
                    <a:pt x="2484082" y="1242246"/>
                  </a:cubicBezTo>
                  <a:cubicBezTo>
                    <a:pt x="2484082" y="556156"/>
                    <a:pt x="1928018" y="0"/>
                    <a:pt x="1242041" y="0"/>
                  </a:cubicBezTo>
                  <a:cubicBezTo>
                    <a:pt x="556064" y="0"/>
                    <a:pt x="0" y="556195"/>
                    <a:pt x="0" y="1242246"/>
                  </a:cubicBezTo>
                </a:path>
              </a:pathLst>
            </a:custGeom>
            <a:solidFill>
              <a:srgbClr val="FFFFFF">
                <a:alpha val="30000"/>
              </a:srgbClr>
            </a:solidFill>
            <a:ln w="385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A07FB9A1-C07D-8633-A88F-F56FEF058C78}"/>
                </a:ext>
              </a:extLst>
            </p:cNvPr>
            <p:cNvSpPr/>
            <p:nvPr/>
          </p:nvSpPr>
          <p:spPr>
            <a:xfrm>
              <a:off x="5131905" y="1383258"/>
              <a:ext cx="2484082" cy="2484492"/>
            </a:xfrm>
            <a:custGeom>
              <a:avLst/>
              <a:gdLst>
                <a:gd name="connsiteX0" fmla="*/ 0 w 2484082"/>
                <a:gd name="connsiteY0" fmla="*/ 1242246 h 2484492"/>
                <a:gd name="connsiteX1" fmla="*/ 1242041 w 2484082"/>
                <a:gd name="connsiteY1" fmla="*/ 2484493 h 2484492"/>
                <a:gd name="connsiteX2" fmla="*/ 2484082 w 2484082"/>
                <a:gd name="connsiteY2" fmla="*/ 1242246 h 2484492"/>
                <a:gd name="connsiteX3" fmla="*/ 1242041 w 2484082"/>
                <a:gd name="connsiteY3" fmla="*/ 0 h 2484492"/>
                <a:gd name="connsiteX4" fmla="*/ 0 w 2484082"/>
                <a:gd name="connsiteY4" fmla="*/ 1242246 h 2484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4082" h="2484492">
                  <a:moveTo>
                    <a:pt x="0" y="1242246"/>
                  </a:moveTo>
                  <a:cubicBezTo>
                    <a:pt x="0" y="1928337"/>
                    <a:pt x="556064" y="2484493"/>
                    <a:pt x="1242041" y="2484493"/>
                  </a:cubicBezTo>
                  <a:cubicBezTo>
                    <a:pt x="1928018" y="2484493"/>
                    <a:pt x="2484082" y="1928337"/>
                    <a:pt x="2484082" y="1242246"/>
                  </a:cubicBezTo>
                  <a:cubicBezTo>
                    <a:pt x="2484082" y="556156"/>
                    <a:pt x="1928018" y="0"/>
                    <a:pt x="1242041" y="0"/>
                  </a:cubicBezTo>
                  <a:cubicBezTo>
                    <a:pt x="556064" y="0"/>
                    <a:pt x="0" y="556195"/>
                    <a:pt x="0" y="1242246"/>
                  </a:cubicBezTo>
                </a:path>
              </a:pathLst>
            </a:custGeom>
            <a:solidFill>
              <a:srgbClr val="FFFFFF"/>
            </a:solidFill>
            <a:ln w="385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746C459-8BCE-E7CD-D664-C0271F1186E9}"/>
                </a:ext>
              </a:extLst>
            </p:cNvPr>
            <p:cNvSpPr/>
            <p:nvPr/>
          </p:nvSpPr>
          <p:spPr>
            <a:xfrm>
              <a:off x="210028" y="1383258"/>
              <a:ext cx="1288328" cy="2484531"/>
            </a:xfrm>
            <a:custGeom>
              <a:avLst/>
              <a:gdLst>
                <a:gd name="connsiteX0" fmla="*/ 46287 w 1288328"/>
                <a:gd name="connsiteY0" fmla="*/ 0 h 2484531"/>
                <a:gd name="connsiteX1" fmla="*/ 0 w 1288328"/>
                <a:gd name="connsiteY1" fmla="*/ 964 h 2484531"/>
                <a:gd name="connsiteX2" fmla="*/ 0 w 1288328"/>
                <a:gd name="connsiteY2" fmla="*/ 2483567 h 2484531"/>
                <a:gd name="connsiteX3" fmla="*/ 46287 w 1288328"/>
                <a:gd name="connsiteY3" fmla="*/ 2484532 h 2484531"/>
                <a:gd name="connsiteX4" fmla="*/ 1288328 w 1288328"/>
                <a:gd name="connsiteY4" fmla="*/ 1242285 h 2484531"/>
                <a:gd name="connsiteX5" fmla="*/ 46287 w 1288328"/>
                <a:gd name="connsiteY5" fmla="*/ 0 h 248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8328" h="2484531">
                  <a:moveTo>
                    <a:pt x="46287" y="0"/>
                  </a:moveTo>
                  <a:cubicBezTo>
                    <a:pt x="30781" y="0"/>
                    <a:pt x="15352" y="386"/>
                    <a:pt x="0" y="964"/>
                  </a:cubicBezTo>
                  <a:lnTo>
                    <a:pt x="0" y="2483567"/>
                  </a:lnTo>
                  <a:cubicBezTo>
                    <a:pt x="15352" y="2484146"/>
                    <a:pt x="30781" y="2484532"/>
                    <a:pt x="46287" y="2484532"/>
                  </a:cubicBezTo>
                  <a:cubicBezTo>
                    <a:pt x="732264" y="2484532"/>
                    <a:pt x="1288328" y="1928337"/>
                    <a:pt x="1288328" y="1242285"/>
                  </a:cubicBezTo>
                  <a:cubicBezTo>
                    <a:pt x="1288328" y="556195"/>
                    <a:pt x="732264" y="0"/>
                    <a:pt x="46287" y="0"/>
                  </a:cubicBezTo>
                  <a:close/>
                </a:path>
              </a:pathLst>
            </a:custGeom>
            <a:solidFill>
              <a:srgbClr val="FFFFFF">
                <a:alpha val="12000"/>
              </a:srgbClr>
            </a:solidFill>
            <a:ln w="3857"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D895EEE8-FF85-7216-E1D3-A064CC954F9F}"/>
              </a:ext>
            </a:extLst>
          </p:cNvPr>
          <p:cNvSpPr>
            <a:spLocks noGrp="1"/>
          </p:cNvSpPr>
          <p:nvPr>
            <p:ph type="ctrTitle"/>
          </p:nvPr>
        </p:nvSpPr>
        <p:spPr>
          <a:xfrm>
            <a:off x="303433" y="298970"/>
            <a:ext cx="5613180" cy="1368591"/>
          </a:xfrm>
        </p:spPr>
        <p:txBody>
          <a:bodyPr anchor="t" anchorCtr="0"/>
          <a:lstStyle>
            <a:lvl1pPr algn="l">
              <a:lnSpc>
                <a:spcPct val="85000"/>
              </a:lnSpc>
              <a:defRPr sz="4100">
                <a:solidFill>
                  <a:schemeClr val="bg1"/>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46DF77C-7312-4A37-D98E-89314F0CC908}"/>
              </a:ext>
            </a:extLst>
          </p:cNvPr>
          <p:cNvSpPr>
            <a:spLocks noGrp="1"/>
          </p:cNvSpPr>
          <p:nvPr>
            <p:ph type="body" sz="quarter" idx="10" hasCustomPrompt="1"/>
          </p:nvPr>
        </p:nvSpPr>
        <p:spPr>
          <a:xfrm>
            <a:off x="8092751" y="3373016"/>
            <a:ext cx="4099249" cy="3095625"/>
          </a:xfrm>
        </p:spPr>
        <p:txBody>
          <a:bodyPr anchor="ctr" anchorCtr="0"/>
          <a:lstStyle>
            <a:lvl1pPr algn="ctr">
              <a:defRPr sz="15000" b="1" i="0">
                <a:latin typeface="Aptos" panose="020B0004020202020204" pitchFamily="34" charset="0"/>
              </a:defRPr>
            </a:lvl1pPr>
          </a:lstStyle>
          <a:p>
            <a:pPr lvl="0"/>
            <a:r>
              <a:rPr lang="en-GB"/>
              <a:t>#</a:t>
            </a:r>
            <a:endParaRPr lang="en-US"/>
          </a:p>
        </p:txBody>
      </p:sp>
      <p:sp>
        <p:nvSpPr>
          <p:cNvPr id="20" name="Graphic 11">
            <a:extLst>
              <a:ext uri="{FF2B5EF4-FFF2-40B4-BE49-F238E27FC236}">
                <a16:creationId xmlns:a16="http://schemas.microsoft.com/office/drawing/2014/main" id="{2C132ACC-83F3-67A1-6B99-A6FCB523E81B}"/>
              </a:ext>
            </a:extLst>
          </p:cNvPr>
          <p:cNvSpPr/>
          <p:nvPr userDrawn="1"/>
        </p:nvSpPr>
        <p:spPr>
          <a:xfrm>
            <a:off x="11186975" y="248213"/>
            <a:ext cx="741500" cy="304972"/>
          </a:xfrm>
          <a:custGeom>
            <a:avLst/>
            <a:gdLst>
              <a:gd name="connsiteX0" fmla="*/ 517361 w 1977338"/>
              <a:gd name="connsiteY0" fmla="*/ 741303 h 813259"/>
              <a:gd name="connsiteX1" fmla="*/ 451871 w 1977338"/>
              <a:gd name="connsiteY1" fmla="*/ 806709 h 813259"/>
              <a:gd name="connsiteX2" fmla="*/ 385335 w 1977338"/>
              <a:gd name="connsiteY2" fmla="*/ 741303 h 813259"/>
              <a:gd name="connsiteX3" fmla="*/ 385335 w 1977338"/>
              <a:gd name="connsiteY3" fmla="*/ 474267 h 813259"/>
              <a:gd name="connsiteX4" fmla="*/ 261960 w 1977338"/>
              <a:gd name="connsiteY4" fmla="*/ 333676 h 813259"/>
              <a:gd name="connsiteX5" fmla="*/ 132025 w 1977338"/>
              <a:gd name="connsiteY5" fmla="*/ 476450 h 813259"/>
              <a:gd name="connsiteX6" fmla="*/ 132025 w 1977338"/>
              <a:gd name="connsiteY6" fmla="*/ 741303 h 813259"/>
              <a:gd name="connsiteX7" fmla="*/ 65490 w 1977338"/>
              <a:gd name="connsiteY7" fmla="*/ 806709 h 813259"/>
              <a:gd name="connsiteX8" fmla="*/ 0 w 1977338"/>
              <a:gd name="connsiteY8" fmla="*/ 741303 h 813259"/>
              <a:gd name="connsiteX9" fmla="*/ 0 w 1977338"/>
              <a:gd name="connsiteY9" fmla="*/ 285642 h 813259"/>
              <a:gd name="connsiteX10" fmla="*/ 65490 w 1977338"/>
              <a:gd name="connsiteY10" fmla="*/ 219097 h 813259"/>
              <a:gd name="connsiteX11" fmla="*/ 132025 w 1977338"/>
              <a:gd name="connsiteY11" fmla="*/ 285642 h 813259"/>
              <a:gd name="connsiteX12" fmla="*/ 132025 w 1977338"/>
              <a:gd name="connsiteY12" fmla="*/ 313931 h 813259"/>
              <a:gd name="connsiteX13" fmla="*/ 312146 w 1977338"/>
              <a:gd name="connsiteY13" fmla="*/ 213686 h 813259"/>
              <a:gd name="connsiteX14" fmla="*/ 517361 w 1977338"/>
              <a:gd name="connsiteY14" fmla="*/ 433827 h 813259"/>
              <a:gd name="connsiteX15" fmla="*/ 517361 w 1977338"/>
              <a:gd name="connsiteY15" fmla="*/ 741303 h 813259"/>
              <a:gd name="connsiteX16" fmla="*/ 1072836 w 1977338"/>
              <a:gd name="connsiteY16" fmla="*/ 512428 h 813259"/>
              <a:gd name="connsiteX17" fmla="*/ 908019 w 1977338"/>
              <a:gd name="connsiteY17" fmla="*/ 328171 h 813259"/>
              <a:gd name="connsiteX18" fmla="*/ 739969 w 1977338"/>
              <a:gd name="connsiteY18" fmla="*/ 512428 h 813259"/>
              <a:gd name="connsiteX19" fmla="*/ 739969 w 1977338"/>
              <a:gd name="connsiteY19" fmla="*/ 514612 h 813259"/>
              <a:gd name="connsiteX20" fmla="*/ 908019 w 1977338"/>
              <a:gd name="connsiteY20" fmla="*/ 698870 h 813259"/>
              <a:gd name="connsiteX21" fmla="*/ 1072836 w 1977338"/>
              <a:gd name="connsiteY21" fmla="*/ 514612 h 813259"/>
              <a:gd name="connsiteX22" fmla="*/ 1072836 w 1977338"/>
              <a:gd name="connsiteY22" fmla="*/ 512428 h 813259"/>
              <a:gd name="connsiteX23" fmla="*/ 1207048 w 1977338"/>
              <a:gd name="connsiteY23" fmla="*/ 514612 h 813259"/>
              <a:gd name="connsiteX24" fmla="*/ 939670 w 1977338"/>
              <a:gd name="connsiteY24" fmla="*/ 813259 h 813259"/>
              <a:gd name="connsiteX25" fmla="*/ 743201 w 1977338"/>
              <a:gd name="connsiteY25" fmla="*/ 711875 h 813259"/>
              <a:gd name="connsiteX26" fmla="*/ 743201 w 1977338"/>
              <a:gd name="connsiteY26" fmla="*/ 741303 h 813259"/>
              <a:gd name="connsiteX27" fmla="*/ 676665 w 1977338"/>
              <a:gd name="connsiteY27" fmla="*/ 806709 h 813259"/>
              <a:gd name="connsiteX28" fmla="*/ 611176 w 1977338"/>
              <a:gd name="connsiteY28" fmla="*/ 741303 h 813259"/>
              <a:gd name="connsiteX29" fmla="*/ 611176 w 1977338"/>
              <a:gd name="connsiteY29" fmla="*/ 65501 h 813259"/>
              <a:gd name="connsiteX30" fmla="*/ 676665 w 1977338"/>
              <a:gd name="connsiteY30" fmla="*/ 0 h 813259"/>
              <a:gd name="connsiteX31" fmla="*/ 743201 w 1977338"/>
              <a:gd name="connsiteY31" fmla="*/ 65501 h 813259"/>
              <a:gd name="connsiteX32" fmla="*/ 743201 w 1977338"/>
              <a:gd name="connsiteY32" fmla="*/ 321620 h 813259"/>
              <a:gd name="connsiteX33" fmla="*/ 939670 w 1977338"/>
              <a:gd name="connsiteY33" fmla="*/ 213686 h 813259"/>
              <a:gd name="connsiteX34" fmla="*/ 1207048 w 1977338"/>
              <a:gd name="connsiteY34" fmla="*/ 512333 h 813259"/>
              <a:gd name="connsiteX35" fmla="*/ 1207048 w 1977338"/>
              <a:gd name="connsiteY35" fmla="*/ 514612 h 813259"/>
              <a:gd name="connsiteX36" fmla="*/ 1795411 w 1977338"/>
              <a:gd name="connsiteY36" fmla="*/ 741303 h 813259"/>
              <a:gd name="connsiteX37" fmla="*/ 1729921 w 1977338"/>
              <a:gd name="connsiteY37" fmla="*/ 806709 h 813259"/>
              <a:gd name="connsiteX38" fmla="*/ 1663386 w 1977338"/>
              <a:gd name="connsiteY38" fmla="*/ 741303 h 813259"/>
              <a:gd name="connsiteX39" fmla="*/ 1663386 w 1977338"/>
              <a:gd name="connsiteY39" fmla="*/ 474267 h 813259"/>
              <a:gd name="connsiteX40" fmla="*/ 1540010 w 1977338"/>
              <a:gd name="connsiteY40" fmla="*/ 333676 h 813259"/>
              <a:gd name="connsiteX41" fmla="*/ 1410076 w 1977338"/>
              <a:gd name="connsiteY41" fmla="*/ 476450 h 813259"/>
              <a:gd name="connsiteX42" fmla="*/ 1410076 w 1977338"/>
              <a:gd name="connsiteY42" fmla="*/ 741303 h 813259"/>
              <a:gd name="connsiteX43" fmla="*/ 1343541 w 1977338"/>
              <a:gd name="connsiteY43" fmla="*/ 806709 h 813259"/>
              <a:gd name="connsiteX44" fmla="*/ 1278051 w 1977338"/>
              <a:gd name="connsiteY44" fmla="*/ 741303 h 813259"/>
              <a:gd name="connsiteX45" fmla="*/ 1278051 w 1977338"/>
              <a:gd name="connsiteY45" fmla="*/ 285642 h 813259"/>
              <a:gd name="connsiteX46" fmla="*/ 1343541 w 1977338"/>
              <a:gd name="connsiteY46" fmla="*/ 219097 h 813259"/>
              <a:gd name="connsiteX47" fmla="*/ 1410076 w 1977338"/>
              <a:gd name="connsiteY47" fmla="*/ 285642 h 813259"/>
              <a:gd name="connsiteX48" fmla="*/ 1410076 w 1977338"/>
              <a:gd name="connsiteY48" fmla="*/ 313931 h 813259"/>
              <a:gd name="connsiteX49" fmla="*/ 1590197 w 1977338"/>
              <a:gd name="connsiteY49" fmla="*/ 213686 h 813259"/>
              <a:gd name="connsiteX50" fmla="*/ 1795316 w 1977338"/>
              <a:gd name="connsiteY50" fmla="*/ 433827 h 813259"/>
              <a:gd name="connsiteX51" fmla="*/ 1795316 w 1977338"/>
              <a:gd name="connsiteY51" fmla="*/ 741303 h 813259"/>
              <a:gd name="connsiteX52" fmla="*/ 1902153 w 1977338"/>
              <a:gd name="connsiteY52" fmla="*/ 121225 h 813259"/>
              <a:gd name="connsiteX53" fmla="*/ 1878676 w 1977338"/>
              <a:gd name="connsiteY53" fmla="*/ 102429 h 813259"/>
              <a:gd name="connsiteX54" fmla="*/ 1849875 w 1977338"/>
              <a:gd name="connsiteY54" fmla="*/ 102429 h 813259"/>
              <a:gd name="connsiteX55" fmla="*/ 1849875 w 1977338"/>
              <a:gd name="connsiteY55" fmla="*/ 140495 h 813259"/>
              <a:gd name="connsiteX56" fmla="*/ 1878866 w 1977338"/>
              <a:gd name="connsiteY56" fmla="*/ 140495 h 813259"/>
              <a:gd name="connsiteX57" fmla="*/ 1902248 w 1977338"/>
              <a:gd name="connsiteY57" fmla="*/ 121604 h 813259"/>
              <a:gd name="connsiteX58" fmla="*/ 1902248 w 1977338"/>
              <a:gd name="connsiteY58" fmla="*/ 121225 h 813259"/>
              <a:gd name="connsiteX59" fmla="*/ 1920973 w 1977338"/>
              <a:gd name="connsiteY59" fmla="*/ 120655 h 813259"/>
              <a:gd name="connsiteX60" fmla="*/ 1895309 w 1977338"/>
              <a:gd name="connsiteY60" fmla="*/ 153311 h 813259"/>
              <a:gd name="connsiteX61" fmla="*/ 1917266 w 1977338"/>
              <a:gd name="connsiteY61" fmla="*/ 180840 h 813259"/>
              <a:gd name="connsiteX62" fmla="*/ 1920308 w 1977338"/>
              <a:gd name="connsiteY62" fmla="*/ 187960 h 813259"/>
              <a:gd name="connsiteX63" fmla="*/ 1911373 w 1977338"/>
              <a:gd name="connsiteY63" fmla="*/ 196788 h 813259"/>
              <a:gd name="connsiteX64" fmla="*/ 1902248 w 1977338"/>
              <a:gd name="connsiteY64" fmla="*/ 191757 h 813259"/>
              <a:gd name="connsiteX65" fmla="*/ 1874968 w 1977338"/>
              <a:gd name="connsiteY65" fmla="*/ 156918 h 813259"/>
              <a:gd name="connsiteX66" fmla="*/ 1849780 w 1977338"/>
              <a:gd name="connsiteY66" fmla="*/ 156918 h 813259"/>
              <a:gd name="connsiteX67" fmla="*/ 1849780 w 1977338"/>
              <a:gd name="connsiteY67" fmla="*/ 187295 h 813259"/>
              <a:gd name="connsiteX68" fmla="*/ 1840370 w 1977338"/>
              <a:gd name="connsiteY68" fmla="*/ 196693 h 813259"/>
              <a:gd name="connsiteX69" fmla="*/ 1831150 w 1977338"/>
              <a:gd name="connsiteY69" fmla="*/ 187295 h 813259"/>
              <a:gd name="connsiteX70" fmla="*/ 1831150 w 1977338"/>
              <a:gd name="connsiteY70" fmla="*/ 94929 h 813259"/>
              <a:gd name="connsiteX71" fmla="*/ 1840370 w 1977338"/>
              <a:gd name="connsiteY71" fmla="*/ 85531 h 813259"/>
              <a:gd name="connsiteX72" fmla="*/ 1880101 w 1977338"/>
              <a:gd name="connsiteY72" fmla="*/ 85531 h 813259"/>
              <a:gd name="connsiteX73" fmla="*/ 1911943 w 1977338"/>
              <a:gd name="connsiteY73" fmla="*/ 96543 h 813259"/>
              <a:gd name="connsiteX74" fmla="*/ 1920878 w 1977338"/>
              <a:gd name="connsiteY74" fmla="*/ 120180 h 813259"/>
              <a:gd name="connsiteX75" fmla="*/ 1920878 w 1977338"/>
              <a:gd name="connsiteY75" fmla="*/ 120655 h 813259"/>
              <a:gd name="connsiteX76" fmla="*/ 1966407 w 1977338"/>
              <a:gd name="connsiteY76" fmla="*/ 142679 h 813259"/>
              <a:gd name="connsiteX77" fmla="*/ 1873067 w 1977338"/>
              <a:gd name="connsiteY77" fmla="*/ 49173 h 813259"/>
              <a:gd name="connsiteX78" fmla="*/ 1779062 w 1977338"/>
              <a:gd name="connsiteY78" fmla="*/ 143248 h 813259"/>
              <a:gd name="connsiteX79" fmla="*/ 1779062 w 1977338"/>
              <a:gd name="connsiteY79" fmla="*/ 143818 h 813259"/>
              <a:gd name="connsiteX80" fmla="*/ 1872402 w 1977338"/>
              <a:gd name="connsiteY80" fmla="*/ 237323 h 813259"/>
              <a:gd name="connsiteX81" fmla="*/ 1966407 w 1977338"/>
              <a:gd name="connsiteY81" fmla="*/ 143248 h 813259"/>
              <a:gd name="connsiteX82" fmla="*/ 1966407 w 1977338"/>
              <a:gd name="connsiteY82" fmla="*/ 142679 h 813259"/>
              <a:gd name="connsiteX83" fmla="*/ 1977338 w 1977338"/>
              <a:gd name="connsiteY83" fmla="*/ 143248 h 813259"/>
              <a:gd name="connsiteX84" fmla="*/ 1872402 w 1977338"/>
              <a:gd name="connsiteY84" fmla="*/ 247765 h 813259"/>
              <a:gd name="connsiteX85" fmla="*/ 1768036 w 1977338"/>
              <a:gd name="connsiteY85" fmla="*/ 143818 h 813259"/>
              <a:gd name="connsiteX86" fmla="*/ 1768036 w 1977338"/>
              <a:gd name="connsiteY86" fmla="*/ 143248 h 813259"/>
              <a:gd name="connsiteX87" fmla="*/ 1872972 w 1977338"/>
              <a:gd name="connsiteY87" fmla="*/ 38731 h 813259"/>
              <a:gd name="connsiteX88" fmla="*/ 1977338 w 1977338"/>
              <a:gd name="connsiteY88" fmla="*/ 142679 h 813259"/>
              <a:gd name="connsiteX89" fmla="*/ 1977338 w 1977338"/>
              <a:gd name="connsiteY89" fmla="*/ 143248 h 8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977338" h="813259">
                <a:moveTo>
                  <a:pt x="517361" y="741303"/>
                </a:moveTo>
                <a:cubicBezTo>
                  <a:pt x="517361" y="778325"/>
                  <a:pt x="489035" y="806709"/>
                  <a:pt x="451871" y="806709"/>
                </a:cubicBezTo>
                <a:cubicBezTo>
                  <a:pt x="414801" y="806709"/>
                  <a:pt x="385335" y="778420"/>
                  <a:pt x="385335" y="741303"/>
                </a:cubicBezTo>
                <a:lnTo>
                  <a:pt x="385335" y="474267"/>
                </a:lnTo>
                <a:cubicBezTo>
                  <a:pt x="385335" y="384938"/>
                  <a:pt x="340566" y="333676"/>
                  <a:pt x="261960" y="333676"/>
                </a:cubicBezTo>
                <a:cubicBezTo>
                  <a:pt x="185539" y="333676"/>
                  <a:pt x="132025" y="387027"/>
                  <a:pt x="132025" y="476450"/>
                </a:cubicBezTo>
                <a:lnTo>
                  <a:pt x="132025" y="741303"/>
                </a:lnTo>
                <a:cubicBezTo>
                  <a:pt x="132025" y="778325"/>
                  <a:pt x="102560" y="806709"/>
                  <a:pt x="65490" y="806709"/>
                </a:cubicBezTo>
                <a:cubicBezTo>
                  <a:pt x="29466" y="806709"/>
                  <a:pt x="0" y="778420"/>
                  <a:pt x="0" y="741303"/>
                </a:cubicBezTo>
                <a:lnTo>
                  <a:pt x="0" y="285642"/>
                </a:lnTo>
                <a:cubicBezTo>
                  <a:pt x="0" y="248620"/>
                  <a:pt x="28325" y="219097"/>
                  <a:pt x="65490" y="219097"/>
                </a:cubicBezTo>
                <a:cubicBezTo>
                  <a:pt x="102655" y="219097"/>
                  <a:pt x="132025" y="248525"/>
                  <a:pt x="132025" y="285642"/>
                </a:cubicBezTo>
                <a:lnTo>
                  <a:pt x="132025" y="313931"/>
                </a:lnTo>
                <a:cubicBezTo>
                  <a:pt x="169095" y="260486"/>
                  <a:pt x="222609" y="213686"/>
                  <a:pt x="312146" y="213686"/>
                </a:cubicBezTo>
                <a:cubicBezTo>
                  <a:pt x="441985" y="213686"/>
                  <a:pt x="517361" y="300926"/>
                  <a:pt x="517361" y="433827"/>
                </a:cubicBezTo>
                <a:lnTo>
                  <a:pt x="517361" y="741303"/>
                </a:lnTo>
                <a:moveTo>
                  <a:pt x="1072836" y="512428"/>
                </a:moveTo>
                <a:cubicBezTo>
                  <a:pt x="1072836" y="401266"/>
                  <a:pt x="997556" y="328171"/>
                  <a:pt x="908019" y="328171"/>
                </a:cubicBezTo>
                <a:cubicBezTo>
                  <a:pt x="818481" y="328171"/>
                  <a:pt x="739969" y="402310"/>
                  <a:pt x="739969" y="512428"/>
                </a:cubicBezTo>
                <a:lnTo>
                  <a:pt x="739969" y="514612"/>
                </a:lnTo>
                <a:cubicBezTo>
                  <a:pt x="739969" y="624730"/>
                  <a:pt x="818576" y="698870"/>
                  <a:pt x="908019" y="698870"/>
                </a:cubicBezTo>
                <a:cubicBezTo>
                  <a:pt x="998602" y="698870"/>
                  <a:pt x="1072836" y="628052"/>
                  <a:pt x="1072836" y="514612"/>
                </a:cubicBezTo>
                <a:lnTo>
                  <a:pt x="1072836" y="512428"/>
                </a:lnTo>
                <a:close/>
                <a:moveTo>
                  <a:pt x="1207048" y="514612"/>
                </a:moveTo>
                <a:cubicBezTo>
                  <a:pt x="1207048" y="705420"/>
                  <a:pt x="1076068" y="813259"/>
                  <a:pt x="939670" y="813259"/>
                </a:cubicBezTo>
                <a:cubicBezTo>
                  <a:pt x="843669" y="813259"/>
                  <a:pt x="783597" y="765320"/>
                  <a:pt x="743201" y="711875"/>
                </a:cubicBezTo>
                <a:lnTo>
                  <a:pt x="743201" y="741303"/>
                </a:lnTo>
                <a:cubicBezTo>
                  <a:pt x="743201" y="777186"/>
                  <a:pt x="713735" y="806709"/>
                  <a:pt x="676665" y="806709"/>
                </a:cubicBezTo>
                <a:cubicBezTo>
                  <a:pt x="640641" y="806709"/>
                  <a:pt x="611176" y="777281"/>
                  <a:pt x="611176" y="741303"/>
                </a:cubicBezTo>
                <a:lnTo>
                  <a:pt x="611176" y="65501"/>
                </a:lnTo>
                <a:cubicBezTo>
                  <a:pt x="611176" y="28479"/>
                  <a:pt x="639596" y="0"/>
                  <a:pt x="676665" y="0"/>
                </a:cubicBezTo>
                <a:cubicBezTo>
                  <a:pt x="713735" y="0"/>
                  <a:pt x="743201" y="28384"/>
                  <a:pt x="743201" y="65501"/>
                </a:cubicBezTo>
                <a:lnTo>
                  <a:pt x="743201" y="321620"/>
                </a:lnTo>
                <a:cubicBezTo>
                  <a:pt x="785783" y="261720"/>
                  <a:pt x="845760" y="213686"/>
                  <a:pt x="939670" y="213686"/>
                </a:cubicBezTo>
                <a:cubicBezTo>
                  <a:pt x="1075023" y="213686"/>
                  <a:pt x="1207048" y="320576"/>
                  <a:pt x="1207048" y="512333"/>
                </a:cubicBezTo>
                <a:lnTo>
                  <a:pt x="1207048" y="514612"/>
                </a:lnTo>
                <a:moveTo>
                  <a:pt x="1795411" y="741303"/>
                </a:moveTo>
                <a:cubicBezTo>
                  <a:pt x="1795411" y="778325"/>
                  <a:pt x="1767086" y="806709"/>
                  <a:pt x="1729921" y="806709"/>
                </a:cubicBezTo>
                <a:cubicBezTo>
                  <a:pt x="1692756" y="806709"/>
                  <a:pt x="1663386" y="778420"/>
                  <a:pt x="1663386" y="741303"/>
                </a:cubicBezTo>
                <a:lnTo>
                  <a:pt x="1663386" y="474267"/>
                </a:lnTo>
                <a:cubicBezTo>
                  <a:pt x="1663386" y="384938"/>
                  <a:pt x="1618617" y="333676"/>
                  <a:pt x="1540010" y="333676"/>
                </a:cubicBezTo>
                <a:cubicBezTo>
                  <a:pt x="1463589" y="333676"/>
                  <a:pt x="1410076" y="387027"/>
                  <a:pt x="1410076" y="476450"/>
                </a:cubicBezTo>
                <a:lnTo>
                  <a:pt x="1410076" y="741303"/>
                </a:lnTo>
                <a:cubicBezTo>
                  <a:pt x="1410076" y="778325"/>
                  <a:pt x="1380610" y="806709"/>
                  <a:pt x="1343541" y="806709"/>
                </a:cubicBezTo>
                <a:cubicBezTo>
                  <a:pt x="1307516" y="806709"/>
                  <a:pt x="1278051" y="778420"/>
                  <a:pt x="1278051" y="741303"/>
                </a:cubicBezTo>
                <a:lnTo>
                  <a:pt x="1278051" y="285642"/>
                </a:lnTo>
                <a:cubicBezTo>
                  <a:pt x="1278051" y="248620"/>
                  <a:pt x="1306376" y="219097"/>
                  <a:pt x="1343541" y="219097"/>
                </a:cubicBezTo>
                <a:cubicBezTo>
                  <a:pt x="1380705" y="219097"/>
                  <a:pt x="1410076" y="248525"/>
                  <a:pt x="1410076" y="285642"/>
                </a:cubicBezTo>
                <a:lnTo>
                  <a:pt x="1410076" y="313931"/>
                </a:lnTo>
                <a:cubicBezTo>
                  <a:pt x="1447146" y="260486"/>
                  <a:pt x="1500659" y="213686"/>
                  <a:pt x="1590197" y="213686"/>
                </a:cubicBezTo>
                <a:cubicBezTo>
                  <a:pt x="1720036" y="213686"/>
                  <a:pt x="1795316" y="300926"/>
                  <a:pt x="1795316" y="433827"/>
                </a:cubicBezTo>
                <a:lnTo>
                  <a:pt x="1795316" y="741303"/>
                </a:lnTo>
                <a:close/>
                <a:moveTo>
                  <a:pt x="1902153" y="121225"/>
                </a:moveTo>
                <a:cubicBezTo>
                  <a:pt x="1902153" y="109264"/>
                  <a:pt x="1893313" y="102429"/>
                  <a:pt x="1878676" y="102429"/>
                </a:cubicBezTo>
                <a:lnTo>
                  <a:pt x="1849875" y="102429"/>
                </a:lnTo>
                <a:lnTo>
                  <a:pt x="1849875" y="140495"/>
                </a:lnTo>
                <a:lnTo>
                  <a:pt x="1878866" y="140495"/>
                </a:lnTo>
                <a:cubicBezTo>
                  <a:pt x="1892933" y="140495"/>
                  <a:pt x="1902248" y="133091"/>
                  <a:pt x="1902248" y="121604"/>
                </a:cubicBezTo>
                <a:lnTo>
                  <a:pt x="1902248" y="121225"/>
                </a:lnTo>
                <a:close/>
                <a:moveTo>
                  <a:pt x="1920973" y="120655"/>
                </a:moveTo>
                <a:cubicBezTo>
                  <a:pt x="1920973" y="138407"/>
                  <a:pt x="1910708" y="148944"/>
                  <a:pt x="1895309" y="153311"/>
                </a:cubicBezTo>
                <a:lnTo>
                  <a:pt x="1917266" y="180840"/>
                </a:lnTo>
                <a:cubicBezTo>
                  <a:pt x="1919072" y="183119"/>
                  <a:pt x="1920308" y="185112"/>
                  <a:pt x="1920308" y="187960"/>
                </a:cubicBezTo>
                <a:cubicBezTo>
                  <a:pt x="1920308" y="193086"/>
                  <a:pt x="1915935" y="196788"/>
                  <a:pt x="1911373" y="196788"/>
                </a:cubicBezTo>
                <a:cubicBezTo>
                  <a:pt x="1907096" y="196788"/>
                  <a:pt x="1904434" y="194700"/>
                  <a:pt x="1902248" y="191757"/>
                </a:cubicBezTo>
                <a:lnTo>
                  <a:pt x="1874968" y="156918"/>
                </a:lnTo>
                <a:lnTo>
                  <a:pt x="1849780" y="156918"/>
                </a:lnTo>
                <a:lnTo>
                  <a:pt x="1849780" y="187295"/>
                </a:lnTo>
                <a:cubicBezTo>
                  <a:pt x="1849780" y="192422"/>
                  <a:pt x="1845503" y="196693"/>
                  <a:pt x="1840370" y="196693"/>
                </a:cubicBezTo>
                <a:cubicBezTo>
                  <a:pt x="1835237" y="196693"/>
                  <a:pt x="1831150" y="192422"/>
                  <a:pt x="1831150" y="187295"/>
                </a:cubicBezTo>
                <a:lnTo>
                  <a:pt x="1831150" y="94929"/>
                </a:lnTo>
                <a:cubicBezTo>
                  <a:pt x="1831150" y="89613"/>
                  <a:pt x="1835237" y="85531"/>
                  <a:pt x="1840370" y="85531"/>
                </a:cubicBezTo>
                <a:lnTo>
                  <a:pt x="1880101" y="85531"/>
                </a:lnTo>
                <a:cubicBezTo>
                  <a:pt x="1893884" y="85531"/>
                  <a:pt x="1904814" y="89613"/>
                  <a:pt x="1911943" y="96543"/>
                </a:cubicBezTo>
                <a:cubicBezTo>
                  <a:pt x="1917646" y="102239"/>
                  <a:pt x="1920878" y="110593"/>
                  <a:pt x="1920878" y="120180"/>
                </a:cubicBezTo>
                <a:lnTo>
                  <a:pt x="1920878" y="120655"/>
                </a:lnTo>
                <a:moveTo>
                  <a:pt x="1966407" y="142679"/>
                </a:moveTo>
                <a:cubicBezTo>
                  <a:pt x="1966407" y="91037"/>
                  <a:pt x="1926201" y="49173"/>
                  <a:pt x="1873067" y="49173"/>
                </a:cubicBezTo>
                <a:cubicBezTo>
                  <a:pt x="1819554" y="49173"/>
                  <a:pt x="1779062" y="91607"/>
                  <a:pt x="1779062" y="143248"/>
                </a:cubicBezTo>
                <a:lnTo>
                  <a:pt x="1779062" y="143818"/>
                </a:lnTo>
                <a:cubicBezTo>
                  <a:pt x="1779062" y="195459"/>
                  <a:pt x="1819269" y="237323"/>
                  <a:pt x="1872402" y="237323"/>
                </a:cubicBezTo>
                <a:cubicBezTo>
                  <a:pt x="1925916" y="237323"/>
                  <a:pt x="1966407" y="194890"/>
                  <a:pt x="1966407" y="143248"/>
                </a:cubicBezTo>
                <a:lnTo>
                  <a:pt x="1966407" y="142679"/>
                </a:lnTo>
                <a:close/>
                <a:moveTo>
                  <a:pt x="1977338" y="143248"/>
                </a:moveTo>
                <a:cubicBezTo>
                  <a:pt x="1977338" y="200111"/>
                  <a:pt x="1931048" y="247765"/>
                  <a:pt x="1872402" y="247765"/>
                </a:cubicBezTo>
                <a:cubicBezTo>
                  <a:pt x="1813756" y="247765"/>
                  <a:pt x="1768036" y="200681"/>
                  <a:pt x="1768036" y="143818"/>
                </a:cubicBezTo>
                <a:lnTo>
                  <a:pt x="1768036" y="143248"/>
                </a:lnTo>
                <a:cubicBezTo>
                  <a:pt x="1768036" y="86386"/>
                  <a:pt x="1814326" y="38731"/>
                  <a:pt x="1872972" y="38731"/>
                </a:cubicBezTo>
                <a:cubicBezTo>
                  <a:pt x="1931619" y="38731"/>
                  <a:pt x="1977338" y="85816"/>
                  <a:pt x="1977338" y="142679"/>
                </a:cubicBezTo>
                <a:lnTo>
                  <a:pt x="1977338" y="143248"/>
                </a:lnTo>
              </a:path>
            </a:pathLst>
          </a:custGeom>
          <a:solidFill>
            <a:schemeClr val="bg1"/>
          </a:solidFill>
          <a:ln w="9076" cap="flat">
            <a:noFill/>
            <a:prstDash val="solid"/>
            <a:miter/>
          </a:ln>
        </p:spPr>
        <p:txBody>
          <a:bodyPr rtlCol="0" anchor="ctr"/>
          <a:lstStyle/>
          <a:p>
            <a:endParaRPr lang="en-US"/>
          </a:p>
        </p:txBody>
      </p:sp>
      <p:sp>
        <p:nvSpPr>
          <p:cNvPr id="22" name="Text Placeholder 34">
            <a:extLst>
              <a:ext uri="{FF2B5EF4-FFF2-40B4-BE49-F238E27FC236}">
                <a16:creationId xmlns:a16="http://schemas.microsoft.com/office/drawing/2014/main" id="{FA726BCB-9209-703B-B356-85F22F8AAAC6}"/>
              </a:ext>
            </a:extLst>
          </p:cNvPr>
          <p:cNvSpPr>
            <a:spLocks noGrp="1"/>
          </p:cNvSpPr>
          <p:nvPr>
            <p:ph type="body" sz="quarter" idx="11"/>
          </p:nvPr>
        </p:nvSpPr>
        <p:spPr>
          <a:xfrm>
            <a:off x="328743" y="5971977"/>
            <a:ext cx="5583600" cy="403200"/>
          </a:xfrm>
        </p:spPr>
        <p:txBody>
          <a:bodyPr anchor="b" anchorCtr="0"/>
          <a:lstStyle>
            <a:lvl1pPr>
              <a:defRPr sz="570"/>
            </a:lvl1pPr>
            <a:lvl2pPr marL="92075" indent="-92075">
              <a:tabLst/>
              <a:defRPr sz="570"/>
            </a:lvl2pPr>
            <a:lvl3pPr marL="179388" indent="-87313">
              <a:tabLst/>
              <a:defRPr sz="570"/>
            </a:lvl3pPr>
            <a:lvl4pPr marL="271463" indent="-92075">
              <a:tabLst/>
              <a:defRPr sz="570"/>
            </a:lvl4pPr>
            <a:lvl5pPr marL="358775" indent="-87313">
              <a:tabLst/>
              <a:defRPr sz="570"/>
            </a:lvl5pPr>
          </a:lstStyle>
          <a:p>
            <a:pPr lvl="0"/>
            <a:r>
              <a:rPr lang="en-US"/>
              <a:t>Click to edit Master text styles</a:t>
            </a:r>
          </a:p>
        </p:txBody>
      </p:sp>
      <p:sp>
        <p:nvSpPr>
          <p:cNvPr id="23" name="Text Placeholder 34">
            <a:extLst>
              <a:ext uri="{FF2B5EF4-FFF2-40B4-BE49-F238E27FC236}">
                <a16:creationId xmlns:a16="http://schemas.microsoft.com/office/drawing/2014/main" id="{E4031783-C71F-E373-C37B-F18E90A7C033}"/>
              </a:ext>
            </a:extLst>
          </p:cNvPr>
          <p:cNvSpPr>
            <a:spLocks noGrp="1"/>
          </p:cNvSpPr>
          <p:nvPr>
            <p:ph type="body" sz="quarter" idx="12"/>
          </p:nvPr>
        </p:nvSpPr>
        <p:spPr>
          <a:xfrm>
            <a:off x="328743" y="6392076"/>
            <a:ext cx="5583600" cy="155265"/>
          </a:xfrm>
        </p:spPr>
        <p:txBody>
          <a:bodyPr anchor="b" anchorCtr="0"/>
          <a:lstStyle>
            <a:lvl1pPr>
              <a:defRPr sz="570"/>
            </a:lvl1pPr>
            <a:lvl2pPr marL="92075" indent="-92075">
              <a:tabLst/>
              <a:defRPr sz="570"/>
            </a:lvl2pPr>
            <a:lvl3pPr marL="179388" indent="-87313">
              <a:tabLst/>
              <a:defRPr sz="570"/>
            </a:lvl3pPr>
            <a:lvl4pPr marL="271463" indent="-92075">
              <a:tabLst/>
              <a:defRPr sz="570"/>
            </a:lvl4pPr>
            <a:lvl5pPr marL="358775" indent="-87313">
              <a:tabLst/>
              <a:defRPr sz="570"/>
            </a:lvl5pPr>
          </a:lstStyle>
          <a:p>
            <a:pPr lvl="0"/>
            <a:r>
              <a:rPr lang="en-US"/>
              <a:t>Click to edit Master text styles</a:t>
            </a:r>
          </a:p>
        </p:txBody>
      </p:sp>
    </p:spTree>
    <p:extLst>
      <p:ext uri="{BB962C8B-B14F-4D97-AF65-F5344CB8AC3E}">
        <p14:creationId xmlns:p14="http://schemas.microsoft.com/office/powerpoint/2010/main" val="11745160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1186776-40B4-8DE3-EBAE-28B355AABF3B}"/>
              </a:ext>
            </a:extLst>
          </p:cNvPr>
          <p:cNvSpPr>
            <a:spLocks noGrp="1"/>
          </p:cNvSpPr>
          <p:nvPr>
            <p:ph type="title"/>
          </p:nvPr>
        </p:nvSpPr>
        <p:spPr>
          <a:xfrm>
            <a:off x="303432" y="300859"/>
            <a:ext cx="10543243" cy="94777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C6A042A3-5E3C-991C-DAA5-3096DA558291}"/>
              </a:ext>
            </a:extLst>
          </p:cNvPr>
          <p:cNvSpPr>
            <a:spLocks noGrp="1"/>
          </p:cNvSpPr>
          <p:nvPr>
            <p:ph type="body" idx="1"/>
          </p:nvPr>
        </p:nvSpPr>
        <p:spPr>
          <a:xfrm>
            <a:off x="321090" y="1213921"/>
            <a:ext cx="5595523" cy="489048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72A01A5-1DEF-D3AD-CDE2-07EC826AC240}"/>
              </a:ext>
            </a:extLst>
          </p:cNvPr>
          <p:cNvSpPr>
            <a:spLocks noGrp="1"/>
          </p:cNvSpPr>
          <p:nvPr>
            <p:ph type="sldNum" sz="quarter" idx="4"/>
          </p:nvPr>
        </p:nvSpPr>
        <p:spPr>
          <a:xfrm>
            <a:off x="11035862" y="6249143"/>
            <a:ext cx="827482" cy="365125"/>
          </a:xfrm>
          <a:prstGeom prst="rect">
            <a:avLst/>
          </a:prstGeom>
        </p:spPr>
        <p:txBody>
          <a:bodyPr vert="horz" lIns="0" tIns="0" rIns="0" bIns="0" rtlCol="0" anchor="b" anchorCtr="0"/>
          <a:lstStyle>
            <a:lvl1pPr algn="r">
              <a:defRPr sz="2200" b="0" i="0">
                <a:solidFill>
                  <a:schemeClr val="tx1"/>
                </a:solidFill>
                <a:latin typeface="Aptos" panose="020B0004020202020204" pitchFamily="34" charset="0"/>
              </a:defRPr>
            </a:lvl1pPr>
          </a:lstStyle>
          <a:p>
            <a:fld id="{AAF502CD-F636-C049-B05E-4ED95BC0AEE0}" type="slidenum">
              <a:rPr lang="en-US" smtClean="0"/>
              <a:pPr/>
              <a:t>‹#›</a:t>
            </a:fld>
            <a:endParaRPr lang="en-US"/>
          </a:p>
        </p:txBody>
      </p:sp>
      <p:sp>
        <p:nvSpPr>
          <p:cNvPr id="5" name="TextBox 4">
            <a:extLst>
              <a:ext uri="{FF2B5EF4-FFF2-40B4-BE49-F238E27FC236}">
                <a16:creationId xmlns:a16="http://schemas.microsoft.com/office/drawing/2014/main" id="{0B11A1C6-966D-BC3E-0C32-5026E02E8F94}"/>
              </a:ext>
            </a:extLst>
          </p:cNvPr>
          <p:cNvSpPr txBox="1"/>
          <p:nvPr userDrawn="1">
            <p:extLst>
              <p:ext uri="{1162E1C5-73C7-4A58-AE30-91384D911F3F}">
                <p184:classification xmlns:p184="http://schemas.microsoft.com/office/powerpoint/2018/4/main" val="ftr"/>
              </p:ext>
            </p:extLst>
          </p:nvPr>
        </p:nvSpPr>
        <p:spPr>
          <a:xfrm>
            <a:off x="5806250" y="6703060"/>
            <a:ext cx="614362" cy="91440"/>
          </a:xfrm>
          <a:prstGeom prst="rect">
            <a:avLst/>
          </a:prstGeom>
        </p:spPr>
        <p:txBody>
          <a:bodyPr horzOverflow="overflow" lIns="0" tIns="0" rIns="0" bIns="0">
            <a:spAutoFit/>
          </a:bodyPr>
          <a:lstStyle/>
          <a:p>
            <a:pPr algn="l"/>
            <a:r>
              <a:rPr lang="en-AU" sz="600">
                <a:solidFill>
                  <a:srgbClr val="000000"/>
                </a:solidFill>
                <a:latin typeface="Calibri" panose="020F0502020204030204" pitchFamily="34" charset="0"/>
                <a:ea typeface="Calibri" panose="020F0502020204030204" pitchFamily="34" charset="0"/>
                <a:cs typeface="Calibri" panose="020F0502020204030204" pitchFamily="34" charset="0"/>
              </a:rPr>
              <a:t>nbn-COMMERCIAL </a:t>
            </a:r>
          </a:p>
        </p:txBody>
      </p:sp>
    </p:spTree>
    <p:extLst>
      <p:ext uri="{BB962C8B-B14F-4D97-AF65-F5344CB8AC3E}">
        <p14:creationId xmlns:p14="http://schemas.microsoft.com/office/powerpoint/2010/main" val="4112479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Lst>
  <p:hf hdr="0"/>
  <p:txStyles>
    <p:titleStyle>
      <a:lvl1pPr algn="l" defTabSz="914400" rtl="0" eaLnBrk="1" latinLnBrk="0" hangingPunct="1">
        <a:lnSpc>
          <a:spcPct val="85000"/>
        </a:lnSpc>
        <a:spcBef>
          <a:spcPct val="0"/>
        </a:spcBef>
        <a:buNone/>
        <a:defRPr sz="4100" b="1" i="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600" kern="1200">
          <a:solidFill>
            <a:schemeClr val="tx1"/>
          </a:solidFill>
          <a:latin typeface="+mn-lt"/>
          <a:ea typeface="+mn-ea"/>
          <a:cs typeface="+mn-cs"/>
        </a:defRPr>
      </a:lvl1pPr>
      <a:lvl2pPr marL="360000" indent="-360000" algn="l" defTabSz="914400" rtl="0" eaLnBrk="1" latinLnBrk="0" hangingPunct="1">
        <a:lnSpc>
          <a:spcPct val="100000"/>
        </a:lnSpc>
        <a:spcBef>
          <a:spcPts val="0"/>
        </a:spcBef>
        <a:spcAft>
          <a:spcPts val="200"/>
        </a:spcAft>
        <a:buClr>
          <a:schemeClr val="accent1"/>
        </a:buClr>
        <a:buFont typeface="ABC Diatype Rounded Bold" panose="020B0804040202060203" pitchFamily="34" charset="77"/>
        <a:buChar char="•"/>
        <a:tabLst/>
        <a:defRPr sz="2600" kern="1200">
          <a:solidFill>
            <a:schemeClr val="tx1"/>
          </a:solidFill>
          <a:latin typeface="+mn-lt"/>
          <a:ea typeface="+mn-ea"/>
          <a:cs typeface="+mn-cs"/>
        </a:defRPr>
      </a:lvl2pPr>
      <a:lvl3pPr marL="720000" indent="-360000" algn="l" defTabSz="914400" rtl="0" eaLnBrk="1" latinLnBrk="0" hangingPunct="1">
        <a:lnSpc>
          <a:spcPct val="100000"/>
        </a:lnSpc>
        <a:spcBef>
          <a:spcPts val="0"/>
        </a:spcBef>
        <a:buClr>
          <a:schemeClr val="accent1"/>
        </a:buClr>
        <a:buFont typeface="ABC Diatype Rounded Bold" panose="020B0804040202060203" pitchFamily="34" charset="77"/>
        <a:buChar char="•"/>
        <a:tabLst/>
        <a:defRPr sz="2600" kern="1200">
          <a:solidFill>
            <a:schemeClr val="tx1"/>
          </a:solidFill>
          <a:latin typeface="+mn-lt"/>
          <a:ea typeface="+mn-ea"/>
          <a:cs typeface="+mn-cs"/>
        </a:defRPr>
      </a:lvl3pPr>
      <a:lvl4pPr marL="1080000" indent="-360000" algn="l" defTabSz="914400" rtl="0" eaLnBrk="1" latinLnBrk="0" hangingPunct="1">
        <a:lnSpc>
          <a:spcPct val="100000"/>
        </a:lnSpc>
        <a:spcBef>
          <a:spcPts val="0"/>
        </a:spcBef>
        <a:buClr>
          <a:schemeClr val="accent1"/>
        </a:buClr>
        <a:buFont typeface="ABC Diatype Rounded Bold" panose="020B0804040202060203" pitchFamily="34" charset="77"/>
        <a:buChar char="•"/>
        <a:tabLst/>
        <a:defRPr sz="2600" kern="1200">
          <a:solidFill>
            <a:schemeClr val="tx1"/>
          </a:solidFill>
          <a:latin typeface="+mn-lt"/>
          <a:ea typeface="+mn-ea"/>
          <a:cs typeface="+mn-cs"/>
        </a:defRPr>
      </a:lvl4pPr>
      <a:lvl5pPr marL="1440000" indent="-360000" algn="l" defTabSz="914400" rtl="0" eaLnBrk="1" latinLnBrk="0" hangingPunct="1">
        <a:lnSpc>
          <a:spcPct val="100000"/>
        </a:lnSpc>
        <a:spcBef>
          <a:spcPts val="0"/>
        </a:spcBef>
        <a:buClr>
          <a:schemeClr val="accent1"/>
        </a:buClr>
        <a:buFont typeface="ABC Diatype Rounded Bold" panose="020B0804040202060203" pitchFamily="34" charset="77"/>
        <a:buChar char="•"/>
        <a:tabLst/>
        <a:defRPr sz="2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3" orient="horz" pos="2160">
          <p15:clr>
            <a:srgbClr val="F26B43"/>
          </p15:clr>
        </p15:guide>
        <p15:guide id="24" pos="3840">
          <p15:clr>
            <a:srgbClr val="F26B43"/>
          </p15:clr>
        </p15:guide>
        <p15:guide id="25" orient="horz" pos="204">
          <p15:clr>
            <a:srgbClr val="F26B43"/>
          </p15:clr>
        </p15:guide>
        <p15:guide id="26" orient="horz" pos="4110">
          <p15:clr>
            <a:srgbClr val="F26B43"/>
          </p15:clr>
        </p15:guide>
        <p15:guide id="27" pos="211">
          <p15:clr>
            <a:srgbClr val="F26B43"/>
          </p15:clr>
        </p15:guide>
        <p15:guide id="28" pos="7469">
          <p15:clr>
            <a:srgbClr val="F26B43"/>
          </p15:clr>
        </p15:guide>
        <p15:guide id="29" orient="horz" pos="799">
          <p15:clr>
            <a:srgbClr val="F26B43"/>
          </p15:clr>
        </p15:guide>
        <p15:guide id="30" pos="3953">
          <p15:clr>
            <a:srgbClr val="F26B43"/>
          </p15:clr>
        </p15:guide>
        <p15:guide id="31" pos="3727">
          <p15:clr>
            <a:srgbClr val="F26B43"/>
          </p15:clr>
        </p15:guide>
        <p15:guide id="32" pos="3273">
          <p15:clr>
            <a:srgbClr val="F26B43"/>
          </p15:clr>
        </p15:guide>
        <p15:guide id="33" pos="3875">
          <p15:clr>
            <a:srgbClr val="F26B43"/>
          </p15:clr>
        </p15:guide>
        <p15:guide id="34" pos="3805">
          <p15:clr>
            <a:srgbClr val="F26B43"/>
          </p15:clr>
        </p15:guide>
        <p15:guide id="35" orient="horz" pos="295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33E6D6-CD17-2382-8CA6-7C8E0F4666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3749F250-2625-0C4B-4C9E-716A9EDE82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8B949DEE-2C1D-B172-2B53-6BB550E10F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350B4B8-FB90-4B9F-AF8C-05FB7479526F}" type="datetimeFigureOut">
              <a:rPr lang="en-AU" smtClean="0"/>
              <a:t>24/02/2025</a:t>
            </a:fld>
            <a:endParaRPr lang="en-AU"/>
          </a:p>
        </p:txBody>
      </p:sp>
      <p:sp>
        <p:nvSpPr>
          <p:cNvPr id="5" name="Footer Placeholder 4">
            <a:extLst>
              <a:ext uri="{FF2B5EF4-FFF2-40B4-BE49-F238E27FC236}">
                <a16:creationId xmlns:a16="http://schemas.microsoft.com/office/drawing/2014/main" id="{0D4635BE-9043-78BF-D7F1-A0D84633E35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AU"/>
          </a:p>
        </p:txBody>
      </p:sp>
      <p:sp>
        <p:nvSpPr>
          <p:cNvPr id="6" name="Slide Number Placeholder 5">
            <a:extLst>
              <a:ext uri="{FF2B5EF4-FFF2-40B4-BE49-F238E27FC236}">
                <a16:creationId xmlns:a16="http://schemas.microsoft.com/office/drawing/2014/main" id="{662A48C2-F15F-53BC-E275-10F6397E82C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2FF043B-E10C-4246-9AD2-884F0766A0A6}" type="slidenum">
              <a:rPr lang="en-AU" smtClean="0"/>
              <a:t>‹#›</a:t>
            </a:fld>
            <a:endParaRPr lang="en-AU"/>
          </a:p>
        </p:txBody>
      </p:sp>
      <p:sp>
        <p:nvSpPr>
          <p:cNvPr id="8" name="TextBox 7">
            <a:extLst>
              <a:ext uri="{FF2B5EF4-FFF2-40B4-BE49-F238E27FC236}">
                <a16:creationId xmlns:a16="http://schemas.microsoft.com/office/drawing/2014/main" id="{FC5824A7-F803-E0CE-D2B8-9BF8687030AB}"/>
              </a:ext>
            </a:extLst>
          </p:cNvPr>
          <p:cNvSpPr txBox="1"/>
          <p:nvPr userDrawn="1">
            <p:extLst>
              <p:ext uri="{1162E1C5-73C7-4A58-AE30-91384D911F3F}">
                <p184:classification xmlns:p184="http://schemas.microsoft.com/office/powerpoint/2018/4/main" val="ftr"/>
              </p:ext>
            </p:extLst>
          </p:nvPr>
        </p:nvSpPr>
        <p:spPr>
          <a:xfrm>
            <a:off x="5806250" y="6703060"/>
            <a:ext cx="614362" cy="91440"/>
          </a:xfrm>
          <a:prstGeom prst="rect">
            <a:avLst/>
          </a:prstGeom>
        </p:spPr>
        <p:txBody>
          <a:bodyPr horzOverflow="overflow" lIns="0" tIns="0" rIns="0" bIns="0">
            <a:spAutoFit/>
          </a:bodyPr>
          <a:lstStyle/>
          <a:p>
            <a:pPr algn="l"/>
            <a:r>
              <a:rPr lang="en-AU" sz="600">
                <a:solidFill>
                  <a:srgbClr val="000000"/>
                </a:solidFill>
                <a:latin typeface="Calibri" panose="020F0502020204030204" pitchFamily="34" charset="0"/>
                <a:ea typeface="Calibri" panose="020F0502020204030204" pitchFamily="34" charset="0"/>
                <a:cs typeface="Calibri" panose="020F0502020204030204" pitchFamily="34" charset="0"/>
              </a:rPr>
              <a:t>nbn-COMMERCIAL </a:t>
            </a:r>
          </a:p>
        </p:txBody>
      </p:sp>
    </p:spTree>
    <p:extLst>
      <p:ext uri="{BB962C8B-B14F-4D97-AF65-F5344CB8AC3E}">
        <p14:creationId xmlns:p14="http://schemas.microsoft.com/office/powerpoint/2010/main" val="2626099232"/>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emf"/></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9.png"/><Relationship Id="rId2" Type="http://schemas.openxmlformats.org/officeDocument/2006/relationships/slideLayout" Target="../slideLayouts/slideLayout51.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CF4C4-7091-DF48-F7F4-014368A32B41}"/>
              </a:ext>
            </a:extLst>
          </p:cNvPr>
          <p:cNvSpPr>
            <a:spLocks noGrp="1"/>
          </p:cNvSpPr>
          <p:nvPr>
            <p:ph type="ctrTitle"/>
          </p:nvPr>
        </p:nvSpPr>
        <p:spPr>
          <a:xfrm>
            <a:off x="231207" y="1187856"/>
            <a:ext cx="6607540" cy="1133856"/>
          </a:xfrm>
        </p:spPr>
        <p:txBody>
          <a:bodyPr/>
          <a:lstStyle/>
          <a:p>
            <a:r>
              <a:rPr lang="en-AU" sz="4400" dirty="0">
                <a:solidFill>
                  <a:srgbClr val="000000"/>
                </a:solidFill>
                <a:latin typeface="Aptos" panose="020B0004020202020204" pitchFamily="34" charset="0"/>
                <a:cs typeface="Arial"/>
              </a:rPr>
              <a:t>nbn Enterprise Agreement 2025 - 2028</a:t>
            </a:r>
            <a:r>
              <a:rPr lang="en-AU" sz="4400" dirty="0">
                <a:latin typeface="Aptos" panose="020B0004020202020204" pitchFamily="34" charset="0"/>
                <a:cs typeface="Arial"/>
              </a:rPr>
              <a:t> </a:t>
            </a:r>
          </a:p>
        </p:txBody>
      </p:sp>
      <p:sp>
        <p:nvSpPr>
          <p:cNvPr id="3" name="Subtitle 2">
            <a:extLst>
              <a:ext uri="{FF2B5EF4-FFF2-40B4-BE49-F238E27FC236}">
                <a16:creationId xmlns:a16="http://schemas.microsoft.com/office/drawing/2014/main" id="{199C1FFE-842D-9490-1CE5-EC17528170F9}"/>
              </a:ext>
            </a:extLst>
          </p:cNvPr>
          <p:cNvSpPr>
            <a:spLocks noGrp="1"/>
          </p:cNvSpPr>
          <p:nvPr>
            <p:ph type="subTitle" idx="1"/>
          </p:nvPr>
        </p:nvSpPr>
        <p:spPr>
          <a:xfrm>
            <a:off x="231207" y="2560862"/>
            <a:ext cx="5417618" cy="601204"/>
          </a:xfrm>
        </p:spPr>
        <p:txBody>
          <a:bodyPr/>
          <a:lstStyle/>
          <a:p>
            <a:r>
              <a:rPr lang="en-US" sz="1800" dirty="0">
                <a:solidFill>
                  <a:srgbClr val="009FE3"/>
                </a:solidFill>
                <a:cs typeface="Arial"/>
              </a:rPr>
              <a:t>Key changes and next steps</a:t>
            </a:r>
          </a:p>
        </p:txBody>
      </p:sp>
      <p:sp>
        <p:nvSpPr>
          <p:cNvPr id="4" name="Text Placeholder 3">
            <a:extLst>
              <a:ext uri="{FF2B5EF4-FFF2-40B4-BE49-F238E27FC236}">
                <a16:creationId xmlns:a16="http://schemas.microsoft.com/office/drawing/2014/main" id="{7CD9310D-949F-C644-964B-766DE5CFB6C5}"/>
              </a:ext>
            </a:extLst>
          </p:cNvPr>
          <p:cNvSpPr>
            <a:spLocks noGrp="1"/>
          </p:cNvSpPr>
          <p:nvPr>
            <p:ph type="body" sz="quarter" idx="10"/>
          </p:nvPr>
        </p:nvSpPr>
        <p:spPr>
          <a:xfrm>
            <a:off x="231207" y="5959785"/>
            <a:ext cx="5583600" cy="403200"/>
          </a:xfrm>
        </p:spPr>
        <p:txBody>
          <a:bodyPr/>
          <a:lstStyle/>
          <a:p>
            <a:r>
              <a:rPr lang="en-AU" sz="1400" b="1" dirty="0">
                <a:latin typeface="Aptos" panose="020B0004020202020204" pitchFamily="34" charset="0"/>
                <a:cs typeface="Arial"/>
              </a:rPr>
              <a:t>Bargaining Team, 6 – 13 February 2025</a:t>
            </a:r>
          </a:p>
        </p:txBody>
      </p:sp>
    </p:spTree>
    <p:extLst>
      <p:ext uri="{BB962C8B-B14F-4D97-AF65-F5344CB8AC3E}">
        <p14:creationId xmlns:p14="http://schemas.microsoft.com/office/powerpoint/2010/main" val="1042508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A72EE-5701-55D1-099D-808EC0922D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C1CFFFC-20ED-6291-91A4-6A68AA3C0709}"/>
              </a:ext>
            </a:extLst>
          </p:cNvPr>
          <p:cNvSpPr>
            <a:spLocks noGrp="1"/>
          </p:cNvSpPr>
          <p:nvPr>
            <p:ph type="title"/>
          </p:nvPr>
        </p:nvSpPr>
        <p:spPr/>
        <p:txBody>
          <a:bodyPr/>
          <a:lstStyle/>
          <a:p>
            <a:r>
              <a:rPr lang="en-US">
                <a:ea typeface="+mj-lt"/>
                <a:cs typeface="+mj-lt"/>
              </a:rPr>
              <a:t>Key Changes </a:t>
            </a:r>
            <a:endParaRPr lang="en-US"/>
          </a:p>
        </p:txBody>
      </p:sp>
      <p:sp>
        <p:nvSpPr>
          <p:cNvPr id="3" name="Text Placeholder 2">
            <a:extLst>
              <a:ext uri="{FF2B5EF4-FFF2-40B4-BE49-F238E27FC236}">
                <a16:creationId xmlns:a16="http://schemas.microsoft.com/office/drawing/2014/main" id="{684C45A7-42D5-00AE-FF06-674B88185E67}"/>
              </a:ext>
            </a:extLst>
          </p:cNvPr>
          <p:cNvSpPr>
            <a:spLocks noGrp="1"/>
          </p:cNvSpPr>
          <p:nvPr>
            <p:ph type="body" sz="quarter" idx="4294967295"/>
          </p:nvPr>
        </p:nvSpPr>
        <p:spPr>
          <a:xfrm>
            <a:off x="8093075" y="3373438"/>
            <a:ext cx="4098925" cy="3095625"/>
          </a:xfrm>
        </p:spPr>
        <p:txBody>
          <a:bodyPr/>
          <a:lstStyle/>
          <a:p>
            <a:r>
              <a:rPr lang="en-US"/>
              <a:t> </a:t>
            </a:r>
          </a:p>
        </p:txBody>
      </p:sp>
      <p:sp>
        <p:nvSpPr>
          <p:cNvPr id="6" name="TextBox 5">
            <a:extLst>
              <a:ext uri="{FF2B5EF4-FFF2-40B4-BE49-F238E27FC236}">
                <a16:creationId xmlns:a16="http://schemas.microsoft.com/office/drawing/2014/main" id="{33FAF447-0CA3-B1C3-484D-8DBD9C321080}"/>
              </a:ext>
            </a:extLst>
          </p:cNvPr>
          <p:cNvSpPr txBox="1"/>
          <p:nvPr/>
        </p:nvSpPr>
        <p:spPr>
          <a:xfrm>
            <a:off x="328688" y="998621"/>
            <a:ext cx="2172488" cy="483452"/>
          </a:xfrm>
          <a:prstGeom prst="rect">
            <a:avLst/>
          </a:prstGeom>
          <a:noFill/>
        </p:spPr>
        <p:txBody>
          <a:bodyPr wrap="square" lIns="0" tIns="0" rIns="0" bIns="0" rtlCol="0" anchor="t">
            <a:noAutofit/>
          </a:bodyPr>
          <a:lstStyle/>
          <a:p>
            <a:pPr>
              <a:defRPr/>
            </a:pPr>
            <a:r>
              <a:rPr lang="en-US" sz="2000" b="1">
                <a:solidFill>
                  <a:srgbClr val="00B0F0"/>
                </a:solidFill>
                <a:latin typeface="Calibri"/>
                <a:ea typeface="Calibri"/>
                <a:cs typeface="Calibri"/>
              </a:rPr>
              <a:t>Other changes</a:t>
            </a:r>
          </a:p>
          <a:p>
            <a:pPr>
              <a:defRPr/>
            </a:pPr>
            <a:endParaRPr lang="en-US" sz="2000">
              <a:solidFill>
                <a:srgbClr val="00B0F0"/>
              </a:solidFill>
              <a:latin typeface="Calibri"/>
              <a:ea typeface="Calibri"/>
              <a:cs typeface="Calibri"/>
            </a:endParaRPr>
          </a:p>
          <a:p>
            <a:pPr marR="0" algn="l" defTabSz="914400">
              <a:lnSpc>
                <a:spcPct val="100000"/>
              </a:lnSpc>
              <a:spcBef>
                <a:spcPts val="0"/>
              </a:spcBef>
              <a:spcAft>
                <a:spcPts val="0"/>
              </a:spcAft>
              <a:buClrTx/>
              <a:buSzTx/>
              <a:tabLst/>
              <a:defRPr/>
            </a:pPr>
            <a:endParaRPr lang="en-US" sz="2000" b="0" i="0" u="none" strike="noStrike" kern="1200" cap="none" spc="0" normalizeH="0" baseline="0" noProof="0">
              <a:ln>
                <a:noFill/>
              </a:ln>
              <a:solidFill>
                <a:srgbClr val="00B0F0"/>
              </a:solidFill>
              <a:effectLst/>
              <a:uLnTx/>
              <a:uFillTx/>
              <a:latin typeface="Calibri"/>
              <a:ea typeface="Calibri"/>
              <a:cs typeface="Calibri"/>
            </a:endParaRPr>
          </a:p>
          <a:p>
            <a:pPr marL="285750" marR="0" lvl="0" indent="-285750" algn="l" defTabSz="914400">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a:ln>
                <a:noFill/>
              </a:ln>
              <a:solidFill>
                <a:srgbClr val="00B0F0"/>
              </a:solidFill>
              <a:effectLst/>
              <a:uLnTx/>
              <a:uFillTx/>
              <a:latin typeface="Aptos"/>
              <a:ea typeface="Calibri"/>
              <a:cs typeface="Calibri"/>
            </a:endParaRPr>
          </a:p>
          <a:p>
            <a:pPr marL="285750" marR="0" lvl="0" indent="-285750" algn="l" defTabSz="914400">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a:ln>
                <a:noFill/>
              </a:ln>
              <a:solidFill>
                <a:srgbClr val="00B0F0"/>
              </a:solidFill>
              <a:effectLst/>
              <a:uLnTx/>
              <a:uFillTx/>
              <a:latin typeface="Aptos"/>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a:ln>
                <a:noFill/>
              </a:ln>
              <a:solidFill>
                <a:srgbClr val="00B0F0"/>
              </a:solidFill>
              <a:effectLst/>
              <a:highlight>
                <a:srgbClr val="FFFF00"/>
              </a:highlight>
              <a:uLnTx/>
              <a:uFillTx/>
              <a:latin typeface="Apto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a:ln>
                <a:noFill/>
              </a:ln>
              <a:solidFill>
                <a:srgbClr val="00B0F0"/>
              </a:solidFill>
              <a:effectLst/>
              <a:highlight>
                <a:srgbClr val="FFFF00"/>
              </a:highlight>
              <a:uLnTx/>
              <a:uFillTx/>
              <a:latin typeface="Aptos"/>
            </a:endParaRPr>
          </a:p>
          <a:p>
            <a:pPr marR="0" lvl="0" algn="l" defTabSz="914400" rtl="0" eaLnBrk="1" fontAlgn="auto" latinLnBrk="0" hangingPunct="1">
              <a:lnSpc>
                <a:spcPct val="100000"/>
              </a:lnSpc>
              <a:spcBef>
                <a:spcPts val="0"/>
              </a:spcBef>
              <a:spcAft>
                <a:spcPts val="0"/>
              </a:spcAft>
              <a:buClrTx/>
              <a:buSzTx/>
              <a:tabLst/>
              <a:defRPr/>
            </a:pPr>
            <a:endParaRPr lang="en-AU" sz="2000" b="0" i="0" u="none" strike="noStrike" kern="1200" cap="none" spc="0" normalizeH="0" baseline="0" noProof="0">
              <a:ln>
                <a:noFill/>
              </a:ln>
              <a:solidFill>
                <a:srgbClr val="00B0F0"/>
              </a:solidFill>
              <a:effectLst/>
              <a:uLnTx/>
              <a:uFillTx/>
              <a:latin typeface="Apto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a:ln>
                <a:noFill/>
              </a:ln>
              <a:solidFill>
                <a:srgbClr val="00B0F0"/>
              </a:solidFill>
              <a:effectLst/>
              <a:uLnTx/>
              <a:uFillTx/>
              <a:latin typeface="Aptos"/>
            </a:endParaRPr>
          </a:p>
          <a:p>
            <a:pPr marL="285750" indent="-285750">
              <a:buFont typeface="Arial" panose="020B0604020202020204" pitchFamily="34" charset="0"/>
              <a:buChar char="•"/>
              <a:defRPr/>
            </a:pPr>
            <a:endParaRPr lang="en-AU" sz="2000">
              <a:solidFill>
                <a:srgbClr val="00B0F0"/>
              </a:solidFill>
              <a:latin typeface="Aptos"/>
            </a:endParaRPr>
          </a:p>
        </p:txBody>
      </p:sp>
      <p:graphicFrame>
        <p:nvGraphicFramePr>
          <p:cNvPr id="7" name="Table 6">
            <a:extLst>
              <a:ext uri="{FF2B5EF4-FFF2-40B4-BE49-F238E27FC236}">
                <a16:creationId xmlns:a16="http://schemas.microsoft.com/office/drawing/2014/main" id="{41914D0E-03E9-845D-7031-F58AB3C0CEA5}"/>
              </a:ext>
            </a:extLst>
          </p:cNvPr>
          <p:cNvGraphicFramePr>
            <a:graphicFrameLocks noGrp="1"/>
          </p:cNvGraphicFramePr>
          <p:nvPr>
            <p:extLst>
              <p:ext uri="{D42A27DB-BD31-4B8C-83A1-F6EECF244321}">
                <p14:modId xmlns:p14="http://schemas.microsoft.com/office/powerpoint/2010/main" val="4213310201"/>
              </p:ext>
            </p:extLst>
          </p:nvPr>
        </p:nvGraphicFramePr>
        <p:xfrm>
          <a:off x="326043" y="1373044"/>
          <a:ext cx="11397595" cy="3738135"/>
        </p:xfrm>
        <a:graphic>
          <a:graphicData uri="http://schemas.openxmlformats.org/drawingml/2006/table">
            <a:tbl>
              <a:tblPr firstRow="1" bandRow="1">
                <a:tableStyleId>{5C22544A-7EE6-4342-B048-85BDC9FD1C3A}</a:tableStyleId>
              </a:tblPr>
              <a:tblGrid>
                <a:gridCol w="2849399">
                  <a:extLst>
                    <a:ext uri="{9D8B030D-6E8A-4147-A177-3AD203B41FA5}">
                      <a16:colId xmlns:a16="http://schemas.microsoft.com/office/drawing/2014/main" val="3430418746"/>
                    </a:ext>
                  </a:extLst>
                </a:gridCol>
                <a:gridCol w="1764695">
                  <a:extLst>
                    <a:ext uri="{9D8B030D-6E8A-4147-A177-3AD203B41FA5}">
                      <a16:colId xmlns:a16="http://schemas.microsoft.com/office/drawing/2014/main" val="2460787009"/>
                    </a:ext>
                  </a:extLst>
                </a:gridCol>
                <a:gridCol w="3440602">
                  <a:extLst>
                    <a:ext uri="{9D8B030D-6E8A-4147-A177-3AD203B41FA5}">
                      <a16:colId xmlns:a16="http://schemas.microsoft.com/office/drawing/2014/main" val="515269051"/>
                    </a:ext>
                  </a:extLst>
                </a:gridCol>
                <a:gridCol w="3342899">
                  <a:extLst>
                    <a:ext uri="{9D8B030D-6E8A-4147-A177-3AD203B41FA5}">
                      <a16:colId xmlns:a16="http://schemas.microsoft.com/office/drawing/2014/main" val="74437759"/>
                    </a:ext>
                  </a:extLst>
                </a:gridCol>
              </a:tblGrid>
              <a:tr h="354855">
                <a:tc>
                  <a:txBody>
                    <a:bodyPr/>
                    <a:lstStyle/>
                    <a:p>
                      <a:r>
                        <a:rPr lang="en-US" sz="1200">
                          <a:latin typeface="Aptos" panose="020B0004020202020204" pitchFamily="34" charset="0"/>
                        </a:rPr>
                        <a:t>Subject</a:t>
                      </a:r>
                    </a:p>
                  </a:txBody>
                  <a:tcPr/>
                </a:tc>
                <a:tc>
                  <a:txBody>
                    <a:bodyPr/>
                    <a:lstStyle/>
                    <a:p>
                      <a:r>
                        <a:rPr lang="en-US" sz="1200">
                          <a:latin typeface="Aptos" panose="020B0004020202020204" pitchFamily="34" charset="0"/>
                        </a:rPr>
                        <a:t>Clause no.</a:t>
                      </a:r>
                    </a:p>
                  </a:txBody>
                  <a:tcPr/>
                </a:tc>
                <a:tc>
                  <a:txBody>
                    <a:bodyPr/>
                    <a:lstStyle/>
                    <a:p>
                      <a:r>
                        <a:rPr lang="en-US" sz="1200">
                          <a:latin typeface="Aptos" panose="020B0004020202020204" pitchFamily="34" charset="0"/>
                        </a:rPr>
                        <a:t>Current EA</a:t>
                      </a:r>
                    </a:p>
                  </a:txBody>
                  <a:tcPr/>
                </a:tc>
                <a:tc>
                  <a:txBody>
                    <a:bodyPr/>
                    <a:lstStyle/>
                    <a:p>
                      <a:r>
                        <a:rPr lang="en-US" sz="1200">
                          <a:latin typeface="Aptos" panose="020B0004020202020204" pitchFamily="34" charset="0"/>
                        </a:rPr>
                        <a:t>Proposed EA</a:t>
                      </a:r>
                    </a:p>
                  </a:txBody>
                  <a:tcPr/>
                </a:tc>
                <a:extLst>
                  <a:ext uri="{0D108BD9-81ED-4DB2-BD59-A6C34878D82A}">
                    <a16:rowId xmlns:a16="http://schemas.microsoft.com/office/drawing/2014/main" val="341385769"/>
                  </a:ext>
                </a:extLst>
              </a:tr>
              <a:tr h="354855">
                <a:tc>
                  <a:txBody>
                    <a:bodyPr/>
                    <a:lstStyle/>
                    <a:p>
                      <a:pPr lvl="0">
                        <a:buNone/>
                      </a:pPr>
                      <a:r>
                        <a:rPr lang="en-US" sz="1200" b="1">
                          <a:latin typeface="Aptos" panose="020B0004020202020204" pitchFamily="34" charset="0"/>
                        </a:rPr>
                        <a:t>Workplace Flexibility </a:t>
                      </a:r>
                    </a:p>
                  </a:txBody>
                  <a:tcPr/>
                </a:tc>
                <a:tc>
                  <a:txBody>
                    <a:bodyPr/>
                    <a:lstStyle/>
                    <a:p>
                      <a:pPr lvl="0">
                        <a:buNone/>
                      </a:pPr>
                      <a:r>
                        <a:rPr lang="en-US" sz="1200">
                          <a:latin typeface="Aptos" panose="020B0004020202020204" pitchFamily="34" charset="0"/>
                        </a:rPr>
                        <a:t>29</a:t>
                      </a:r>
                    </a:p>
                  </a:txBody>
                  <a:tcPr/>
                </a:tc>
                <a:tc>
                  <a:txBody>
                    <a:bodyPr/>
                    <a:lstStyle/>
                    <a:p>
                      <a:pPr lvl="0">
                        <a:buNone/>
                      </a:pPr>
                      <a:r>
                        <a:rPr lang="en-US" sz="1200">
                          <a:latin typeface="Aptos" panose="020B0004020202020204" pitchFamily="34" charset="0"/>
                        </a:rPr>
                        <a:t>Nil</a:t>
                      </a:r>
                    </a:p>
                  </a:txBody>
                  <a:tcPr/>
                </a:tc>
                <a:tc>
                  <a:txBody>
                    <a:bodyPr/>
                    <a:lstStyle/>
                    <a:p>
                      <a:pPr lvl="0" algn="just">
                        <a:buNone/>
                      </a:pPr>
                      <a:r>
                        <a:rPr lang="en-AU" sz="1200" b="0" i="0" u="none" strike="noStrike" noProof="0">
                          <a:solidFill>
                            <a:srgbClr val="000000"/>
                          </a:solidFill>
                          <a:latin typeface="Aptos" panose="020B0004020202020204" pitchFamily="34" charset="0"/>
                        </a:rPr>
                        <a:t>This clause has been inserted to confirm </a:t>
                      </a:r>
                      <a:r>
                        <a:rPr lang="en-AU" sz="1200" b="0" i="0" u="none" strike="noStrike" noProof="0" err="1">
                          <a:solidFill>
                            <a:srgbClr val="000000"/>
                          </a:solidFill>
                          <a:latin typeface="Aptos" panose="020B0004020202020204" pitchFamily="34" charset="0"/>
                        </a:rPr>
                        <a:t>nbn's</a:t>
                      </a:r>
                      <a:r>
                        <a:rPr lang="en-AU" sz="1200" b="0" i="0" u="none" strike="noStrike" noProof="0">
                          <a:solidFill>
                            <a:srgbClr val="000000"/>
                          </a:solidFill>
                          <a:latin typeface="Aptos" panose="020B0004020202020204" pitchFamily="34" charset="0"/>
                        </a:rPr>
                        <a:t> commitment to support flexible working, including hybrid working arrangements, where possible and in line with </a:t>
                      </a:r>
                      <a:r>
                        <a:rPr lang="en-AU" sz="1200" b="0" i="0" u="none" strike="noStrike" noProof="0" err="1">
                          <a:solidFill>
                            <a:srgbClr val="000000"/>
                          </a:solidFill>
                          <a:latin typeface="Aptos" panose="020B0004020202020204" pitchFamily="34" charset="0"/>
                        </a:rPr>
                        <a:t>nbn</a:t>
                      </a:r>
                      <a:r>
                        <a:rPr lang="en-AU" sz="1200" b="0" i="0" u="none" strike="noStrike" noProof="0">
                          <a:solidFill>
                            <a:srgbClr val="000000"/>
                          </a:solidFill>
                          <a:latin typeface="Aptos" panose="020B0004020202020204" pitchFamily="34" charset="0"/>
                        </a:rPr>
                        <a:t> policy/position.</a:t>
                      </a:r>
                      <a:endParaRPr lang="en-US" sz="1200">
                        <a:latin typeface="Aptos" panose="020B0004020202020204" pitchFamily="34" charset="0"/>
                      </a:endParaRPr>
                    </a:p>
                  </a:txBody>
                  <a:tcPr/>
                </a:tc>
                <a:extLst>
                  <a:ext uri="{0D108BD9-81ED-4DB2-BD59-A6C34878D82A}">
                    <a16:rowId xmlns:a16="http://schemas.microsoft.com/office/drawing/2014/main" val="1786432354"/>
                  </a:ext>
                </a:extLst>
              </a:tr>
              <a:tr h="354855">
                <a:tc>
                  <a:txBody>
                    <a:bodyPr/>
                    <a:lstStyle/>
                    <a:p>
                      <a:pPr lvl="0">
                        <a:buNone/>
                      </a:pPr>
                      <a:r>
                        <a:rPr lang="en-US" sz="1200" b="1">
                          <a:latin typeface="Aptos" panose="020B0004020202020204" pitchFamily="34" charset="0"/>
                        </a:rPr>
                        <a:t>Wage offer</a:t>
                      </a:r>
                    </a:p>
                  </a:txBody>
                  <a:tcPr/>
                </a:tc>
                <a:tc>
                  <a:txBody>
                    <a:bodyPr/>
                    <a:lstStyle/>
                    <a:p>
                      <a:pPr lvl="0">
                        <a:buNone/>
                      </a:pPr>
                      <a:r>
                        <a:rPr lang="en-US" sz="1200">
                          <a:latin typeface="Aptos" panose="020B0004020202020204" pitchFamily="34" charset="0"/>
                        </a:rPr>
                        <a:t>Schedules A, B &amp; C</a:t>
                      </a:r>
                    </a:p>
                  </a:txBody>
                  <a:tcPr/>
                </a:tc>
                <a:tc>
                  <a:txBody>
                    <a:bodyPr/>
                    <a:lstStyle/>
                    <a:p>
                      <a:pPr lvl="0">
                        <a:buNone/>
                      </a:pPr>
                      <a:r>
                        <a:rPr lang="en-US" sz="1200" b="0" i="0" u="none" strike="noStrike" kern="1200" noProof="0">
                          <a:solidFill>
                            <a:srgbClr val="000000"/>
                          </a:solidFill>
                          <a:latin typeface="Aptos" panose="020B0004020202020204" pitchFamily="34" charset="0"/>
                          <a:ea typeface="+mn-ea"/>
                          <a:cs typeface="+mn-cs"/>
                        </a:rPr>
                        <a:t>The tables in Schedules A, B and C outline the wage ranges and indicative roles. </a:t>
                      </a:r>
                    </a:p>
                  </a:txBody>
                  <a:tcPr/>
                </a:tc>
                <a:tc>
                  <a:txBody>
                    <a:bodyPr/>
                    <a:lstStyle/>
                    <a:p>
                      <a:pPr lvl="0">
                        <a:buNone/>
                      </a:pPr>
                      <a:r>
                        <a:rPr lang="en-AU" sz="1200" b="0" i="0" u="none" strike="noStrike" kern="1200" dirty="0">
                          <a:solidFill>
                            <a:srgbClr val="000000"/>
                          </a:solidFill>
                          <a:latin typeface="Aptos" panose="020B0004020202020204" pitchFamily="34" charset="0"/>
                          <a:ea typeface="+mn-ea"/>
                          <a:cs typeface="+mn-cs"/>
                        </a:rPr>
                        <a:t>This clause has been updated to reflect the wage rates on commencement of the Agreement, rather than the wage rates that will apply on and from the first full pay period following 1 July 2025. </a:t>
                      </a:r>
                      <a:r>
                        <a:rPr lang="en-AU" sz="1200" b="0" i="0" u="none" strike="noStrike" kern="1200" noProof="0" dirty="0">
                          <a:solidFill>
                            <a:srgbClr val="000000"/>
                          </a:solidFill>
                          <a:latin typeface="Aptos" panose="020B0004020202020204" pitchFamily="34" charset="0"/>
                          <a:ea typeface="+mn-ea"/>
                          <a:cs typeface="+mn-cs"/>
                        </a:rPr>
                        <a:t>There is also an update to the wording in the table to confirm that the indicative roles listed are included, but are not limited, to this list. </a:t>
                      </a:r>
                      <a:endParaRPr lang="en-US" sz="1200" b="0" i="0" u="none" strike="noStrike" kern="1200" dirty="0">
                        <a:solidFill>
                          <a:srgbClr val="000000"/>
                        </a:solidFill>
                        <a:latin typeface="Aptos" panose="020B0004020202020204" pitchFamily="34" charset="0"/>
                        <a:ea typeface="+mn-ea"/>
                        <a:cs typeface="+mn-cs"/>
                      </a:endParaRPr>
                    </a:p>
                  </a:txBody>
                  <a:tcPr/>
                </a:tc>
                <a:extLst>
                  <a:ext uri="{0D108BD9-81ED-4DB2-BD59-A6C34878D82A}">
                    <a16:rowId xmlns:a16="http://schemas.microsoft.com/office/drawing/2014/main" val="3553936132"/>
                  </a:ext>
                </a:extLst>
              </a:tr>
              <a:tr h="354855">
                <a:tc>
                  <a:txBody>
                    <a:bodyPr/>
                    <a:lstStyle/>
                    <a:p>
                      <a:pPr lvl="0">
                        <a:buNone/>
                      </a:pPr>
                      <a:r>
                        <a:rPr lang="en-US" sz="1200" b="1">
                          <a:latin typeface="Aptos" panose="020B0004020202020204" pitchFamily="34" charset="0"/>
                        </a:rPr>
                        <a:t>Other Changes</a:t>
                      </a:r>
                    </a:p>
                  </a:txBody>
                  <a:tcPr/>
                </a:tc>
                <a:tc>
                  <a:txBody>
                    <a:bodyPr/>
                    <a:lstStyle/>
                    <a:p>
                      <a:pPr lvl="0">
                        <a:buNone/>
                      </a:pPr>
                      <a:r>
                        <a:rPr lang="en-US" sz="1200">
                          <a:latin typeface="Aptos" panose="020B0004020202020204" pitchFamily="34" charset="0"/>
                        </a:rPr>
                        <a:t>Not applicable</a:t>
                      </a:r>
                    </a:p>
                  </a:txBody>
                  <a:tcPr/>
                </a:tc>
                <a:tc>
                  <a:txBody>
                    <a:bodyPr/>
                    <a:lstStyle/>
                    <a:p>
                      <a:pPr lvl="0">
                        <a:buNone/>
                      </a:pPr>
                      <a:endParaRPr lang="en-US" sz="1200" b="0" i="0" u="none" strike="noStrike" noProof="0">
                        <a:solidFill>
                          <a:srgbClr val="000000"/>
                        </a:solidFill>
                        <a:latin typeface="Aptos" panose="020B0004020202020204" pitchFamily="34" charset="0"/>
                      </a:endParaRPr>
                    </a:p>
                  </a:txBody>
                  <a:tcPr/>
                </a:tc>
                <a:tc>
                  <a:txBody>
                    <a:bodyPr/>
                    <a:lstStyle/>
                    <a:p>
                      <a:pPr lvl="0">
                        <a:buNone/>
                      </a:pPr>
                      <a:r>
                        <a:rPr lang="en-US" sz="1200" b="0" i="0" u="none" strike="noStrike" noProof="0" dirty="0">
                          <a:solidFill>
                            <a:srgbClr val="000000"/>
                          </a:solidFill>
                          <a:latin typeface="Aptos" panose="020B0004020202020204" pitchFamily="34" charset="0"/>
                        </a:rPr>
                        <a:t>nbn has updated numbering, formatting and legislative changes from the last 3 years and inserted wording to reflect current practice. These changes do not impact your current entitlements. </a:t>
                      </a:r>
                    </a:p>
                  </a:txBody>
                  <a:tcPr/>
                </a:tc>
                <a:extLst>
                  <a:ext uri="{0D108BD9-81ED-4DB2-BD59-A6C34878D82A}">
                    <a16:rowId xmlns:a16="http://schemas.microsoft.com/office/drawing/2014/main" val="2409440572"/>
                  </a:ext>
                </a:extLst>
              </a:tr>
            </a:tbl>
          </a:graphicData>
        </a:graphic>
      </p:graphicFrame>
    </p:spTree>
    <p:extLst>
      <p:ext uri="{BB962C8B-B14F-4D97-AF65-F5344CB8AC3E}">
        <p14:creationId xmlns:p14="http://schemas.microsoft.com/office/powerpoint/2010/main" val="27477211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18004A-4260-8105-A35C-AC8A209571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3F93B8D-F155-10BA-C09C-EFA28F909F69}"/>
              </a:ext>
            </a:extLst>
          </p:cNvPr>
          <p:cNvSpPr>
            <a:spLocks noGrp="1"/>
          </p:cNvSpPr>
          <p:nvPr>
            <p:ph type="title"/>
          </p:nvPr>
        </p:nvSpPr>
        <p:spPr/>
        <p:txBody>
          <a:bodyPr/>
          <a:lstStyle/>
          <a:p>
            <a:r>
              <a:rPr lang="en-US"/>
              <a:t>What Isn't Changing </a:t>
            </a:r>
          </a:p>
        </p:txBody>
      </p:sp>
      <p:sp>
        <p:nvSpPr>
          <p:cNvPr id="4" name="Table Placeholder 3">
            <a:extLst>
              <a:ext uri="{FF2B5EF4-FFF2-40B4-BE49-F238E27FC236}">
                <a16:creationId xmlns:a16="http://schemas.microsoft.com/office/drawing/2014/main" id="{46079284-5F87-7AA9-2913-95FBBB668A61}"/>
              </a:ext>
            </a:extLst>
          </p:cNvPr>
          <p:cNvSpPr>
            <a:spLocks noGrp="1"/>
          </p:cNvSpPr>
          <p:nvPr>
            <p:ph type="tbl" sz="quarter" idx="10"/>
          </p:nvPr>
        </p:nvSpPr>
        <p:spPr/>
        <p:txBody>
          <a:bodyPr/>
          <a:lstStyle/>
          <a:p>
            <a:endParaRPr lang="en-AU"/>
          </a:p>
        </p:txBody>
      </p:sp>
      <p:sp>
        <p:nvSpPr>
          <p:cNvPr id="6" name="TextBox 5">
            <a:extLst>
              <a:ext uri="{FF2B5EF4-FFF2-40B4-BE49-F238E27FC236}">
                <a16:creationId xmlns:a16="http://schemas.microsoft.com/office/drawing/2014/main" id="{1AB98B23-DC38-03B7-12BC-E4ADDC9E99D7}"/>
              </a:ext>
            </a:extLst>
          </p:cNvPr>
          <p:cNvSpPr txBox="1"/>
          <p:nvPr/>
        </p:nvSpPr>
        <p:spPr>
          <a:xfrm>
            <a:off x="333829" y="878114"/>
            <a:ext cx="5664199"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b="1">
                <a:solidFill>
                  <a:srgbClr val="00B0F0"/>
                </a:solidFill>
                <a:latin typeface="Calibri"/>
              </a:rPr>
              <a:t>The following clauses remain unchanged</a:t>
            </a:r>
            <a:endParaRPr lang="en-US"/>
          </a:p>
        </p:txBody>
      </p:sp>
      <p:graphicFrame>
        <p:nvGraphicFramePr>
          <p:cNvPr id="11" name="Table 10">
            <a:extLst>
              <a:ext uri="{FF2B5EF4-FFF2-40B4-BE49-F238E27FC236}">
                <a16:creationId xmlns:a16="http://schemas.microsoft.com/office/drawing/2014/main" id="{91D32B40-753E-5F56-F8FD-66E2A9E7F007}"/>
              </a:ext>
            </a:extLst>
          </p:cNvPr>
          <p:cNvGraphicFramePr>
            <a:graphicFrameLocks noGrp="1"/>
          </p:cNvGraphicFramePr>
          <p:nvPr>
            <p:extLst>
              <p:ext uri="{D42A27DB-BD31-4B8C-83A1-F6EECF244321}">
                <p14:modId xmlns:p14="http://schemas.microsoft.com/office/powerpoint/2010/main" val="3383588696"/>
              </p:ext>
            </p:extLst>
          </p:nvPr>
        </p:nvGraphicFramePr>
        <p:xfrm>
          <a:off x="324395" y="1185018"/>
          <a:ext cx="11335401" cy="5400813"/>
        </p:xfrm>
        <a:graphic>
          <a:graphicData uri="http://schemas.openxmlformats.org/drawingml/2006/table">
            <a:tbl>
              <a:tblPr firstRow="1" bandRow="1">
                <a:tableStyleId>{5C22544A-7EE6-4342-B048-85BDC9FD1C3A}</a:tableStyleId>
              </a:tblPr>
              <a:tblGrid>
                <a:gridCol w="2889662">
                  <a:extLst>
                    <a:ext uri="{9D8B030D-6E8A-4147-A177-3AD203B41FA5}">
                      <a16:colId xmlns:a16="http://schemas.microsoft.com/office/drawing/2014/main" val="56520153"/>
                    </a:ext>
                  </a:extLst>
                </a:gridCol>
                <a:gridCol w="8445739">
                  <a:extLst>
                    <a:ext uri="{9D8B030D-6E8A-4147-A177-3AD203B41FA5}">
                      <a16:colId xmlns:a16="http://schemas.microsoft.com/office/drawing/2014/main" val="1527800000"/>
                    </a:ext>
                  </a:extLst>
                </a:gridCol>
              </a:tblGrid>
              <a:tr h="544285">
                <a:tc>
                  <a:txBody>
                    <a:bodyPr/>
                    <a:lstStyle/>
                    <a:p>
                      <a:r>
                        <a:rPr lang="en-US" sz="1600"/>
                        <a:t>Clause </a:t>
                      </a:r>
                    </a:p>
                  </a:txBody>
                  <a:tcPr/>
                </a:tc>
                <a:tc>
                  <a:txBody>
                    <a:bodyPr/>
                    <a:lstStyle/>
                    <a:p>
                      <a:r>
                        <a:rPr lang="en-US" sz="1600"/>
                        <a:t>Current </a:t>
                      </a:r>
                    </a:p>
                  </a:txBody>
                  <a:tcPr/>
                </a:tc>
                <a:extLst>
                  <a:ext uri="{0D108BD9-81ED-4DB2-BD59-A6C34878D82A}">
                    <a16:rowId xmlns:a16="http://schemas.microsoft.com/office/drawing/2014/main" val="2177233950"/>
                  </a:ext>
                </a:extLst>
              </a:tr>
              <a:tr h="802652">
                <a:tc>
                  <a:txBody>
                    <a:bodyPr/>
                    <a:lstStyle/>
                    <a:p>
                      <a:r>
                        <a:rPr lang="en-US" sz="1600" b="1">
                          <a:latin typeface="Aptos"/>
                        </a:rPr>
                        <a:t>Objective</a:t>
                      </a:r>
                    </a:p>
                  </a:txBody>
                  <a:tcPr/>
                </a:tc>
                <a:tc>
                  <a:txBody>
                    <a:bodyPr/>
                    <a:lstStyle/>
                    <a:p>
                      <a:pPr lvl="0" algn="l">
                        <a:lnSpc>
                          <a:spcPct val="100000"/>
                        </a:lnSpc>
                        <a:spcBef>
                          <a:spcPts val="0"/>
                        </a:spcBef>
                        <a:spcAft>
                          <a:spcPts val="0"/>
                        </a:spcAft>
                        <a:buNone/>
                      </a:pPr>
                      <a:r>
                        <a:rPr lang="en-US" sz="1600" b="0" i="0" u="none" strike="noStrike" noProof="0">
                          <a:solidFill>
                            <a:srgbClr val="000000"/>
                          </a:solidFill>
                          <a:latin typeface="Aptos"/>
                        </a:rPr>
                        <a:t>This clause confirms that the objective of the Agreement is to set the terms and conditions for employees covered by it.</a:t>
                      </a:r>
                      <a:endParaRPr lang="en-US" sz="1600">
                        <a:latin typeface="Aptos"/>
                      </a:endParaRPr>
                    </a:p>
                    <a:p>
                      <a:pPr lvl="0">
                        <a:buNone/>
                      </a:pPr>
                      <a:endParaRPr lang="en-US" sz="1600">
                        <a:latin typeface="Aptos"/>
                      </a:endParaRPr>
                    </a:p>
                  </a:txBody>
                  <a:tcPr/>
                </a:tc>
                <a:extLst>
                  <a:ext uri="{0D108BD9-81ED-4DB2-BD59-A6C34878D82A}">
                    <a16:rowId xmlns:a16="http://schemas.microsoft.com/office/drawing/2014/main" val="666977441"/>
                  </a:ext>
                </a:extLst>
              </a:tr>
              <a:tr h="802652">
                <a:tc>
                  <a:txBody>
                    <a:bodyPr/>
                    <a:lstStyle/>
                    <a:p>
                      <a:r>
                        <a:rPr lang="en-US" sz="1600" b="1">
                          <a:latin typeface="Aptos"/>
                        </a:rPr>
                        <a:t>Flexibility term</a:t>
                      </a:r>
                    </a:p>
                  </a:txBody>
                  <a:tcPr/>
                </a:tc>
                <a:tc>
                  <a:txBody>
                    <a:bodyPr/>
                    <a:lstStyle/>
                    <a:p>
                      <a:pPr lvl="0" algn="l">
                        <a:lnSpc>
                          <a:spcPct val="100000"/>
                        </a:lnSpc>
                        <a:spcBef>
                          <a:spcPts val="0"/>
                        </a:spcBef>
                        <a:spcAft>
                          <a:spcPts val="0"/>
                        </a:spcAft>
                        <a:buNone/>
                      </a:pPr>
                      <a:r>
                        <a:rPr lang="en-US" sz="1600" b="0" i="0" u="none" strike="noStrike" noProof="0" err="1">
                          <a:solidFill>
                            <a:srgbClr val="000000"/>
                          </a:solidFill>
                          <a:latin typeface="Aptos"/>
                        </a:rPr>
                        <a:t>nbn</a:t>
                      </a:r>
                      <a:r>
                        <a:rPr lang="en-US" sz="1600" b="0" i="0" u="none" strike="noStrike" noProof="0">
                          <a:solidFill>
                            <a:srgbClr val="000000"/>
                          </a:solidFill>
                          <a:latin typeface="Aptos"/>
                        </a:rPr>
                        <a:t> employees still maintain the ability to enter into an Individual Flexibility Arrangement.</a:t>
                      </a:r>
                      <a:endParaRPr lang="en-US" sz="1600">
                        <a:latin typeface="Aptos"/>
                      </a:endParaRPr>
                    </a:p>
                    <a:p>
                      <a:pPr lvl="0">
                        <a:buNone/>
                      </a:pPr>
                      <a:endParaRPr lang="en-US" sz="1600">
                        <a:latin typeface="Aptos"/>
                      </a:endParaRPr>
                    </a:p>
                  </a:txBody>
                  <a:tcPr/>
                </a:tc>
                <a:extLst>
                  <a:ext uri="{0D108BD9-81ED-4DB2-BD59-A6C34878D82A}">
                    <a16:rowId xmlns:a16="http://schemas.microsoft.com/office/drawing/2014/main" val="2452887082"/>
                  </a:ext>
                </a:extLst>
              </a:tr>
              <a:tr h="802652">
                <a:tc>
                  <a:txBody>
                    <a:bodyPr/>
                    <a:lstStyle/>
                    <a:p>
                      <a:pPr lvl="0">
                        <a:buNone/>
                      </a:pPr>
                      <a:r>
                        <a:rPr lang="en-US" sz="1600" b="1">
                          <a:latin typeface="Aptos"/>
                        </a:rPr>
                        <a:t>Consultation</a:t>
                      </a:r>
                    </a:p>
                  </a:txBody>
                  <a:tcPr/>
                </a:tc>
                <a:tc>
                  <a:txBody>
                    <a:bodyPr/>
                    <a:lstStyle/>
                    <a:p>
                      <a:pPr lvl="0">
                        <a:buNone/>
                      </a:pPr>
                      <a:r>
                        <a:rPr lang="en-US" sz="1600">
                          <a:latin typeface="Aptos"/>
                        </a:rPr>
                        <a:t>Except for a minor administrative change to remove unnecessary brackets in clause 8.16, there are n</a:t>
                      </a:r>
                      <a:r>
                        <a:rPr lang="en-US" sz="1600" b="0" i="0" u="none" strike="noStrike" noProof="0">
                          <a:solidFill>
                            <a:srgbClr val="000000"/>
                          </a:solidFill>
                          <a:latin typeface="Aptos"/>
                        </a:rPr>
                        <a:t>o changes to consultation requirements when major changes occur that impact employees, their roster or ordinary hours of work.</a:t>
                      </a:r>
                      <a:endParaRPr lang="en-US" sz="1600">
                        <a:latin typeface="Aptos"/>
                      </a:endParaRPr>
                    </a:p>
                  </a:txBody>
                  <a:tcPr/>
                </a:tc>
                <a:extLst>
                  <a:ext uri="{0D108BD9-81ED-4DB2-BD59-A6C34878D82A}">
                    <a16:rowId xmlns:a16="http://schemas.microsoft.com/office/drawing/2014/main" val="2183499609"/>
                  </a:ext>
                </a:extLst>
              </a:tr>
              <a:tr h="802652">
                <a:tc>
                  <a:txBody>
                    <a:bodyPr/>
                    <a:lstStyle/>
                    <a:p>
                      <a:r>
                        <a:rPr lang="en-US" sz="1600" b="1">
                          <a:latin typeface="Aptos"/>
                        </a:rPr>
                        <a:t>Dispute Resolution </a:t>
                      </a:r>
                    </a:p>
                  </a:txBody>
                  <a:tcPr/>
                </a:tc>
                <a:tc>
                  <a:txBody>
                    <a:bodyPr/>
                    <a:lstStyle/>
                    <a:p>
                      <a:pPr lvl="0" algn="l">
                        <a:lnSpc>
                          <a:spcPct val="100000"/>
                        </a:lnSpc>
                        <a:spcBef>
                          <a:spcPts val="0"/>
                        </a:spcBef>
                        <a:spcAft>
                          <a:spcPts val="0"/>
                        </a:spcAft>
                        <a:buNone/>
                      </a:pPr>
                      <a:r>
                        <a:rPr lang="en-US" sz="1600" b="0" i="0" u="none" strike="noStrike" noProof="0">
                          <a:solidFill>
                            <a:srgbClr val="000000"/>
                          </a:solidFill>
                          <a:latin typeface="Aptos"/>
                        </a:rPr>
                        <a:t>This clause covers the steps involved to resolve a dispute in relation to the agreement or the NES.</a:t>
                      </a:r>
                      <a:endParaRPr lang="en-US" sz="1600">
                        <a:latin typeface="Aptos"/>
                      </a:endParaRPr>
                    </a:p>
                  </a:txBody>
                  <a:tcPr/>
                </a:tc>
                <a:extLst>
                  <a:ext uri="{0D108BD9-81ED-4DB2-BD59-A6C34878D82A}">
                    <a16:rowId xmlns:a16="http://schemas.microsoft.com/office/drawing/2014/main" val="4090514430"/>
                  </a:ext>
                </a:extLst>
              </a:tr>
              <a:tr h="802652">
                <a:tc>
                  <a:txBody>
                    <a:bodyPr/>
                    <a:lstStyle/>
                    <a:p>
                      <a:r>
                        <a:rPr lang="en-US" sz="1600" b="1">
                          <a:latin typeface="Aptos"/>
                        </a:rPr>
                        <a:t>Redundancy </a:t>
                      </a:r>
                    </a:p>
                  </a:txBody>
                  <a:tcPr/>
                </a:tc>
                <a:tc>
                  <a:txBody>
                    <a:bodyPr/>
                    <a:lstStyle/>
                    <a:p>
                      <a:pPr lvl="0" algn="l">
                        <a:lnSpc>
                          <a:spcPct val="100000"/>
                        </a:lnSpc>
                        <a:spcBef>
                          <a:spcPts val="0"/>
                        </a:spcBef>
                        <a:spcAft>
                          <a:spcPts val="0"/>
                        </a:spcAft>
                        <a:buNone/>
                      </a:pPr>
                      <a:r>
                        <a:rPr lang="en-US" sz="1600" b="0" i="0" u="none" strike="noStrike" noProof="0">
                          <a:solidFill>
                            <a:srgbClr val="000000"/>
                          </a:solidFill>
                          <a:latin typeface="Aptos"/>
                        </a:rPr>
                        <a:t>Redundancy provisions remain unchanged.</a:t>
                      </a:r>
                      <a:endParaRPr lang="en-US" sz="1600">
                        <a:latin typeface="Aptos"/>
                      </a:endParaRPr>
                    </a:p>
                  </a:txBody>
                  <a:tcPr/>
                </a:tc>
                <a:extLst>
                  <a:ext uri="{0D108BD9-81ED-4DB2-BD59-A6C34878D82A}">
                    <a16:rowId xmlns:a16="http://schemas.microsoft.com/office/drawing/2014/main" val="1766195645"/>
                  </a:ext>
                </a:extLst>
              </a:tr>
              <a:tr h="802652">
                <a:tc>
                  <a:txBody>
                    <a:bodyPr/>
                    <a:lstStyle/>
                    <a:p>
                      <a:r>
                        <a:rPr lang="en-US" sz="1600" b="1">
                          <a:latin typeface="Aptos"/>
                        </a:rPr>
                        <a:t>Payment of Wages and Allowances</a:t>
                      </a:r>
                    </a:p>
                  </a:txBody>
                  <a:tcPr/>
                </a:tc>
                <a:tc>
                  <a:txBody>
                    <a:bodyPr/>
                    <a:lstStyle/>
                    <a:p>
                      <a:pPr lvl="0" algn="l">
                        <a:lnSpc>
                          <a:spcPct val="100000"/>
                        </a:lnSpc>
                        <a:spcBef>
                          <a:spcPts val="0"/>
                        </a:spcBef>
                        <a:spcAft>
                          <a:spcPts val="0"/>
                        </a:spcAft>
                        <a:buNone/>
                      </a:pPr>
                      <a:r>
                        <a:rPr lang="en-US" sz="1600" b="0" i="0" u="none" strike="noStrike" noProof="0">
                          <a:solidFill>
                            <a:srgbClr val="000000"/>
                          </a:solidFill>
                          <a:latin typeface="Aptos"/>
                        </a:rPr>
                        <a:t>Wages will continue to be paid fortnightly in arrears by electronic funds transfer.</a:t>
                      </a:r>
                      <a:endParaRPr lang="en-US" sz="1600">
                        <a:latin typeface="Aptos"/>
                      </a:endParaRPr>
                    </a:p>
                    <a:p>
                      <a:pPr lvl="0">
                        <a:buNone/>
                      </a:pPr>
                      <a:endParaRPr lang="en-US" sz="1600">
                        <a:latin typeface="Aptos"/>
                      </a:endParaRPr>
                    </a:p>
                  </a:txBody>
                  <a:tcPr/>
                </a:tc>
                <a:extLst>
                  <a:ext uri="{0D108BD9-81ED-4DB2-BD59-A6C34878D82A}">
                    <a16:rowId xmlns:a16="http://schemas.microsoft.com/office/drawing/2014/main" val="789158231"/>
                  </a:ext>
                </a:extLst>
              </a:tr>
            </a:tbl>
          </a:graphicData>
        </a:graphic>
      </p:graphicFrame>
    </p:spTree>
    <p:extLst>
      <p:ext uri="{BB962C8B-B14F-4D97-AF65-F5344CB8AC3E}">
        <p14:creationId xmlns:p14="http://schemas.microsoft.com/office/powerpoint/2010/main" val="40830735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2487E-C04B-C2A3-1D04-7A3DE8BA34A6}"/>
              </a:ext>
            </a:extLst>
          </p:cNvPr>
          <p:cNvSpPr>
            <a:spLocks noGrp="1"/>
          </p:cNvSpPr>
          <p:nvPr>
            <p:ph type="title"/>
          </p:nvPr>
        </p:nvSpPr>
        <p:spPr/>
        <p:txBody>
          <a:bodyPr/>
          <a:lstStyle/>
          <a:p>
            <a:r>
              <a:rPr lang="en-US"/>
              <a:t>What Isn't Changing </a:t>
            </a:r>
          </a:p>
        </p:txBody>
      </p:sp>
      <p:sp>
        <p:nvSpPr>
          <p:cNvPr id="4" name="Table Placeholder 3">
            <a:extLst>
              <a:ext uri="{FF2B5EF4-FFF2-40B4-BE49-F238E27FC236}">
                <a16:creationId xmlns:a16="http://schemas.microsoft.com/office/drawing/2014/main" id="{0E449E8B-254A-0158-718E-8484EF68DFE0}"/>
              </a:ext>
            </a:extLst>
          </p:cNvPr>
          <p:cNvSpPr>
            <a:spLocks noGrp="1"/>
          </p:cNvSpPr>
          <p:nvPr>
            <p:ph type="tbl" sz="quarter" idx="10"/>
          </p:nvPr>
        </p:nvSpPr>
        <p:spPr/>
        <p:txBody>
          <a:bodyPr/>
          <a:lstStyle/>
          <a:p>
            <a:endParaRPr lang="en-AU"/>
          </a:p>
        </p:txBody>
      </p:sp>
      <p:sp>
        <p:nvSpPr>
          <p:cNvPr id="6" name="TextBox 5">
            <a:extLst>
              <a:ext uri="{FF2B5EF4-FFF2-40B4-BE49-F238E27FC236}">
                <a16:creationId xmlns:a16="http://schemas.microsoft.com/office/drawing/2014/main" id="{1F627FD3-A0CB-0D90-4C82-39BD07C9A96C}"/>
              </a:ext>
            </a:extLst>
          </p:cNvPr>
          <p:cNvSpPr txBox="1"/>
          <p:nvPr/>
        </p:nvSpPr>
        <p:spPr>
          <a:xfrm>
            <a:off x="333829" y="878114"/>
            <a:ext cx="5664199"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b="1">
                <a:solidFill>
                  <a:srgbClr val="00B0F0"/>
                </a:solidFill>
                <a:latin typeface="Calibri"/>
              </a:rPr>
              <a:t>The following clauses remain unchanged</a:t>
            </a:r>
            <a:endParaRPr lang="en-US"/>
          </a:p>
        </p:txBody>
      </p:sp>
      <p:graphicFrame>
        <p:nvGraphicFramePr>
          <p:cNvPr id="11" name="Table 10">
            <a:extLst>
              <a:ext uri="{FF2B5EF4-FFF2-40B4-BE49-F238E27FC236}">
                <a16:creationId xmlns:a16="http://schemas.microsoft.com/office/drawing/2014/main" id="{06A24434-BDC6-703A-87C6-5611193AFE5F}"/>
              </a:ext>
            </a:extLst>
          </p:cNvPr>
          <p:cNvGraphicFramePr>
            <a:graphicFrameLocks noGrp="1"/>
          </p:cNvGraphicFramePr>
          <p:nvPr>
            <p:extLst>
              <p:ext uri="{D42A27DB-BD31-4B8C-83A1-F6EECF244321}">
                <p14:modId xmlns:p14="http://schemas.microsoft.com/office/powerpoint/2010/main" val="2494274035"/>
              </p:ext>
            </p:extLst>
          </p:nvPr>
        </p:nvGraphicFramePr>
        <p:xfrm>
          <a:off x="335642" y="1469571"/>
          <a:ext cx="11355192" cy="5096389"/>
        </p:xfrm>
        <a:graphic>
          <a:graphicData uri="http://schemas.openxmlformats.org/drawingml/2006/table">
            <a:tbl>
              <a:tblPr firstRow="1" bandRow="1">
                <a:tableStyleId>{5C22544A-7EE6-4342-B048-85BDC9FD1C3A}</a:tableStyleId>
              </a:tblPr>
              <a:tblGrid>
                <a:gridCol w="2894707">
                  <a:extLst>
                    <a:ext uri="{9D8B030D-6E8A-4147-A177-3AD203B41FA5}">
                      <a16:colId xmlns:a16="http://schemas.microsoft.com/office/drawing/2014/main" val="56520153"/>
                    </a:ext>
                  </a:extLst>
                </a:gridCol>
                <a:gridCol w="8460485">
                  <a:extLst>
                    <a:ext uri="{9D8B030D-6E8A-4147-A177-3AD203B41FA5}">
                      <a16:colId xmlns:a16="http://schemas.microsoft.com/office/drawing/2014/main" val="1527800000"/>
                    </a:ext>
                  </a:extLst>
                </a:gridCol>
              </a:tblGrid>
              <a:tr h="543219">
                <a:tc>
                  <a:txBody>
                    <a:bodyPr/>
                    <a:lstStyle/>
                    <a:p>
                      <a:r>
                        <a:rPr lang="en-US"/>
                        <a:t>Clause </a:t>
                      </a:r>
                    </a:p>
                  </a:txBody>
                  <a:tcPr/>
                </a:tc>
                <a:tc>
                  <a:txBody>
                    <a:bodyPr/>
                    <a:lstStyle/>
                    <a:p>
                      <a:r>
                        <a:rPr lang="en-US"/>
                        <a:t>Current </a:t>
                      </a:r>
                    </a:p>
                  </a:txBody>
                  <a:tcPr/>
                </a:tc>
                <a:extLst>
                  <a:ext uri="{0D108BD9-81ED-4DB2-BD59-A6C34878D82A}">
                    <a16:rowId xmlns:a16="http://schemas.microsoft.com/office/drawing/2014/main" val="2177233950"/>
                  </a:ext>
                </a:extLst>
              </a:tr>
              <a:tr h="1145701">
                <a:tc>
                  <a:txBody>
                    <a:bodyPr/>
                    <a:lstStyle/>
                    <a:p>
                      <a:r>
                        <a:rPr lang="en-US" sz="1800" b="1">
                          <a:latin typeface="Aptos"/>
                        </a:rPr>
                        <a:t>Hours of Work </a:t>
                      </a:r>
                    </a:p>
                  </a:txBody>
                  <a:tcPr/>
                </a:tc>
                <a:tc>
                  <a:txBody>
                    <a:bodyPr/>
                    <a:lstStyle/>
                    <a:p>
                      <a:pPr lvl="0" algn="l">
                        <a:lnSpc>
                          <a:spcPct val="100000"/>
                        </a:lnSpc>
                        <a:spcBef>
                          <a:spcPts val="0"/>
                        </a:spcBef>
                        <a:spcAft>
                          <a:spcPts val="0"/>
                        </a:spcAft>
                        <a:buNone/>
                      </a:pPr>
                      <a:r>
                        <a:rPr lang="en-US" sz="1600" b="0" i="0" u="none" strike="noStrike" noProof="0">
                          <a:solidFill>
                            <a:srgbClr val="000000"/>
                          </a:solidFill>
                          <a:latin typeface="Aptos"/>
                        </a:rPr>
                        <a:t>This clause provides details on the way in which ordinary hours can be arranged and how they can be altered for both day and shift workers. This clause requires </a:t>
                      </a:r>
                      <a:r>
                        <a:rPr lang="en-US" sz="1600" b="0" i="0" u="none" strike="noStrike" noProof="0" err="1">
                          <a:solidFill>
                            <a:srgbClr val="000000"/>
                          </a:solidFill>
                          <a:latin typeface="Aptos"/>
                        </a:rPr>
                        <a:t>nbn</a:t>
                      </a:r>
                      <a:r>
                        <a:rPr lang="en-US" sz="1600" b="0" i="0" u="none" strike="noStrike" noProof="0">
                          <a:solidFill>
                            <a:srgbClr val="000000"/>
                          </a:solidFill>
                          <a:latin typeface="Aptos"/>
                        </a:rPr>
                        <a:t> to stay within the parameters of it, otherwise penalties (such as overtime or penalty rates) apply. This clause has not changed, apart from the updated definition of night shift. </a:t>
                      </a:r>
                      <a:endParaRPr lang="en-US" sz="1600">
                        <a:latin typeface="Aptos"/>
                      </a:endParaRPr>
                    </a:p>
                  </a:txBody>
                  <a:tcPr/>
                </a:tc>
                <a:extLst>
                  <a:ext uri="{0D108BD9-81ED-4DB2-BD59-A6C34878D82A}">
                    <a16:rowId xmlns:a16="http://schemas.microsoft.com/office/drawing/2014/main" val="666977441"/>
                  </a:ext>
                </a:extLst>
              </a:tr>
              <a:tr h="829644">
                <a:tc>
                  <a:txBody>
                    <a:bodyPr/>
                    <a:lstStyle/>
                    <a:p>
                      <a:r>
                        <a:rPr lang="en-US" sz="1800" b="1">
                          <a:latin typeface="Aptos"/>
                        </a:rPr>
                        <a:t>Personal and Compassionate Leave</a:t>
                      </a:r>
                    </a:p>
                  </a:txBody>
                  <a:tcPr/>
                </a:tc>
                <a:tc>
                  <a:txBody>
                    <a:bodyPr/>
                    <a:lstStyle/>
                    <a:p>
                      <a:pPr lvl="0" algn="l">
                        <a:lnSpc>
                          <a:spcPct val="100000"/>
                        </a:lnSpc>
                        <a:spcBef>
                          <a:spcPts val="0"/>
                        </a:spcBef>
                        <a:spcAft>
                          <a:spcPts val="0"/>
                        </a:spcAft>
                        <a:buNone/>
                      </a:pPr>
                      <a:r>
                        <a:rPr lang="en-US" sz="1600" b="0" i="0" u="none" strike="noStrike" noProof="0">
                          <a:solidFill>
                            <a:srgbClr val="000000"/>
                          </a:solidFill>
                          <a:latin typeface="Aptos"/>
                        </a:rPr>
                        <a:t>This clause outlines an employee's entitlement to take personal or compassionate leave. This remains unchanged. </a:t>
                      </a:r>
                    </a:p>
                    <a:p>
                      <a:pPr lvl="0">
                        <a:buNone/>
                      </a:pPr>
                      <a:endParaRPr lang="en-US" sz="1600">
                        <a:latin typeface="Aptos"/>
                      </a:endParaRPr>
                    </a:p>
                  </a:txBody>
                  <a:tcPr/>
                </a:tc>
                <a:extLst>
                  <a:ext uri="{0D108BD9-81ED-4DB2-BD59-A6C34878D82A}">
                    <a16:rowId xmlns:a16="http://schemas.microsoft.com/office/drawing/2014/main" val="2452887082"/>
                  </a:ext>
                </a:extLst>
              </a:tr>
              <a:tr h="859275">
                <a:tc>
                  <a:txBody>
                    <a:bodyPr/>
                    <a:lstStyle/>
                    <a:p>
                      <a:r>
                        <a:rPr lang="en-US" sz="1800" b="1">
                          <a:latin typeface="Aptos"/>
                        </a:rPr>
                        <a:t>Community Service Leave </a:t>
                      </a:r>
                    </a:p>
                  </a:txBody>
                  <a:tcPr/>
                </a:tc>
                <a:tc>
                  <a:txBody>
                    <a:bodyPr/>
                    <a:lstStyle/>
                    <a:p>
                      <a:pPr lvl="0" algn="l">
                        <a:lnSpc>
                          <a:spcPct val="100000"/>
                        </a:lnSpc>
                        <a:spcBef>
                          <a:spcPts val="0"/>
                        </a:spcBef>
                        <a:spcAft>
                          <a:spcPts val="0"/>
                        </a:spcAft>
                        <a:buNone/>
                      </a:pPr>
                      <a:r>
                        <a:rPr lang="en-US" sz="1600" b="0" i="0" u="none" strike="noStrike" kern="1200" noProof="0">
                          <a:solidFill>
                            <a:srgbClr val="000000"/>
                          </a:solidFill>
                          <a:latin typeface="Aptos"/>
                          <a:ea typeface="+mn-ea"/>
                          <a:cs typeface="+mn-cs"/>
                        </a:rPr>
                        <a:t>This clause outlines an employee's entitlement to take leave in community service activities, </a:t>
                      </a:r>
                      <a:r>
                        <a:rPr lang="en-US" sz="1600" b="0" i="0" u="none" strike="noStrike" kern="1200" noProof="0">
                          <a:solidFill>
                            <a:schemeClr val="tx1"/>
                          </a:solidFill>
                          <a:latin typeface="Aptos"/>
                          <a:ea typeface="+mn-ea"/>
                          <a:cs typeface="+mn-cs"/>
                        </a:rPr>
                        <a:t>including voluntary emergency </a:t>
                      </a:r>
                      <a:r>
                        <a:rPr lang="en-US" sz="1600" b="0" i="0" u="none" strike="noStrike" kern="1200" noProof="0">
                          <a:solidFill>
                            <a:srgbClr val="000000"/>
                          </a:solidFill>
                          <a:latin typeface="Aptos"/>
                          <a:ea typeface="+mn-ea"/>
                          <a:cs typeface="+mn-cs"/>
                        </a:rPr>
                        <a:t>management and jury service. This remains unchanged. </a:t>
                      </a:r>
                    </a:p>
                    <a:p>
                      <a:pPr lvl="0">
                        <a:buNone/>
                      </a:pPr>
                      <a:endParaRPr lang="en-US" sz="1800">
                        <a:latin typeface="Aptos"/>
                      </a:endParaRPr>
                    </a:p>
                  </a:txBody>
                  <a:tcPr/>
                </a:tc>
                <a:extLst>
                  <a:ext uri="{0D108BD9-81ED-4DB2-BD59-A6C34878D82A}">
                    <a16:rowId xmlns:a16="http://schemas.microsoft.com/office/drawing/2014/main" val="4090514430"/>
                  </a:ext>
                </a:extLst>
              </a:tr>
              <a:tr h="859275">
                <a:tc>
                  <a:txBody>
                    <a:bodyPr/>
                    <a:lstStyle/>
                    <a:p>
                      <a:r>
                        <a:rPr lang="en-US" sz="1800" b="1">
                          <a:latin typeface="Aptos"/>
                        </a:rPr>
                        <a:t>Structured Training </a:t>
                      </a:r>
                    </a:p>
                  </a:txBody>
                  <a:tcPr/>
                </a:tc>
                <a:tc>
                  <a:txBody>
                    <a:bodyPr/>
                    <a:lstStyle/>
                    <a:p>
                      <a:pPr lvl="0" algn="l">
                        <a:lnSpc>
                          <a:spcPct val="100000"/>
                        </a:lnSpc>
                        <a:spcBef>
                          <a:spcPts val="0"/>
                        </a:spcBef>
                        <a:spcAft>
                          <a:spcPts val="0"/>
                        </a:spcAft>
                        <a:buNone/>
                      </a:pPr>
                      <a:r>
                        <a:rPr lang="en-US" sz="1600" b="0" i="0" u="none" strike="noStrike" noProof="0">
                          <a:solidFill>
                            <a:srgbClr val="000000"/>
                          </a:solidFill>
                          <a:latin typeface="Aptos"/>
                        </a:rPr>
                        <a:t>Refers to structured training and the entitlement for this to count as work time. This remains unchanged.</a:t>
                      </a:r>
                      <a:endParaRPr lang="en-US" sz="1600">
                        <a:latin typeface="Aptos"/>
                      </a:endParaRPr>
                    </a:p>
                    <a:p>
                      <a:pPr lvl="0">
                        <a:buNone/>
                      </a:pPr>
                      <a:endParaRPr lang="en-US" sz="1800">
                        <a:latin typeface="Aptos"/>
                      </a:endParaRPr>
                    </a:p>
                  </a:txBody>
                  <a:tcPr/>
                </a:tc>
                <a:extLst>
                  <a:ext uri="{0D108BD9-81ED-4DB2-BD59-A6C34878D82A}">
                    <a16:rowId xmlns:a16="http://schemas.microsoft.com/office/drawing/2014/main" val="1766195645"/>
                  </a:ext>
                </a:extLst>
              </a:tr>
              <a:tr h="859275">
                <a:tc>
                  <a:txBody>
                    <a:bodyPr/>
                    <a:lstStyle/>
                    <a:p>
                      <a:r>
                        <a:rPr lang="en-US" sz="1800" b="1">
                          <a:latin typeface="Aptos"/>
                        </a:rPr>
                        <a:t>Higher duties</a:t>
                      </a:r>
                    </a:p>
                  </a:txBody>
                  <a:tcPr/>
                </a:tc>
                <a:tc>
                  <a:txBody>
                    <a:bodyPr/>
                    <a:lstStyle/>
                    <a:p>
                      <a:pPr lvl="0">
                        <a:buNone/>
                      </a:pPr>
                      <a:r>
                        <a:rPr lang="en-AU" sz="1600" b="0" i="0" u="none" strike="noStrike" kern="1200">
                          <a:solidFill>
                            <a:srgbClr val="000000"/>
                          </a:solidFill>
                          <a:latin typeface="Aptos"/>
                          <a:ea typeface="+mn-ea"/>
                          <a:cs typeface="+mn-cs"/>
                        </a:rPr>
                        <a:t>Employees are still entitled to a higher duties allowance where they work more than 1 continuous day. The allowance is the difference between the employee’s current base rate of pay and the minimum base rate of pay for the band in which the higher job is located.</a:t>
                      </a:r>
                      <a:endParaRPr lang="en-US" sz="1600" b="0" i="0" u="none" strike="noStrike" kern="1200">
                        <a:solidFill>
                          <a:srgbClr val="000000"/>
                        </a:solidFill>
                        <a:latin typeface="Aptos"/>
                        <a:ea typeface="+mn-ea"/>
                        <a:cs typeface="+mn-cs"/>
                      </a:endParaRPr>
                    </a:p>
                  </a:txBody>
                  <a:tcPr/>
                </a:tc>
                <a:extLst>
                  <a:ext uri="{0D108BD9-81ED-4DB2-BD59-A6C34878D82A}">
                    <a16:rowId xmlns:a16="http://schemas.microsoft.com/office/drawing/2014/main" val="2197872727"/>
                  </a:ext>
                </a:extLst>
              </a:tr>
            </a:tbl>
          </a:graphicData>
        </a:graphic>
      </p:graphicFrame>
    </p:spTree>
    <p:extLst>
      <p:ext uri="{BB962C8B-B14F-4D97-AF65-F5344CB8AC3E}">
        <p14:creationId xmlns:p14="http://schemas.microsoft.com/office/powerpoint/2010/main" val="17116071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D6EEDB-113E-A885-9285-850CDEB42E2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B693AAE-3DA4-0DA9-3FF3-2C25F3BC37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think-cell data - do not delete" hidden="1">
                        <a:extLst>
                          <a:ext uri="{FF2B5EF4-FFF2-40B4-BE49-F238E27FC236}">
                            <a16:creationId xmlns:a16="http://schemas.microsoft.com/office/drawing/2014/main" id="{4B693AAE-3DA4-0DA9-3FF3-2C25F3BC37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7312ACBB-C0E2-AF1C-B14A-F4997AF3123D}"/>
              </a:ext>
            </a:extLst>
          </p:cNvPr>
          <p:cNvSpPr txBox="1">
            <a:spLocks/>
          </p:cNvSpPr>
          <p:nvPr/>
        </p:nvSpPr>
        <p:spPr>
          <a:xfrm>
            <a:off x="347677" y="197620"/>
            <a:ext cx="10715342" cy="550356"/>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4100" b="1" i="0" kern="1200">
                <a:solidFill>
                  <a:schemeClr val="tx1"/>
                </a:solidFill>
                <a:latin typeface="+mj-lt"/>
                <a:ea typeface="+mj-ea"/>
                <a:cs typeface="+mj-cs"/>
              </a:defRPr>
            </a:lvl1pPr>
          </a:lstStyle>
          <a:p>
            <a:pPr>
              <a:defRPr/>
            </a:pPr>
            <a:r>
              <a:rPr lang="en-US" sz="3600">
                <a:solidFill>
                  <a:prstClr val="black"/>
                </a:solidFill>
                <a:latin typeface="Aptos Display" panose="02110004020202020204"/>
              </a:rPr>
              <a:t>Access Period and Vote</a:t>
            </a:r>
            <a:endParaRPr lang="en-US" sz="3600" b="1" i="0" u="none" strike="noStrike" kern="1200" cap="none" spc="0" normalizeH="0" baseline="0" noProof="0">
              <a:ln>
                <a:noFill/>
              </a:ln>
              <a:solidFill>
                <a:prstClr val="black"/>
              </a:solidFill>
              <a:effectLst/>
              <a:uLnTx/>
              <a:uFillTx/>
              <a:latin typeface="Aptos Display" panose="02110004020202020204"/>
            </a:endParaRPr>
          </a:p>
        </p:txBody>
      </p:sp>
      <p:pic>
        <p:nvPicPr>
          <p:cNvPr id="3" name="Picture 2">
            <a:extLst>
              <a:ext uri="{FF2B5EF4-FFF2-40B4-BE49-F238E27FC236}">
                <a16:creationId xmlns:a16="http://schemas.microsoft.com/office/drawing/2014/main" id="{86C9475A-E5F8-5E7C-59EE-596484397263}"/>
              </a:ext>
            </a:extLst>
          </p:cNvPr>
          <p:cNvPicPr>
            <a:picLocks noChangeAspect="1"/>
          </p:cNvPicPr>
          <p:nvPr/>
        </p:nvPicPr>
        <p:blipFill>
          <a:blip r:embed="rId5"/>
          <a:stretch>
            <a:fillRect/>
          </a:stretch>
        </p:blipFill>
        <p:spPr>
          <a:xfrm>
            <a:off x="1732643" y="3023949"/>
            <a:ext cx="10105572" cy="229533"/>
          </a:xfrm>
          <a:prstGeom prst="rect">
            <a:avLst/>
          </a:prstGeom>
        </p:spPr>
      </p:pic>
      <p:sp>
        <p:nvSpPr>
          <p:cNvPr id="6" name="Oval 5">
            <a:extLst>
              <a:ext uri="{FF2B5EF4-FFF2-40B4-BE49-F238E27FC236}">
                <a16:creationId xmlns:a16="http://schemas.microsoft.com/office/drawing/2014/main" id="{25CE4165-E3A9-9118-1F94-1D8F796C51DF}"/>
              </a:ext>
            </a:extLst>
          </p:cNvPr>
          <p:cNvSpPr/>
          <p:nvPr/>
        </p:nvSpPr>
        <p:spPr>
          <a:xfrm>
            <a:off x="640772" y="2532578"/>
            <a:ext cx="1097642" cy="1152070"/>
          </a:xfrm>
          <a:prstGeom prst="ellipse">
            <a:avLst/>
          </a:prstGeom>
          <a:solidFill>
            <a:srgbClr val="8EB5FF"/>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dirty="0"/>
              <a:t>6</a:t>
            </a:r>
          </a:p>
          <a:p>
            <a:pPr algn="ctr"/>
            <a:r>
              <a:rPr lang="en-US" sz="1200"/>
              <a:t>February</a:t>
            </a:r>
          </a:p>
        </p:txBody>
      </p:sp>
      <p:pic>
        <p:nvPicPr>
          <p:cNvPr id="7" name="Picture 6" descr="A black and white logo&#10;&#10;AI-generated content may be incorrect.">
            <a:extLst>
              <a:ext uri="{FF2B5EF4-FFF2-40B4-BE49-F238E27FC236}">
                <a16:creationId xmlns:a16="http://schemas.microsoft.com/office/drawing/2014/main" id="{6A72AF93-BD4D-7CF3-6917-11C1DE65B29A}"/>
              </a:ext>
            </a:extLst>
          </p:cNvPr>
          <p:cNvPicPr>
            <a:picLocks noChangeAspect="1"/>
          </p:cNvPicPr>
          <p:nvPr/>
        </p:nvPicPr>
        <p:blipFill>
          <a:blip r:embed="rId6"/>
          <a:stretch>
            <a:fillRect/>
          </a:stretch>
        </p:blipFill>
        <p:spPr>
          <a:xfrm>
            <a:off x="1191305" y="2101396"/>
            <a:ext cx="2298247" cy="341993"/>
          </a:xfrm>
          <a:prstGeom prst="rect">
            <a:avLst/>
          </a:prstGeom>
        </p:spPr>
      </p:pic>
      <p:sp>
        <p:nvSpPr>
          <p:cNvPr id="9" name="TextBox 8">
            <a:extLst>
              <a:ext uri="{FF2B5EF4-FFF2-40B4-BE49-F238E27FC236}">
                <a16:creationId xmlns:a16="http://schemas.microsoft.com/office/drawing/2014/main" id="{CF70CABC-5674-F8A0-689E-DBBA8D651B4F}"/>
              </a:ext>
            </a:extLst>
          </p:cNvPr>
          <p:cNvSpPr txBox="1"/>
          <p:nvPr/>
        </p:nvSpPr>
        <p:spPr>
          <a:xfrm>
            <a:off x="525319" y="1713675"/>
            <a:ext cx="383968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t>Business Unit Session and Daily Q&amp;A Drop In </a:t>
            </a:r>
          </a:p>
        </p:txBody>
      </p:sp>
      <p:sp>
        <p:nvSpPr>
          <p:cNvPr id="10" name="Oval 9">
            <a:extLst>
              <a:ext uri="{FF2B5EF4-FFF2-40B4-BE49-F238E27FC236}">
                <a16:creationId xmlns:a16="http://schemas.microsoft.com/office/drawing/2014/main" id="{0FC62A5E-209A-D929-393A-3C867BBB9290}"/>
              </a:ext>
            </a:extLst>
          </p:cNvPr>
          <p:cNvSpPr/>
          <p:nvPr/>
        </p:nvSpPr>
        <p:spPr>
          <a:xfrm>
            <a:off x="5403272" y="2568863"/>
            <a:ext cx="1097642" cy="1152070"/>
          </a:xfrm>
          <a:prstGeom prst="ellipse">
            <a:avLst/>
          </a:prstGeom>
          <a:solidFill>
            <a:srgbClr val="8EB5FF"/>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t>14 February</a:t>
            </a:r>
          </a:p>
        </p:txBody>
      </p:sp>
      <p:sp>
        <p:nvSpPr>
          <p:cNvPr id="11" name="Oval 10">
            <a:extLst>
              <a:ext uri="{FF2B5EF4-FFF2-40B4-BE49-F238E27FC236}">
                <a16:creationId xmlns:a16="http://schemas.microsoft.com/office/drawing/2014/main" id="{CF8505DD-6A86-C74B-6046-2A32639454F4}"/>
              </a:ext>
            </a:extLst>
          </p:cNvPr>
          <p:cNvSpPr/>
          <p:nvPr/>
        </p:nvSpPr>
        <p:spPr>
          <a:xfrm>
            <a:off x="7798128" y="2568863"/>
            <a:ext cx="1097642" cy="1152070"/>
          </a:xfrm>
          <a:prstGeom prst="ellipse">
            <a:avLst/>
          </a:prstGeom>
          <a:solidFill>
            <a:srgbClr val="8EB5FF"/>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t>20 February</a:t>
            </a:r>
          </a:p>
        </p:txBody>
      </p:sp>
      <p:sp>
        <p:nvSpPr>
          <p:cNvPr id="13" name="Oval 12">
            <a:extLst>
              <a:ext uri="{FF2B5EF4-FFF2-40B4-BE49-F238E27FC236}">
                <a16:creationId xmlns:a16="http://schemas.microsoft.com/office/drawing/2014/main" id="{AB9BB88A-7EDD-195C-D609-95CA1E942E95}"/>
              </a:ext>
            </a:extLst>
          </p:cNvPr>
          <p:cNvSpPr/>
          <p:nvPr/>
        </p:nvSpPr>
        <p:spPr>
          <a:xfrm>
            <a:off x="10256486" y="2532577"/>
            <a:ext cx="1097642" cy="1152070"/>
          </a:xfrm>
          <a:prstGeom prst="ellipse">
            <a:avLst/>
          </a:prstGeom>
          <a:solidFill>
            <a:srgbClr val="8EB5FF"/>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t>21 February</a:t>
            </a:r>
          </a:p>
        </p:txBody>
      </p:sp>
      <p:sp>
        <p:nvSpPr>
          <p:cNvPr id="14" name="Oval 13">
            <a:extLst>
              <a:ext uri="{FF2B5EF4-FFF2-40B4-BE49-F238E27FC236}">
                <a16:creationId xmlns:a16="http://schemas.microsoft.com/office/drawing/2014/main" id="{CC400A11-12E0-09FD-67FB-699DBEF189BB}"/>
              </a:ext>
            </a:extLst>
          </p:cNvPr>
          <p:cNvSpPr/>
          <p:nvPr/>
        </p:nvSpPr>
        <p:spPr>
          <a:xfrm>
            <a:off x="2944914" y="2532578"/>
            <a:ext cx="1097642" cy="1152070"/>
          </a:xfrm>
          <a:prstGeom prst="ellipse">
            <a:avLst/>
          </a:prstGeom>
          <a:solidFill>
            <a:srgbClr val="8EB5FF"/>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t>13 February</a:t>
            </a:r>
          </a:p>
        </p:txBody>
      </p:sp>
      <p:sp>
        <p:nvSpPr>
          <p:cNvPr id="16" name="TextBox 15">
            <a:extLst>
              <a:ext uri="{FF2B5EF4-FFF2-40B4-BE49-F238E27FC236}">
                <a16:creationId xmlns:a16="http://schemas.microsoft.com/office/drawing/2014/main" id="{534ED01E-5FD8-93FF-A24D-B995355AB392}"/>
              </a:ext>
            </a:extLst>
          </p:cNvPr>
          <p:cNvSpPr txBox="1"/>
          <p:nvPr/>
        </p:nvSpPr>
        <p:spPr>
          <a:xfrm>
            <a:off x="361208" y="3847109"/>
            <a:ext cx="1662544"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t>Commence Access Period &amp;  Explanatory Sessions</a:t>
            </a:r>
          </a:p>
        </p:txBody>
      </p:sp>
      <p:sp>
        <p:nvSpPr>
          <p:cNvPr id="17" name="TextBox 16">
            <a:extLst>
              <a:ext uri="{FF2B5EF4-FFF2-40B4-BE49-F238E27FC236}">
                <a16:creationId xmlns:a16="http://schemas.microsoft.com/office/drawing/2014/main" id="{B2625007-D751-8673-FCB9-33912D7735DE}"/>
              </a:ext>
            </a:extLst>
          </p:cNvPr>
          <p:cNvSpPr txBox="1"/>
          <p:nvPr/>
        </p:nvSpPr>
        <p:spPr>
          <a:xfrm>
            <a:off x="2665350" y="3847108"/>
            <a:ext cx="1662544"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t> Access Period Concludes</a:t>
            </a:r>
          </a:p>
        </p:txBody>
      </p:sp>
      <p:sp>
        <p:nvSpPr>
          <p:cNvPr id="18" name="TextBox 17">
            <a:extLst>
              <a:ext uri="{FF2B5EF4-FFF2-40B4-BE49-F238E27FC236}">
                <a16:creationId xmlns:a16="http://schemas.microsoft.com/office/drawing/2014/main" id="{B01E0F8B-EFE9-3E9E-5A03-174D09918F36}"/>
              </a:ext>
            </a:extLst>
          </p:cNvPr>
          <p:cNvSpPr txBox="1"/>
          <p:nvPr/>
        </p:nvSpPr>
        <p:spPr>
          <a:xfrm>
            <a:off x="5123706" y="3847107"/>
            <a:ext cx="1836977"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t>Voting Commences at 8am </a:t>
            </a:r>
          </a:p>
        </p:txBody>
      </p:sp>
      <p:sp>
        <p:nvSpPr>
          <p:cNvPr id="19" name="TextBox 18">
            <a:extLst>
              <a:ext uri="{FF2B5EF4-FFF2-40B4-BE49-F238E27FC236}">
                <a16:creationId xmlns:a16="http://schemas.microsoft.com/office/drawing/2014/main" id="{426E21A8-22B8-1475-E8C2-46742FED2962}"/>
              </a:ext>
            </a:extLst>
          </p:cNvPr>
          <p:cNvSpPr txBox="1"/>
          <p:nvPr/>
        </p:nvSpPr>
        <p:spPr>
          <a:xfrm>
            <a:off x="7518564" y="3847107"/>
            <a:ext cx="1662544"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t>Voting Period Closes at 5pm</a:t>
            </a:r>
          </a:p>
        </p:txBody>
      </p:sp>
      <p:sp>
        <p:nvSpPr>
          <p:cNvPr id="20" name="TextBox 19">
            <a:extLst>
              <a:ext uri="{FF2B5EF4-FFF2-40B4-BE49-F238E27FC236}">
                <a16:creationId xmlns:a16="http://schemas.microsoft.com/office/drawing/2014/main" id="{88D452A9-CD16-5240-A9F8-07F400BEFFC7}"/>
              </a:ext>
            </a:extLst>
          </p:cNvPr>
          <p:cNvSpPr txBox="1"/>
          <p:nvPr/>
        </p:nvSpPr>
        <p:spPr>
          <a:xfrm>
            <a:off x="9976921" y="3847107"/>
            <a:ext cx="1662544"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t>Announcement of Vote Outcome</a:t>
            </a:r>
          </a:p>
        </p:txBody>
      </p:sp>
      <p:pic>
        <p:nvPicPr>
          <p:cNvPr id="21" name="Picture 20" descr="A black and white logo&#10;&#10;AI-generated content may be incorrect.">
            <a:extLst>
              <a:ext uri="{FF2B5EF4-FFF2-40B4-BE49-F238E27FC236}">
                <a16:creationId xmlns:a16="http://schemas.microsoft.com/office/drawing/2014/main" id="{BF77D984-B92B-4FBD-1ECA-381C11F39669}"/>
              </a:ext>
            </a:extLst>
          </p:cNvPr>
          <p:cNvPicPr>
            <a:picLocks noChangeAspect="1"/>
          </p:cNvPicPr>
          <p:nvPr/>
        </p:nvPicPr>
        <p:blipFill>
          <a:blip r:embed="rId7"/>
          <a:stretch>
            <a:fillRect/>
          </a:stretch>
        </p:blipFill>
        <p:spPr>
          <a:xfrm>
            <a:off x="5953804" y="5294539"/>
            <a:ext cx="2661105" cy="441779"/>
          </a:xfrm>
          <a:prstGeom prst="rect">
            <a:avLst/>
          </a:prstGeom>
        </p:spPr>
      </p:pic>
      <p:sp>
        <p:nvSpPr>
          <p:cNvPr id="22" name="TextBox 21">
            <a:extLst>
              <a:ext uri="{FF2B5EF4-FFF2-40B4-BE49-F238E27FC236}">
                <a16:creationId xmlns:a16="http://schemas.microsoft.com/office/drawing/2014/main" id="{DA360CB2-2A93-2D03-BE14-3A86FEE3ED8A}"/>
              </a:ext>
            </a:extLst>
          </p:cNvPr>
          <p:cNvSpPr txBox="1"/>
          <p:nvPr/>
        </p:nvSpPr>
        <p:spPr>
          <a:xfrm>
            <a:off x="5155530" y="5761990"/>
            <a:ext cx="4372053"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t>13 February: Receive Link to Vote </a:t>
            </a:r>
            <a:endParaRPr lang="en-US"/>
          </a:p>
          <a:p>
            <a:pPr algn="ctr"/>
            <a:r>
              <a:rPr lang="en-US" sz="1400" b="1"/>
              <a:t>8am, 14 February (AEDT): Online Voting Open</a:t>
            </a:r>
          </a:p>
          <a:p>
            <a:pPr algn="ctr"/>
            <a:r>
              <a:rPr lang="en-US" sz="1400" b="1"/>
              <a:t>5pm, 20 February (AEDT): Online Voting Closes</a:t>
            </a:r>
          </a:p>
          <a:p>
            <a:endParaRPr lang="en-US"/>
          </a:p>
        </p:txBody>
      </p:sp>
    </p:spTree>
    <p:extLst>
      <p:ext uri="{BB962C8B-B14F-4D97-AF65-F5344CB8AC3E}">
        <p14:creationId xmlns:p14="http://schemas.microsoft.com/office/powerpoint/2010/main" val="3662004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FC118-05A2-A72B-6B96-C84784AB87D1}"/>
              </a:ext>
            </a:extLst>
          </p:cNvPr>
          <p:cNvSpPr>
            <a:spLocks noGrp="1"/>
          </p:cNvSpPr>
          <p:nvPr>
            <p:ph type="title"/>
          </p:nvPr>
        </p:nvSpPr>
        <p:spPr/>
        <p:txBody>
          <a:bodyPr/>
          <a:lstStyle/>
          <a:p>
            <a:r>
              <a:rPr lang="en-US"/>
              <a:t>Summary of the nbn offer</a:t>
            </a:r>
          </a:p>
        </p:txBody>
      </p:sp>
      <p:graphicFrame>
        <p:nvGraphicFramePr>
          <p:cNvPr id="4" name="Diagram 3">
            <a:extLst>
              <a:ext uri="{FF2B5EF4-FFF2-40B4-BE49-F238E27FC236}">
                <a16:creationId xmlns:a16="http://schemas.microsoft.com/office/drawing/2014/main" id="{59F89EAF-66D7-9832-6400-2CDDE1F2E980}"/>
              </a:ext>
            </a:extLst>
          </p:cNvPr>
          <p:cNvGraphicFramePr/>
          <p:nvPr>
            <p:extLst>
              <p:ext uri="{D42A27DB-BD31-4B8C-83A1-F6EECF244321}">
                <p14:modId xmlns:p14="http://schemas.microsoft.com/office/powerpoint/2010/main" val="779444646"/>
              </p:ext>
            </p:extLst>
          </p:nvPr>
        </p:nvGraphicFramePr>
        <p:xfrm>
          <a:off x="637919" y="597408"/>
          <a:ext cx="11250649" cy="65969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822293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6F659-AE00-325D-3598-D36A715894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B433D8-9BEE-3BC1-EA80-718FEF6DF4E3}"/>
              </a:ext>
            </a:extLst>
          </p:cNvPr>
          <p:cNvSpPr>
            <a:spLocks noGrp="1"/>
          </p:cNvSpPr>
          <p:nvPr>
            <p:ph type="ctrTitle"/>
          </p:nvPr>
        </p:nvSpPr>
        <p:spPr>
          <a:xfrm>
            <a:off x="328553" y="288944"/>
            <a:ext cx="9982119" cy="1428748"/>
          </a:xfrm>
        </p:spPr>
        <p:txBody>
          <a:bodyPr/>
          <a:lstStyle/>
          <a:p>
            <a:r>
              <a:rPr lang="en-US">
                <a:ea typeface="+mj-lt"/>
                <a:cs typeface="+mj-lt"/>
              </a:rPr>
              <a:t>Questions </a:t>
            </a:r>
            <a:endParaRPr lang="en-US"/>
          </a:p>
        </p:txBody>
      </p:sp>
      <p:sp>
        <p:nvSpPr>
          <p:cNvPr id="3" name="Text Placeholder 2">
            <a:extLst>
              <a:ext uri="{FF2B5EF4-FFF2-40B4-BE49-F238E27FC236}">
                <a16:creationId xmlns:a16="http://schemas.microsoft.com/office/drawing/2014/main" id="{A3109AD1-0D34-D869-A711-2B98F5CA9F1B}"/>
              </a:ext>
            </a:extLst>
          </p:cNvPr>
          <p:cNvSpPr>
            <a:spLocks noGrp="1"/>
          </p:cNvSpPr>
          <p:nvPr>
            <p:ph type="body" sz="quarter" idx="10"/>
          </p:nvPr>
        </p:nvSpPr>
        <p:spPr>
          <a:xfrm>
            <a:off x="8092751" y="3373016"/>
            <a:ext cx="4099249" cy="3095625"/>
          </a:xfrm>
        </p:spPr>
        <p:txBody>
          <a:bodyPr/>
          <a:lstStyle/>
          <a:p>
            <a:r>
              <a:rPr lang="en-US"/>
              <a:t> </a:t>
            </a:r>
          </a:p>
        </p:txBody>
      </p:sp>
      <p:pic>
        <p:nvPicPr>
          <p:cNvPr id="5" name="Picture 4" descr="A black question mark on a white background&#10;&#10;Description automatically generated">
            <a:extLst>
              <a:ext uri="{FF2B5EF4-FFF2-40B4-BE49-F238E27FC236}">
                <a16:creationId xmlns:a16="http://schemas.microsoft.com/office/drawing/2014/main" id="{45B1D473-FCEE-1C50-73FE-9CD301052C8B}"/>
              </a:ext>
            </a:extLst>
          </p:cNvPr>
          <p:cNvPicPr>
            <a:picLocks noChangeAspect="1"/>
          </p:cNvPicPr>
          <p:nvPr/>
        </p:nvPicPr>
        <p:blipFill>
          <a:blip r:embed="rId3"/>
          <a:stretch>
            <a:fillRect/>
          </a:stretch>
        </p:blipFill>
        <p:spPr>
          <a:xfrm>
            <a:off x="2499591" y="1410854"/>
            <a:ext cx="3429000" cy="3505200"/>
          </a:xfrm>
          <a:prstGeom prst="rect">
            <a:avLst/>
          </a:prstGeom>
        </p:spPr>
      </p:pic>
    </p:spTree>
    <p:extLst>
      <p:ext uri="{BB962C8B-B14F-4D97-AF65-F5344CB8AC3E}">
        <p14:creationId xmlns:p14="http://schemas.microsoft.com/office/powerpoint/2010/main" val="38393849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6F659-AE00-325D-3598-D36A715894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B433D8-9BEE-3BC1-EA80-718FEF6DF4E3}"/>
              </a:ext>
            </a:extLst>
          </p:cNvPr>
          <p:cNvSpPr>
            <a:spLocks noGrp="1"/>
          </p:cNvSpPr>
          <p:nvPr>
            <p:ph type="ctrTitle"/>
          </p:nvPr>
        </p:nvSpPr>
        <p:spPr>
          <a:xfrm>
            <a:off x="328553" y="288944"/>
            <a:ext cx="9982119" cy="1428748"/>
          </a:xfrm>
        </p:spPr>
        <p:txBody>
          <a:bodyPr/>
          <a:lstStyle/>
          <a:p>
            <a:r>
              <a:rPr lang="en-US" dirty="0">
                <a:ea typeface="+mj-lt"/>
                <a:cs typeface="+mj-lt"/>
              </a:rPr>
              <a:t>Agenda</a:t>
            </a:r>
            <a:endParaRPr lang="en-US" dirty="0"/>
          </a:p>
        </p:txBody>
      </p:sp>
      <p:sp>
        <p:nvSpPr>
          <p:cNvPr id="3" name="Text Placeholder 2">
            <a:extLst>
              <a:ext uri="{FF2B5EF4-FFF2-40B4-BE49-F238E27FC236}">
                <a16:creationId xmlns:a16="http://schemas.microsoft.com/office/drawing/2014/main" id="{A3109AD1-0D34-D869-A711-2B98F5CA9F1B}"/>
              </a:ext>
            </a:extLst>
          </p:cNvPr>
          <p:cNvSpPr>
            <a:spLocks noGrp="1"/>
          </p:cNvSpPr>
          <p:nvPr>
            <p:ph type="body" sz="quarter" idx="10"/>
          </p:nvPr>
        </p:nvSpPr>
        <p:spPr>
          <a:xfrm>
            <a:off x="8092751" y="3373016"/>
            <a:ext cx="4099249" cy="3095625"/>
          </a:xfrm>
        </p:spPr>
        <p:txBody>
          <a:bodyPr/>
          <a:lstStyle/>
          <a:p>
            <a:r>
              <a:rPr lang="en-US" dirty="0"/>
              <a:t> </a:t>
            </a:r>
          </a:p>
        </p:txBody>
      </p:sp>
      <p:sp>
        <p:nvSpPr>
          <p:cNvPr id="4" name="TextBox 3">
            <a:extLst>
              <a:ext uri="{FF2B5EF4-FFF2-40B4-BE49-F238E27FC236}">
                <a16:creationId xmlns:a16="http://schemas.microsoft.com/office/drawing/2014/main" id="{F7DDEF79-E662-8E0F-312F-980352616796}"/>
              </a:ext>
            </a:extLst>
          </p:cNvPr>
          <p:cNvSpPr txBox="1"/>
          <p:nvPr/>
        </p:nvSpPr>
        <p:spPr>
          <a:xfrm>
            <a:off x="490667" y="1203997"/>
            <a:ext cx="6690421" cy="1709891"/>
          </a:xfrm>
          <a:prstGeom prst="rect">
            <a:avLst/>
          </a:prstGeom>
          <a:noFill/>
        </p:spPr>
        <p:txBody>
          <a:bodyPr wrap="square" lIns="0" tIns="0" rIns="0" bIns="0" rtlCol="0" anchor="t">
            <a:noAutofit/>
          </a:bodyPr>
          <a:lstStyle/>
          <a:p>
            <a:pPr marL="342900" indent="-342900">
              <a:buAutoNum type="arabicPeriod"/>
              <a:defRPr/>
            </a:pPr>
            <a:r>
              <a:rPr lang="en-US" b="1" dirty="0">
                <a:latin typeface="Aptos" panose="020B0004020202020204" pitchFamily="34" charset="0"/>
              </a:rPr>
              <a:t>Access Period and the Vote</a:t>
            </a:r>
          </a:p>
          <a:p>
            <a:pPr marL="342900" indent="-342900">
              <a:buAutoNum type="arabicPeriod"/>
              <a:defRPr/>
            </a:pPr>
            <a:r>
              <a:rPr lang="en-US" b="1" dirty="0">
                <a:latin typeface="Aptos" panose="020B0004020202020204" pitchFamily="34" charset="0"/>
              </a:rPr>
              <a:t>Key changes when compared to your current entitlements</a:t>
            </a:r>
          </a:p>
          <a:p>
            <a:pPr marL="342900" indent="-342900">
              <a:buAutoNum type="arabicPeriod"/>
              <a:defRPr/>
            </a:pPr>
            <a:r>
              <a:rPr lang="en-US" b="1" dirty="0">
                <a:solidFill>
                  <a:srgbClr val="000000"/>
                </a:solidFill>
                <a:latin typeface="Aptos" panose="020B0004020202020204" pitchFamily="34" charset="0"/>
              </a:rPr>
              <a:t>What is not changing? </a:t>
            </a:r>
          </a:p>
          <a:p>
            <a:pPr marL="342900" marR="0" lvl="0" indent="-342900" algn="l" defTabSz="914400">
              <a:lnSpc>
                <a:spcPct val="100000"/>
              </a:lnSpc>
              <a:spcBef>
                <a:spcPts val="0"/>
              </a:spcBef>
              <a:spcAft>
                <a:spcPts val="0"/>
              </a:spcAft>
              <a:buClrTx/>
              <a:buSzTx/>
              <a:buAutoNum type="arabicPeriod"/>
              <a:tabLst/>
              <a:defRPr/>
            </a:pPr>
            <a:r>
              <a:rPr lang="en-US" b="1" dirty="0">
                <a:solidFill>
                  <a:srgbClr val="000000"/>
                </a:solidFill>
                <a:latin typeface="Aptos" panose="020B0004020202020204" pitchFamily="34" charset="0"/>
              </a:rPr>
              <a:t>Questions</a:t>
            </a:r>
            <a:endParaRPr lang="en-US" sz="1800" b="1" i="0" u="none" strike="noStrike" kern="1200" cap="none" spc="0" normalizeH="0" baseline="0" noProof="0" dirty="0">
              <a:ln>
                <a:noFill/>
              </a:ln>
              <a:solidFill>
                <a:srgbClr val="000000"/>
              </a:solidFill>
              <a:effectLst/>
              <a:uLnTx/>
              <a:uFillTx/>
              <a:latin typeface="Aptos" panose="020B000402020202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AU" sz="1800" b="0" i="0" u="none" strike="noStrike" kern="1200" cap="none" spc="0" normalizeH="0" baseline="0" noProof="0" dirty="0">
              <a:ln>
                <a:noFill/>
              </a:ln>
              <a:solidFill>
                <a:srgbClr val="000000"/>
              </a:solidFill>
              <a:effectLst/>
              <a:uLnTx/>
              <a:uFillTx/>
              <a:latin typeface="Aptos" panose="020B00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Tx/>
              <a:buAutoNum type="arabicPeriod"/>
              <a:tabLst/>
              <a:defRPr/>
            </a:pPr>
            <a:endParaRPr lang="en-AU" sz="1800" b="0" i="0" u="none" strike="noStrike" kern="1200" cap="none" spc="0" normalizeH="0" baseline="0" noProof="0" dirty="0">
              <a:ln>
                <a:noFill/>
              </a:ln>
              <a:solidFill>
                <a:srgbClr val="000000"/>
              </a:solidFill>
              <a:effectLst/>
              <a:highlight>
                <a:srgbClr val="FFFF00"/>
              </a:highlight>
              <a:uLnTx/>
              <a:uFillTx/>
              <a:latin typeface="Aptos" panose="020B00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AutoNum type="arabicPeriod"/>
              <a:tabLst/>
              <a:defRPr/>
            </a:pPr>
            <a:endParaRPr lang="en-AU" sz="1800" b="0" i="0" u="none" strike="noStrike" kern="1200" cap="none" spc="0" normalizeH="0" baseline="0" noProof="0" dirty="0">
              <a:ln>
                <a:noFill/>
              </a:ln>
              <a:solidFill>
                <a:srgbClr val="000000"/>
              </a:solidFill>
              <a:effectLst/>
              <a:highlight>
                <a:srgbClr val="FFFF00"/>
              </a:highlight>
              <a:uLnTx/>
              <a:uFillTx/>
              <a:latin typeface="Aptos" panose="020B000402020202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AU" sz="1800" b="0" i="0" u="none" strike="noStrike" kern="1200" cap="none" spc="0" normalizeH="0" baseline="0" noProof="0" dirty="0">
              <a:ln>
                <a:noFill/>
              </a:ln>
              <a:solidFill>
                <a:srgbClr val="000000"/>
              </a:solidFill>
              <a:effectLst/>
              <a:uLnTx/>
              <a:uFillTx/>
              <a:latin typeface="Aptos" panose="020B0004020202020204" pitchFamily="34" charset="0"/>
            </a:endParaRPr>
          </a:p>
          <a:p>
            <a:pPr marL="285750" indent="-285750">
              <a:buAutoNum type="arabicPeriod"/>
              <a:defRPr/>
            </a:pPr>
            <a:endParaRPr lang="en-AU" dirty="0">
              <a:solidFill>
                <a:srgbClr val="000000"/>
              </a:solidFill>
              <a:latin typeface="Aptos" panose="020B0004020202020204" pitchFamily="34" charset="0"/>
            </a:endParaRPr>
          </a:p>
          <a:p>
            <a:pPr marL="285750" indent="-285750">
              <a:buAutoNum type="arabicPeriod"/>
              <a:defRPr/>
            </a:pPr>
            <a:endParaRPr lang="en-AU" dirty="0">
              <a:solidFill>
                <a:srgbClr val="000000"/>
              </a:solidFill>
              <a:latin typeface="Aptos" panose="020B0004020202020204" pitchFamily="34" charset="0"/>
            </a:endParaRPr>
          </a:p>
        </p:txBody>
      </p:sp>
    </p:spTree>
    <p:extLst>
      <p:ext uri="{BB962C8B-B14F-4D97-AF65-F5344CB8AC3E}">
        <p14:creationId xmlns:p14="http://schemas.microsoft.com/office/powerpoint/2010/main" val="1955687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46B0C9-AB55-24C4-9AEA-F3332D7360D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0E5AC72-3269-828E-966D-12AAB96378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think-cell data - do not delete" hidden="1">
                        <a:extLst>
                          <a:ext uri="{FF2B5EF4-FFF2-40B4-BE49-F238E27FC236}">
                            <a16:creationId xmlns:a16="http://schemas.microsoft.com/office/drawing/2014/main" id="{50E5AC72-3269-828E-966D-12AAB96378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8DA11BE5-38C8-09B0-9FEB-2D0333EA141F}"/>
              </a:ext>
            </a:extLst>
          </p:cNvPr>
          <p:cNvSpPr txBox="1">
            <a:spLocks/>
          </p:cNvSpPr>
          <p:nvPr/>
        </p:nvSpPr>
        <p:spPr>
          <a:xfrm>
            <a:off x="347677" y="197620"/>
            <a:ext cx="10715342" cy="550356"/>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4100" b="1" i="0" kern="1200">
                <a:solidFill>
                  <a:schemeClr val="tx1"/>
                </a:solidFill>
                <a:latin typeface="+mj-lt"/>
                <a:ea typeface="+mj-ea"/>
                <a:cs typeface="+mj-cs"/>
              </a:defRPr>
            </a:lvl1pPr>
          </a:lstStyle>
          <a:p>
            <a:pPr>
              <a:defRPr/>
            </a:pPr>
            <a:r>
              <a:rPr lang="en-US" sz="3600" dirty="0">
                <a:solidFill>
                  <a:prstClr val="black"/>
                </a:solidFill>
                <a:latin typeface="Aptos Display" panose="02110004020202020204"/>
              </a:rPr>
              <a:t>Access Period and Vote</a:t>
            </a:r>
            <a:endParaRPr lang="en-US" sz="3600" b="1" i="0" u="none" strike="noStrike" kern="1200" cap="none" spc="0" normalizeH="0" baseline="0" noProof="0" dirty="0">
              <a:ln>
                <a:noFill/>
              </a:ln>
              <a:solidFill>
                <a:prstClr val="black"/>
              </a:solidFill>
              <a:effectLst/>
              <a:uLnTx/>
              <a:uFillTx/>
              <a:latin typeface="Aptos Display" panose="02110004020202020204"/>
            </a:endParaRPr>
          </a:p>
        </p:txBody>
      </p:sp>
      <p:pic>
        <p:nvPicPr>
          <p:cNvPr id="3" name="Picture 2">
            <a:extLst>
              <a:ext uri="{FF2B5EF4-FFF2-40B4-BE49-F238E27FC236}">
                <a16:creationId xmlns:a16="http://schemas.microsoft.com/office/drawing/2014/main" id="{FDA6CDF6-3943-2A66-87D7-B72F0EC9A6EE}"/>
              </a:ext>
            </a:extLst>
          </p:cNvPr>
          <p:cNvPicPr>
            <a:picLocks noChangeAspect="1"/>
          </p:cNvPicPr>
          <p:nvPr/>
        </p:nvPicPr>
        <p:blipFill>
          <a:blip r:embed="rId5"/>
          <a:stretch>
            <a:fillRect/>
          </a:stretch>
        </p:blipFill>
        <p:spPr>
          <a:xfrm>
            <a:off x="1732643" y="3023949"/>
            <a:ext cx="10105572" cy="229533"/>
          </a:xfrm>
          <a:prstGeom prst="rect">
            <a:avLst/>
          </a:prstGeom>
        </p:spPr>
      </p:pic>
      <p:sp>
        <p:nvSpPr>
          <p:cNvPr id="6" name="Oval 5">
            <a:extLst>
              <a:ext uri="{FF2B5EF4-FFF2-40B4-BE49-F238E27FC236}">
                <a16:creationId xmlns:a16="http://schemas.microsoft.com/office/drawing/2014/main" id="{ECD385C9-594E-D9F9-A7BB-6541842F4E62}"/>
              </a:ext>
            </a:extLst>
          </p:cNvPr>
          <p:cNvSpPr/>
          <p:nvPr/>
        </p:nvSpPr>
        <p:spPr>
          <a:xfrm>
            <a:off x="640772" y="2532578"/>
            <a:ext cx="1097642" cy="1152070"/>
          </a:xfrm>
          <a:prstGeom prst="ellipse">
            <a:avLst/>
          </a:prstGeom>
          <a:solidFill>
            <a:srgbClr val="8EB5FF"/>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dirty="0"/>
              <a:t>6</a:t>
            </a:r>
          </a:p>
          <a:p>
            <a:pPr algn="ctr"/>
            <a:r>
              <a:rPr lang="en-US" sz="1200" dirty="0"/>
              <a:t>February</a:t>
            </a:r>
          </a:p>
        </p:txBody>
      </p:sp>
      <p:pic>
        <p:nvPicPr>
          <p:cNvPr id="7" name="Picture 6" descr="A black and white logo&#10;&#10;AI-generated content may be incorrect.">
            <a:extLst>
              <a:ext uri="{FF2B5EF4-FFF2-40B4-BE49-F238E27FC236}">
                <a16:creationId xmlns:a16="http://schemas.microsoft.com/office/drawing/2014/main" id="{17F5E10E-6454-2386-847E-4499BDD61883}"/>
              </a:ext>
            </a:extLst>
          </p:cNvPr>
          <p:cNvPicPr>
            <a:picLocks noChangeAspect="1"/>
          </p:cNvPicPr>
          <p:nvPr/>
        </p:nvPicPr>
        <p:blipFill>
          <a:blip r:embed="rId6"/>
          <a:stretch>
            <a:fillRect/>
          </a:stretch>
        </p:blipFill>
        <p:spPr>
          <a:xfrm>
            <a:off x="1191305" y="2101396"/>
            <a:ext cx="2298247" cy="341993"/>
          </a:xfrm>
          <a:prstGeom prst="rect">
            <a:avLst/>
          </a:prstGeom>
        </p:spPr>
      </p:pic>
      <p:sp>
        <p:nvSpPr>
          <p:cNvPr id="9" name="TextBox 8">
            <a:extLst>
              <a:ext uri="{FF2B5EF4-FFF2-40B4-BE49-F238E27FC236}">
                <a16:creationId xmlns:a16="http://schemas.microsoft.com/office/drawing/2014/main" id="{DBC0A695-6F12-168A-D029-BC8629F00939}"/>
              </a:ext>
            </a:extLst>
          </p:cNvPr>
          <p:cNvSpPr txBox="1"/>
          <p:nvPr/>
        </p:nvSpPr>
        <p:spPr>
          <a:xfrm>
            <a:off x="525319" y="1713675"/>
            <a:ext cx="383968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dirty="0"/>
              <a:t>Business Unit Session and Daily Q&amp;A Drop In </a:t>
            </a:r>
          </a:p>
        </p:txBody>
      </p:sp>
      <p:sp>
        <p:nvSpPr>
          <p:cNvPr id="10" name="Oval 9">
            <a:extLst>
              <a:ext uri="{FF2B5EF4-FFF2-40B4-BE49-F238E27FC236}">
                <a16:creationId xmlns:a16="http://schemas.microsoft.com/office/drawing/2014/main" id="{B834F037-D3E5-AC85-CC20-D3D8469D77F7}"/>
              </a:ext>
            </a:extLst>
          </p:cNvPr>
          <p:cNvSpPr/>
          <p:nvPr/>
        </p:nvSpPr>
        <p:spPr>
          <a:xfrm>
            <a:off x="5403272" y="2568863"/>
            <a:ext cx="1097642" cy="1152070"/>
          </a:xfrm>
          <a:prstGeom prst="ellipse">
            <a:avLst/>
          </a:prstGeom>
          <a:solidFill>
            <a:srgbClr val="8EB5FF"/>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dirty="0"/>
              <a:t>14 February</a:t>
            </a:r>
          </a:p>
        </p:txBody>
      </p:sp>
      <p:sp>
        <p:nvSpPr>
          <p:cNvPr id="11" name="Oval 10">
            <a:extLst>
              <a:ext uri="{FF2B5EF4-FFF2-40B4-BE49-F238E27FC236}">
                <a16:creationId xmlns:a16="http://schemas.microsoft.com/office/drawing/2014/main" id="{2A7873CD-07D0-3AE8-BCF3-26E414E41CD4}"/>
              </a:ext>
            </a:extLst>
          </p:cNvPr>
          <p:cNvSpPr/>
          <p:nvPr/>
        </p:nvSpPr>
        <p:spPr>
          <a:xfrm>
            <a:off x="7798128" y="2568863"/>
            <a:ext cx="1097642" cy="1152070"/>
          </a:xfrm>
          <a:prstGeom prst="ellipse">
            <a:avLst/>
          </a:prstGeom>
          <a:solidFill>
            <a:srgbClr val="8EB5FF"/>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dirty="0"/>
              <a:t>20 February</a:t>
            </a:r>
          </a:p>
        </p:txBody>
      </p:sp>
      <p:sp>
        <p:nvSpPr>
          <p:cNvPr id="13" name="Oval 12">
            <a:extLst>
              <a:ext uri="{FF2B5EF4-FFF2-40B4-BE49-F238E27FC236}">
                <a16:creationId xmlns:a16="http://schemas.microsoft.com/office/drawing/2014/main" id="{24015E74-60A1-4F41-5BF6-0FAA236DF3F8}"/>
              </a:ext>
            </a:extLst>
          </p:cNvPr>
          <p:cNvSpPr/>
          <p:nvPr/>
        </p:nvSpPr>
        <p:spPr>
          <a:xfrm>
            <a:off x="10256486" y="2532577"/>
            <a:ext cx="1097642" cy="1152070"/>
          </a:xfrm>
          <a:prstGeom prst="ellipse">
            <a:avLst/>
          </a:prstGeom>
          <a:solidFill>
            <a:srgbClr val="8EB5FF"/>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dirty="0"/>
              <a:t>21 February</a:t>
            </a:r>
          </a:p>
        </p:txBody>
      </p:sp>
      <p:sp>
        <p:nvSpPr>
          <p:cNvPr id="14" name="Oval 13">
            <a:extLst>
              <a:ext uri="{FF2B5EF4-FFF2-40B4-BE49-F238E27FC236}">
                <a16:creationId xmlns:a16="http://schemas.microsoft.com/office/drawing/2014/main" id="{593CFBBA-ADC7-DBA4-34F9-3A92C81C18DF}"/>
              </a:ext>
            </a:extLst>
          </p:cNvPr>
          <p:cNvSpPr/>
          <p:nvPr/>
        </p:nvSpPr>
        <p:spPr>
          <a:xfrm>
            <a:off x="2944914" y="2532578"/>
            <a:ext cx="1097642" cy="1152070"/>
          </a:xfrm>
          <a:prstGeom prst="ellipse">
            <a:avLst/>
          </a:prstGeom>
          <a:solidFill>
            <a:srgbClr val="8EB5FF"/>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dirty="0"/>
              <a:t>13 February</a:t>
            </a:r>
          </a:p>
        </p:txBody>
      </p:sp>
      <p:sp>
        <p:nvSpPr>
          <p:cNvPr id="16" name="TextBox 15">
            <a:extLst>
              <a:ext uri="{FF2B5EF4-FFF2-40B4-BE49-F238E27FC236}">
                <a16:creationId xmlns:a16="http://schemas.microsoft.com/office/drawing/2014/main" id="{81CC0748-9E8D-C747-F0BF-C70DDFB50574}"/>
              </a:ext>
            </a:extLst>
          </p:cNvPr>
          <p:cNvSpPr txBox="1"/>
          <p:nvPr/>
        </p:nvSpPr>
        <p:spPr>
          <a:xfrm>
            <a:off x="361208" y="3847109"/>
            <a:ext cx="1662544"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dirty="0"/>
              <a:t>Commence Access Period &amp;  Explanatory Sessions</a:t>
            </a:r>
          </a:p>
        </p:txBody>
      </p:sp>
      <p:sp>
        <p:nvSpPr>
          <p:cNvPr id="17" name="TextBox 16">
            <a:extLst>
              <a:ext uri="{FF2B5EF4-FFF2-40B4-BE49-F238E27FC236}">
                <a16:creationId xmlns:a16="http://schemas.microsoft.com/office/drawing/2014/main" id="{0AF106D3-8715-BE27-F735-7FCCC8B7A11F}"/>
              </a:ext>
            </a:extLst>
          </p:cNvPr>
          <p:cNvSpPr txBox="1"/>
          <p:nvPr/>
        </p:nvSpPr>
        <p:spPr>
          <a:xfrm>
            <a:off x="2665350" y="3847108"/>
            <a:ext cx="1662544"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dirty="0"/>
              <a:t> Access Period Concludes</a:t>
            </a:r>
          </a:p>
        </p:txBody>
      </p:sp>
      <p:sp>
        <p:nvSpPr>
          <p:cNvPr id="18" name="TextBox 17">
            <a:extLst>
              <a:ext uri="{FF2B5EF4-FFF2-40B4-BE49-F238E27FC236}">
                <a16:creationId xmlns:a16="http://schemas.microsoft.com/office/drawing/2014/main" id="{673B937D-AC50-AC72-8096-6641FF49A8EA}"/>
              </a:ext>
            </a:extLst>
          </p:cNvPr>
          <p:cNvSpPr txBox="1"/>
          <p:nvPr/>
        </p:nvSpPr>
        <p:spPr>
          <a:xfrm>
            <a:off x="5123706" y="3847107"/>
            <a:ext cx="1836977"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dirty="0"/>
              <a:t>Voting Commences at 8am </a:t>
            </a:r>
          </a:p>
        </p:txBody>
      </p:sp>
      <p:sp>
        <p:nvSpPr>
          <p:cNvPr id="19" name="TextBox 18">
            <a:extLst>
              <a:ext uri="{FF2B5EF4-FFF2-40B4-BE49-F238E27FC236}">
                <a16:creationId xmlns:a16="http://schemas.microsoft.com/office/drawing/2014/main" id="{98EA5D85-B235-C282-3BD0-3EE5ACE087E8}"/>
              </a:ext>
            </a:extLst>
          </p:cNvPr>
          <p:cNvSpPr txBox="1"/>
          <p:nvPr/>
        </p:nvSpPr>
        <p:spPr>
          <a:xfrm>
            <a:off x="7518564" y="3847107"/>
            <a:ext cx="1662544"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dirty="0"/>
              <a:t>Voting Period Closes at 5pm</a:t>
            </a:r>
          </a:p>
        </p:txBody>
      </p:sp>
      <p:sp>
        <p:nvSpPr>
          <p:cNvPr id="20" name="TextBox 19">
            <a:extLst>
              <a:ext uri="{FF2B5EF4-FFF2-40B4-BE49-F238E27FC236}">
                <a16:creationId xmlns:a16="http://schemas.microsoft.com/office/drawing/2014/main" id="{637E4455-B922-B6FB-DF32-CD0489B60093}"/>
              </a:ext>
            </a:extLst>
          </p:cNvPr>
          <p:cNvSpPr txBox="1"/>
          <p:nvPr/>
        </p:nvSpPr>
        <p:spPr>
          <a:xfrm>
            <a:off x="9976921" y="3847107"/>
            <a:ext cx="1662544"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dirty="0"/>
              <a:t>Announcement of Vote Outcome</a:t>
            </a:r>
          </a:p>
        </p:txBody>
      </p:sp>
      <p:pic>
        <p:nvPicPr>
          <p:cNvPr id="21" name="Picture 20" descr="A black and white logo&#10;&#10;AI-generated content may be incorrect.">
            <a:extLst>
              <a:ext uri="{FF2B5EF4-FFF2-40B4-BE49-F238E27FC236}">
                <a16:creationId xmlns:a16="http://schemas.microsoft.com/office/drawing/2014/main" id="{EAF92194-0955-A407-9893-EB6C7EEB655A}"/>
              </a:ext>
            </a:extLst>
          </p:cNvPr>
          <p:cNvPicPr>
            <a:picLocks noChangeAspect="1"/>
          </p:cNvPicPr>
          <p:nvPr/>
        </p:nvPicPr>
        <p:blipFill>
          <a:blip r:embed="rId7"/>
          <a:stretch>
            <a:fillRect/>
          </a:stretch>
        </p:blipFill>
        <p:spPr>
          <a:xfrm>
            <a:off x="5953804" y="5294539"/>
            <a:ext cx="2661105" cy="441779"/>
          </a:xfrm>
          <a:prstGeom prst="rect">
            <a:avLst/>
          </a:prstGeom>
        </p:spPr>
      </p:pic>
      <p:sp>
        <p:nvSpPr>
          <p:cNvPr id="22" name="TextBox 21">
            <a:extLst>
              <a:ext uri="{FF2B5EF4-FFF2-40B4-BE49-F238E27FC236}">
                <a16:creationId xmlns:a16="http://schemas.microsoft.com/office/drawing/2014/main" id="{BEA92AC3-AF77-2882-DA8C-AB325D854806}"/>
              </a:ext>
            </a:extLst>
          </p:cNvPr>
          <p:cNvSpPr txBox="1"/>
          <p:nvPr/>
        </p:nvSpPr>
        <p:spPr>
          <a:xfrm>
            <a:off x="5155530" y="5761990"/>
            <a:ext cx="4372053"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t>13 February: Receive Link to Vote </a:t>
            </a:r>
            <a:endParaRPr lang="en-US" dirty="0"/>
          </a:p>
          <a:p>
            <a:pPr algn="ctr"/>
            <a:r>
              <a:rPr lang="en-US" sz="1400" b="1" dirty="0"/>
              <a:t>8am, 14 February (AEDT): Online Voting Open</a:t>
            </a:r>
          </a:p>
          <a:p>
            <a:pPr algn="ctr"/>
            <a:r>
              <a:rPr lang="en-US" sz="1400" b="1" dirty="0"/>
              <a:t>5pm, 20 February (AEDT): Online Voting Closes</a:t>
            </a:r>
          </a:p>
          <a:p>
            <a:endParaRPr lang="en-US" dirty="0"/>
          </a:p>
        </p:txBody>
      </p:sp>
    </p:spTree>
    <p:extLst>
      <p:ext uri="{BB962C8B-B14F-4D97-AF65-F5344CB8AC3E}">
        <p14:creationId xmlns:p14="http://schemas.microsoft.com/office/powerpoint/2010/main" val="19326759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6F659-AE00-325D-3598-D36A715894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B433D8-9BEE-3BC1-EA80-718FEF6DF4E3}"/>
              </a:ext>
            </a:extLst>
          </p:cNvPr>
          <p:cNvSpPr>
            <a:spLocks noGrp="1"/>
          </p:cNvSpPr>
          <p:nvPr>
            <p:ph type="title"/>
          </p:nvPr>
        </p:nvSpPr>
        <p:spPr/>
        <p:txBody>
          <a:bodyPr/>
          <a:lstStyle/>
          <a:p>
            <a:r>
              <a:rPr lang="en-US" dirty="0">
                <a:ea typeface="+mj-lt"/>
                <a:cs typeface="+mj-lt"/>
              </a:rPr>
              <a:t>Key Elements of </a:t>
            </a:r>
            <a:r>
              <a:rPr lang="en-US" dirty="0" err="1">
                <a:ea typeface="+mj-lt"/>
                <a:cs typeface="+mj-lt"/>
              </a:rPr>
              <a:t>nbn’s</a:t>
            </a:r>
            <a:r>
              <a:rPr lang="en-US">
                <a:ea typeface="+mj-lt"/>
                <a:cs typeface="+mj-lt"/>
              </a:rPr>
              <a:t> offer </a:t>
            </a:r>
            <a:endParaRPr lang="en-US"/>
          </a:p>
        </p:txBody>
      </p:sp>
      <p:sp>
        <p:nvSpPr>
          <p:cNvPr id="3" name="Text Placeholder 2">
            <a:extLst>
              <a:ext uri="{FF2B5EF4-FFF2-40B4-BE49-F238E27FC236}">
                <a16:creationId xmlns:a16="http://schemas.microsoft.com/office/drawing/2014/main" id="{A3109AD1-0D34-D869-A711-2B98F5CA9F1B}"/>
              </a:ext>
            </a:extLst>
          </p:cNvPr>
          <p:cNvSpPr>
            <a:spLocks noGrp="1"/>
          </p:cNvSpPr>
          <p:nvPr>
            <p:ph type="body" sz="quarter" idx="4294967295"/>
          </p:nvPr>
        </p:nvSpPr>
        <p:spPr>
          <a:xfrm>
            <a:off x="8093075" y="3373438"/>
            <a:ext cx="4098925" cy="3095625"/>
          </a:xfrm>
        </p:spPr>
        <p:txBody>
          <a:bodyPr/>
          <a:lstStyle/>
          <a:p>
            <a:r>
              <a:rPr lang="en-US"/>
              <a:t> </a:t>
            </a:r>
          </a:p>
        </p:txBody>
      </p:sp>
      <p:sp>
        <p:nvSpPr>
          <p:cNvPr id="4" name="TextBox 3">
            <a:extLst>
              <a:ext uri="{FF2B5EF4-FFF2-40B4-BE49-F238E27FC236}">
                <a16:creationId xmlns:a16="http://schemas.microsoft.com/office/drawing/2014/main" id="{F7DDEF79-E662-8E0F-312F-980352616796}"/>
              </a:ext>
            </a:extLst>
          </p:cNvPr>
          <p:cNvSpPr txBox="1"/>
          <p:nvPr/>
        </p:nvSpPr>
        <p:spPr>
          <a:xfrm>
            <a:off x="328553" y="1450371"/>
            <a:ext cx="11368087" cy="5118685"/>
          </a:xfrm>
          <a:prstGeom prst="rect">
            <a:avLst/>
          </a:prstGeom>
          <a:noFill/>
        </p:spPr>
        <p:txBody>
          <a:bodyPr wrap="square" lIns="0" tIns="0" rIns="0" bIns="0" rtlCol="0" anchor="t">
            <a:noAutofit/>
          </a:bodyPr>
          <a:lstStyle/>
          <a:p>
            <a:pPr>
              <a:defRPr/>
            </a:pPr>
            <a:r>
              <a:rPr lang="en-US">
                <a:solidFill>
                  <a:srgbClr val="000000"/>
                </a:solidFill>
                <a:latin typeface="Aptos" panose="020B0004020202020204" pitchFamily="34" charset="0"/>
                <a:ea typeface="Calibri"/>
                <a:cs typeface="Calibri"/>
              </a:rPr>
              <a:t>The Proposed Agreement will include the following </a:t>
            </a:r>
            <a:r>
              <a:rPr lang="en-US" b="1">
                <a:solidFill>
                  <a:srgbClr val="000000"/>
                </a:solidFill>
                <a:latin typeface="Aptos" panose="020B0004020202020204" pitchFamily="34" charset="0"/>
                <a:ea typeface="Calibri"/>
                <a:cs typeface="Calibri"/>
              </a:rPr>
              <a:t>increases to your Base Rate of Pay</a:t>
            </a:r>
            <a:r>
              <a:rPr lang="en-US">
                <a:solidFill>
                  <a:srgbClr val="000000"/>
                </a:solidFill>
                <a:latin typeface="Aptos" panose="020B0004020202020204" pitchFamily="34" charset="0"/>
                <a:ea typeface="Calibri"/>
                <a:cs typeface="Calibri"/>
              </a:rPr>
              <a:t>:</a:t>
            </a:r>
            <a:endParaRPr lang="en-US">
              <a:latin typeface="Aptos" panose="020B0004020202020204" pitchFamily="34" charset="0"/>
              <a:ea typeface="Calibri"/>
              <a:cs typeface="Calibri"/>
            </a:endParaRPr>
          </a:p>
          <a:p>
            <a:pPr>
              <a:defRPr/>
            </a:pPr>
            <a:endParaRPr lang="en-US">
              <a:solidFill>
                <a:srgbClr val="000000"/>
              </a:solidFill>
              <a:latin typeface="Aptos" panose="020B0004020202020204" pitchFamily="34" charset="0"/>
              <a:ea typeface="Calibri"/>
              <a:cs typeface="Calibri"/>
            </a:endParaRPr>
          </a:p>
          <a:p>
            <a:pPr lvl="1">
              <a:defRPr/>
            </a:pPr>
            <a:r>
              <a:rPr lang="en-US">
                <a:solidFill>
                  <a:srgbClr val="000000"/>
                </a:solidFill>
                <a:latin typeface="Aptos" panose="020B0004020202020204" pitchFamily="34" charset="0"/>
                <a:ea typeface="Calibri"/>
                <a:cs typeface="Arial"/>
              </a:rPr>
              <a:t>• </a:t>
            </a:r>
            <a:r>
              <a:rPr lang="en-US" b="1">
                <a:solidFill>
                  <a:srgbClr val="000000"/>
                </a:solidFill>
                <a:latin typeface="Aptos" panose="020B0004020202020204" pitchFamily="34" charset="0"/>
                <a:ea typeface="Calibri"/>
                <a:cs typeface="Arial"/>
              </a:rPr>
              <a:t>4</a:t>
            </a:r>
            <a:r>
              <a:rPr lang="en-US" b="1">
                <a:solidFill>
                  <a:srgbClr val="000000"/>
                </a:solidFill>
                <a:latin typeface="Aptos" panose="020B0004020202020204" pitchFamily="34" charset="0"/>
                <a:ea typeface="Calibri"/>
                <a:cs typeface="Calibri"/>
              </a:rPr>
              <a:t>.0% increase </a:t>
            </a:r>
            <a:r>
              <a:rPr lang="en-US">
                <a:solidFill>
                  <a:srgbClr val="000000"/>
                </a:solidFill>
                <a:latin typeface="Aptos" panose="020B0004020202020204" pitchFamily="34" charset="0"/>
                <a:ea typeface="Calibri"/>
                <a:cs typeface="Calibri"/>
              </a:rPr>
              <a:t>from the first full pay period after 1 July 2025</a:t>
            </a:r>
            <a:endParaRPr lang="en-US">
              <a:latin typeface="Aptos" panose="020B0004020202020204" pitchFamily="34" charset="0"/>
              <a:ea typeface="Calibri"/>
              <a:cs typeface="Calibri"/>
            </a:endParaRPr>
          </a:p>
          <a:p>
            <a:pPr lvl="1">
              <a:defRPr/>
            </a:pPr>
            <a:endParaRPr lang="en-US">
              <a:latin typeface="Aptos" panose="020B0004020202020204" pitchFamily="34" charset="0"/>
              <a:ea typeface="Calibri"/>
              <a:cs typeface="Arial"/>
            </a:endParaRPr>
          </a:p>
          <a:p>
            <a:pPr lvl="1">
              <a:defRPr/>
            </a:pPr>
            <a:r>
              <a:rPr lang="en-US">
                <a:solidFill>
                  <a:srgbClr val="000000"/>
                </a:solidFill>
                <a:latin typeface="Aptos" panose="020B0004020202020204" pitchFamily="34" charset="0"/>
                <a:ea typeface="Calibri"/>
                <a:cs typeface="Arial"/>
              </a:rPr>
              <a:t>• </a:t>
            </a:r>
            <a:r>
              <a:rPr lang="en-US" b="1">
                <a:solidFill>
                  <a:srgbClr val="000000"/>
                </a:solidFill>
                <a:latin typeface="Aptos" panose="020B0004020202020204" pitchFamily="34" charset="0"/>
                <a:ea typeface="Calibri"/>
                <a:cs typeface="Arial"/>
              </a:rPr>
              <a:t>4</a:t>
            </a:r>
            <a:r>
              <a:rPr lang="en-US" b="1">
                <a:solidFill>
                  <a:srgbClr val="000000"/>
                </a:solidFill>
                <a:latin typeface="Aptos" panose="020B0004020202020204" pitchFamily="34" charset="0"/>
                <a:ea typeface="Calibri"/>
                <a:cs typeface="Calibri"/>
              </a:rPr>
              <a:t>.0% increase </a:t>
            </a:r>
            <a:r>
              <a:rPr lang="en-US">
                <a:solidFill>
                  <a:srgbClr val="000000"/>
                </a:solidFill>
                <a:latin typeface="Aptos" panose="020B0004020202020204" pitchFamily="34" charset="0"/>
                <a:ea typeface="Calibri"/>
                <a:cs typeface="Calibri"/>
              </a:rPr>
              <a:t>from the first full pay period after 1 July 2026</a:t>
            </a:r>
            <a:endParaRPr lang="en-US">
              <a:latin typeface="Aptos" panose="020B0004020202020204" pitchFamily="34" charset="0"/>
              <a:ea typeface="Calibri"/>
              <a:cs typeface="Calibri"/>
            </a:endParaRPr>
          </a:p>
          <a:p>
            <a:pPr lvl="1">
              <a:defRPr/>
            </a:pPr>
            <a:endParaRPr lang="en-US">
              <a:latin typeface="Aptos" panose="020B0004020202020204" pitchFamily="34" charset="0"/>
              <a:ea typeface="Calibri"/>
              <a:cs typeface="Arial"/>
            </a:endParaRPr>
          </a:p>
          <a:p>
            <a:pPr lvl="1">
              <a:defRPr/>
            </a:pPr>
            <a:r>
              <a:rPr lang="en-US">
                <a:solidFill>
                  <a:srgbClr val="000000"/>
                </a:solidFill>
                <a:latin typeface="Aptos" panose="020B0004020202020204" pitchFamily="34" charset="0"/>
                <a:ea typeface="Calibri"/>
                <a:cs typeface="Arial"/>
              </a:rPr>
              <a:t>• </a:t>
            </a:r>
            <a:r>
              <a:rPr lang="en-US" b="1">
                <a:solidFill>
                  <a:srgbClr val="000000"/>
                </a:solidFill>
                <a:latin typeface="Aptos" panose="020B0004020202020204" pitchFamily="34" charset="0"/>
                <a:ea typeface="Calibri"/>
                <a:cs typeface="Calibri"/>
              </a:rPr>
              <a:t>4.0% increase </a:t>
            </a:r>
            <a:r>
              <a:rPr lang="en-US">
                <a:solidFill>
                  <a:srgbClr val="000000"/>
                </a:solidFill>
                <a:latin typeface="Aptos" panose="020B0004020202020204" pitchFamily="34" charset="0"/>
                <a:ea typeface="Calibri"/>
                <a:cs typeface="Calibri"/>
              </a:rPr>
              <a:t>from the first full pay period after 1 July 2027</a:t>
            </a:r>
          </a:p>
          <a:p>
            <a:pPr>
              <a:defRPr/>
            </a:pPr>
            <a:endParaRPr lang="en-US">
              <a:latin typeface="Aptos" panose="020B0004020202020204" pitchFamily="34" charset="0"/>
            </a:endParaRPr>
          </a:p>
          <a:p>
            <a:pPr>
              <a:defRPr/>
            </a:pPr>
            <a:r>
              <a:rPr lang="en-AU">
                <a:latin typeface="Aptos" panose="020B0004020202020204" pitchFamily="34" charset="0"/>
                <a:ea typeface="Calibri"/>
                <a:cs typeface="Arial"/>
              </a:rPr>
              <a:t>nbn has confirmed that any legislated superannuation increase will apply in addition to the above wage offer. </a:t>
            </a:r>
          </a:p>
          <a:p>
            <a:pPr>
              <a:defRPr/>
            </a:pPr>
            <a:endParaRPr lang="en-AU">
              <a:latin typeface="Aptos" panose="020B0004020202020204" pitchFamily="34" charset="0"/>
              <a:ea typeface="Calibri"/>
              <a:cs typeface="Arial"/>
            </a:endParaRPr>
          </a:p>
          <a:p>
            <a:pPr>
              <a:defRPr/>
            </a:pPr>
            <a:r>
              <a:rPr lang="en-AU">
                <a:latin typeface="Aptos" panose="020B0004020202020204" pitchFamily="34" charset="0"/>
                <a:ea typeface="Calibri"/>
                <a:cs typeface="Arial"/>
              </a:rPr>
              <a:t>It has also confirmed that there will be no reductions in your current entitlements contained in the Enterprise Agreement.</a:t>
            </a:r>
          </a:p>
          <a:p>
            <a:pPr>
              <a:defRPr/>
            </a:pPr>
            <a:endParaRPr lang="en-US">
              <a:latin typeface="Calibri"/>
              <a:ea typeface="Calibri"/>
              <a:cs typeface="Calibri"/>
            </a:endParaRPr>
          </a:p>
          <a:p>
            <a:pPr marR="0" algn="l" defTabSz="914400">
              <a:lnSpc>
                <a:spcPct val="100000"/>
              </a:lnSpc>
              <a:spcBef>
                <a:spcPts val="0"/>
              </a:spcBef>
              <a:spcAft>
                <a:spcPts val="0"/>
              </a:spcAft>
              <a:buClrTx/>
              <a:buSzTx/>
              <a:tabLst/>
              <a:defRPr/>
            </a:pPr>
            <a:endParaRPr lang="en-US" sz="1800" b="0" i="0" u="none" strike="noStrike" kern="1200" cap="none" spc="0"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800" b="0" i="0" u="none" strike="noStrike" kern="1200" cap="none" spc="0" normalizeH="0" baseline="0" noProof="0">
              <a:ln>
                <a:noFill/>
              </a:ln>
              <a:solidFill>
                <a:srgbClr val="000000"/>
              </a:solidFill>
              <a:effectLst/>
              <a:uLnTx/>
              <a:uFillTx/>
              <a:latin typeface="Aptos"/>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800" b="0" i="0" u="none" strike="noStrike" kern="1200" cap="none" spc="0" normalizeH="0" baseline="0" noProof="0">
              <a:ln>
                <a:noFill/>
              </a:ln>
              <a:solidFill>
                <a:srgbClr val="000000"/>
              </a:solidFill>
              <a:effectLst/>
              <a:highlight>
                <a:srgbClr val="FFFF00"/>
              </a:highlight>
              <a:uLnTx/>
              <a:uFillTx/>
              <a:latin typeface="Aptos"/>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kumimoji="0" lang="en-AU" sz="1800" b="0" i="0" u="none" strike="noStrike" kern="1200" cap="none" spc="0" normalizeH="0" baseline="0" noProof="0">
              <a:ln>
                <a:noFill/>
              </a:ln>
              <a:solidFill>
                <a:srgbClr val="000000"/>
              </a:solidFill>
              <a:effectLst/>
              <a:highlight>
                <a:srgbClr val="FFFF00"/>
              </a:highlight>
              <a:uLnTx/>
              <a:uFillTx/>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ptos"/>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800" b="0" i="0" u="none" strike="noStrike" kern="1200" cap="none" spc="0" normalizeH="0" baseline="0" noProof="0">
              <a:ln>
                <a:noFill/>
              </a:ln>
              <a:solidFill>
                <a:srgbClr val="000000"/>
              </a:solidFill>
              <a:effectLst/>
              <a:uLnTx/>
              <a:uFillTx/>
              <a:latin typeface="Aptos"/>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800" b="0" i="0" u="none" strike="noStrike" kern="1200" cap="none" spc="0" normalizeH="0" baseline="0" noProof="0">
              <a:ln>
                <a:noFill/>
              </a:ln>
              <a:solidFill>
                <a:srgbClr val="000000"/>
              </a:solidFill>
              <a:effectLst/>
              <a:uLnTx/>
              <a:uFillTx/>
              <a:latin typeface="Aptos"/>
              <a:ea typeface="+mn-ea"/>
              <a:cs typeface="+mn-cs"/>
            </a:endParaRPr>
          </a:p>
        </p:txBody>
      </p:sp>
      <p:sp>
        <p:nvSpPr>
          <p:cNvPr id="6" name="TextBox 5">
            <a:extLst>
              <a:ext uri="{FF2B5EF4-FFF2-40B4-BE49-F238E27FC236}">
                <a16:creationId xmlns:a16="http://schemas.microsoft.com/office/drawing/2014/main" id="{A9D81DB0-CC00-7BBE-B127-AADA32FC745F}"/>
              </a:ext>
            </a:extLst>
          </p:cNvPr>
          <p:cNvSpPr txBox="1"/>
          <p:nvPr/>
        </p:nvSpPr>
        <p:spPr>
          <a:xfrm>
            <a:off x="328553" y="925175"/>
            <a:ext cx="7541124" cy="432428"/>
          </a:xfrm>
          <a:prstGeom prst="rect">
            <a:avLst/>
          </a:prstGeom>
          <a:noFill/>
        </p:spPr>
        <p:txBody>
          <a:bodyPr wrap="square" lIns="0" tIns="0" rIns="0" bIns="0" rtlCol="0" anchor="t">
            <a:noAutofit/>
          </a:bodyPr>
          <a:lstStyle/>
          <a:p>
            <a:pPr>
              <a:defRPr/>
            </a:pPr>
            <a:r>
              <a:rPr lang="en-US" sz="2000" b="1">
                <a:solidFill>
                  <a:srgbClr val="00B0F0"/>
                </a:solidFill>
                <a:latin typeface="Aptos" panose="020B0004020202020204" pitchFamily="34" charset="0"/>
                <a:ea typeface="Calibri"/>
                <a:cs typeface="Calibri"/>
              </a:rPr>
              <a:t>Wage offer</a:t>
            </a:r>
            <a:endParaRPr lang="en-US" sz="2000">
              <a:solidFill>
                <a:srgbClr val="00B0F0"/>
              </a:solidFill>
              <a:latin typeface="Aptos" panose="020B0004020202020204" pitchFamily="34" charset="0"/>
              <a:ea typeface="Calibri"/>
              <a:cs typeface="Calibri"/>
            </a:endParaRPr>
          </a:p>
          <a:p>
            <a:pPr>
              <a:defRPr/>
            </a:pPr>
            <a:endParaRPr lang="en-US" sz="2000">
              <a:solidFill>
                <a:srgbClr val="00B0F0"/>
              </a:solidFill>
              <a:latin typeface="Calibri"/>
              <a:ea typeface="Calibri"/>
              <a:cs typeface="Calibri"/>
            </a:endParaRPr>
          </a:p>
          <a:p>
            <a:pPr marR="0" algn="l" defTabSz="914400">
              <a:lnSpc>
                <a:spcPct val="100000"/>
              </a:lnSpc>
              <a:spcBef>
                <a:spcPts val="0"/>
              </a:spcBef>
              <a:spcAft>
                <a:spcPts val="0"/>
              </a:spcAft>
              <a:buClrTx/>
              <a:buSzTx/>
              <a:tabLst/>
              <a:defRPr/>
            </a:pPr>
            <a:endParaRPr lang="en-US" sz="2000" b="0" i="0" u="none" strike="noStrike" kern="1200" cap="none" spc="0" normalizeH="0" baseline="0" noProof="0">
              <a:ln>
                <a:noFill/>
              </a:ln>
              <a:solidFill>
                <a:srgbClr val="00B0F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a:ln>
                <a:noFill/>
              </a:ln>
              <a:solidFill>
                <a:srgbClr val="00B0F0"/>
              </a:solidFill>
              <a:effectLst/>
              <a:uLnTx/>
              <a:uFillTx/>
              <a:latin typeface="Aptos"/>
            </a:endParaRPr>
          </a:p>
          <a:p>
            <a:pPr marL="285750" indent="-285750">
              <a:buFont typeface="Arial" panose="020B0604020202020204" pitchFamily="34" charset="0"/>
              <a:buChar char="•"/>
              <a:defRPr/>
            </a:pPr>
            <a:endParaRPr lang="en-AU" sz="2000" b="0" i="0" u="none" strike="noStrike" kern="1200" cap="none" spc="0" normalizeH="0" baseline="0" noProof="0">
              <a:ln>
                <a:noFill/>
              </a:ln>
              <a:solidFill>
                <a:srgbClr val="00B0F0"/>
              </a:solidFill>
              <a:effectLst/>
              <a:uLnTx/>
              <a:uFillTx/>
              <a:latin typeface="Aptos"/>
            </a:endParaRPr>
          </a:p>
        </p:txBody>
      </p:sp>
    </p:spTree>
    <p:extLst>
      <p:ext uri="{BB962C8B-B14F-4D97-AF65-F5344CB8AC3E}">
        <p14:creationId xmlns:p14="http://schemas.microsoft.com/office/powerpoint/2010/main" val="16761889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6F659-AE00-325D-3598-D36A715894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B433D8-9BEE-3BC1-EA80-718FEF6DF4E3}"/>
              </a:ext>
            </a:extLst>
          </p:cNvPr>
          <p:cNvSpPr>
            <a:spLocks noGrp="1"/>
          </p:cNvSpPr>
          <p:nvPr>
            <p:ph type="title"/>
          </p:nvPr>
        </p:nvSpPr>
        <p:spPr/>
        <p:txBody>
          <a:bodyPr/>
          <a:lstStyle/>
          <a:p>
            <a:r>
              <a:rPr lang="en-US">
                <a:ea typeface="+mj-lt"/>
                <a:cs typeface="+mj-lt"/>
              </a:rPr>
              <a:t>Key Changes </a:t>
            </a:r>
            <a:endParaRPr lang="en-US"/>
          </a:p>
        </p:txBody>
      </p:sp>
      <p:sp>
        <p:nvSpPr>
          <p:cNvPr id="4" name="Table Placeholder 3">
            <a:extLst>
              <a:ext uri="{FF2B5EF4-FFF2-40B4-BE49-F238E27FC236}">
                <a16:creationId xmlns:a16="http://schemas.microsoft.com/office/drawing/2014/main" id="{F251BB5D-34A9-6AA4-428F-D12952D24897}"/>
              </a:ext>
            </a:extLst>
          </p:cNvPr>
          <p:cNvSpPr>
            <a:spLocks noGrp="1"/>
          </p:cNvSpPr>
          <p:nvPr>
            <p:ph type="tbl" sz="quarter" idx="10"/>
          </p:nvPr>
        </p:nvSpPr>
        <p:spPr/>
        <p:txBody>
          <a:bodyPr/>
          <a:lstStyle/>
          <a:p>
            <a:endParaRPr lang="en-AU"/>
          </a:p>
        </p:txBody>
      </p:sp>
      <p:sp>
        <p:nvSpPr>
          <p:cNvPr id="3" name="Text Placeholder 2">
            <a:extLst>
              <a:ext uri="{FF2B5EF4-FFF2-40B4-BE49-F238E27FC236}">
                <a16:creationId xmlns:a16="http://schemas.microsoft.com/office/drawing/2014/main" id="{A3109AD1-0D34-D869-A711-2B98F5CA9F1B}"/>
              </a:ext>
            </a:extLst>
          </p:cNvPr>
          <p:cNvSpPr>
            <a:spLocks noGrp="1"/>
          </p:cNvSpPr>
          <p:nvPr>
            <p:ph type="body" sz="quarter" idx="4294967295"/>
          </p:nvPr>
        </p:nvSpPr>
        <p:spPr>
          <a:xfrm>
            <a:off x="8093075" y="3373438"/>
            <a:ext cx="4098925" cy="3095625"/>
          </a:xfrm>
        </p:spPr>
        <p:txBody>
          <a:bodyPr/>
          <a:lstStyle/>
          <a:p>
            <a:r>
              <a:rPr lang="en-US"/>
              <a:t> </a:t>
            </a:r>
          </a:p>
        </p:txBody>
      </p:sp>
      <p:sp>
        <p:nvSpPr>
          <p:cNvPr id="6" name="TextBox 5">
            <a:extLst>
              <a:ext uri="{FF2B5EF4-FFF2-40B4-BE49-F238E27FC236}">
                <a16:creationId xmlns:a16="http://schemas.microsoft.com/office/drawing/2014/main" id="{A9D81DB0-CC00-7BBE-B127-AADA32FC745F}"/>
              </a:ext>
            </a:extLst>
          </p:cNvPr>
          <p:cNvSpPr txBox="1"/>
          <p:nvPr/>
        </p:nvSpPr>
        <p:spPr>
          <a:xfrm>
            <a:off x="328688" y="779655"/>
            <a:ext cx="2172488" cy="483452"/>
          </a:xfrm>
          <a:prstGeom prst="rect">
            <a:avLst/>
          </a:prstGeom>
          <a:noFill/>
        </p:spPr>
        <p:txBody>
          <a:bodyPr wrap="square" lIns="0" tIns="0" rIns="0" bIns="0" rtlCol="0" anchor="t">
            <a:noAutofit/>
          </a:bodyPr>
          <a:lstStyle/>
          <a:p>
            <a:pPr>
              <a:defRPr/>
            </a:pPr>
            <a:r>
              <a:rPr lang="en-US" sz="2000" b="1">
                <a:solidFill>
                  <a:srgbClr val="00B0F0"/>
                </a:solidFill>
                <a:latin typeface="Calibri"/>
                <a:ea typeface="Calibri"/>
                <a:cs typeface="Calibri"/>
              </a:rPr>
              <a:t>Other changes</a:t>
            </a:r>
          </a:p>
          <a:p>
            <a:pPr>
              <a:defRPr/>
            </a:pPr>
            <a:endParaRPr lang="en-US" sz="2000">
              <a:solidFill>
                <a:srgbClr val="00B0F0"/>
              </a:solidFill>
              <a:latin typeface="Calibri"/>
              <a:ea typeface="Calibri"/>
              <a:cs typeface="Calibri"/>
            </a:endParaRPr>
          </a:p>
          <a:p>
            <a:pPr marR="0" algn="l" defTabSz="914400">
              <a:lnSpc>
                <a:spcPct val="100000"/>
              </a:lnSpc>
              <a:spcBef>
                <a:spcPts val="0"/>
              </a:spcBef>
              <a:spcAft>
                <a:spcPts val="0"/>
              </a:spcAft>
              <a:buClrTx/>
              <a:buSzTx/>
              <a:tabLst/>
              <a:defRPr/>
            </a:pPr>
            <a:endParaRPr lang="en-US" sz="2000" b="0" i="0" u="none" strike="noStrike" kern="1200" cap="none" spc="0" normalizeH="0" baseline="0" noProof="0">
              <a:ln>
                <a:noFill/>
              </a:ln>
              <a:solidFill>
                <a:srgbClr val="00B0F0"/>
              </a:solidFill>
              <a:effectLst/>
              <a:uLnTx/>
              <a:uFillTx/>
              <a:latin typeface="Calibri"/>
              <a:ea typeface="Calibri"/>
              <a:cs typeface="Calibri"/>
            </a:endParaRPr>
          </a:p>
          <a:p>
            <a:pPr marL="285750" marR="0" lvl="0" indent="-285750" algn="l" defTabSz="914400">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a:ln>
                <a:noFill/>
              </a:ln>
              <a:solidFill>
                <a:srgbClr val="00B0F0"/>
              </a:solidFill>
              <a:effectLst/>
              <a:uLnTx/>
              <a:uFillTx/>
              <a:latin typeface="Aptos"/>
              <a:ea typeface="Calibri"/>
              <a:cs typeface="Calibri"/>
            </a:endParaRPr>
          </a:p>
          <a:p>
            <a:pPr marL="285750" marR="0" lvl="0" indent="-285750" algn="l" defTabSz="914400">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a:ln>
                <a:noFill/>
              </a:ln>
              <a:solidFill>
                <a:srgbClr val="00B0F0"/>
              </a:solidFill>
              <a:effectLst/>
              <a:uLnTx/>
              <a:uFillTx/>
              <a:latin typeface="Aptos"/>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a:ln>
                <a:noFill/>
              </a:ln>
              <a:solidFill>
                <a:srgbClr val="00B0F0"/>
              </a:solidFill>
              <a:effectLst/>
              <a:highlight>
                <a:srgbClr val="FFFF00"/>
              </a:highlight>
              <a:uLnTx/>
              <a:uFillTx/>
              <a:latin typeface="Apto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a:ln>
                <a:noFill/>
              </a:ln>
              <a:solidFill>
                <a:srgbClr val="00B0F0"/>
              </a:solidFill>
              <a:effectLst/>
              <a:highlight>
                <a:srgbClr val="FFFF00"/>
              </a:highlight>
              <a:uLnTx/>
              <a:uFillTx/>
              <a:latin typeface="Aptos"/>
            </a:endParaRPr>
          </a:p>
          <a:p>
            <a:pPr marR="0" lvl="0" algn="l" defTabSz="914400" rtl="0" eaLnBrk="1" fontAlgn="auto" latinLnBrk="0" hangingPunct="1">
              <a:lnSpc>
                <a:spcPct val="100000"/>
              </a:lnSpc>
              <a:spcBef>
                <a:spcPts val="0"/>
              </a:spcBef>
              <a:spcAft>
                <a:spcPts val="0"/>
              </a:spcAft>
              <a:buClrTx/>
              <a:buSzTx/>
              <a:tabLst/>
              <a:defRPr/>
            </a:pPr>
            <a:endParaRPr lang="en-AU" sz="2000" b="0" i="0" u="none" strike="noStrike" kern="1200" cap="none" spc="0" normalizeH="0" baseline="0" noProof="0">
              <a:ln>
                <a:noFill/>
              </a:ln>
              <a:solidFill>
                <a:srgbClr val="00B0F0"/>
              </a:solidFill>
              <a:effectLst/>
              <a:uLnTx/>
              <a:uFillTx/>
              <a:latin typeface="Apto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a:ln>
                <a:noFill/>
              </a:ln>
              <a:solidFill>
                <a:srgbClr val="00B0F0"/>
              </a:solidFill>
              <a:effectLst/>
              <a:uLnTx/>
              <a:uFillTx/>
              <a:latin typeface="Aptos"/>
            </a:endParaRPr>
          </a:p>
          <a:p>
            <a:pPr marL="285750" indent="-285750">
              <a:buFont typeface="Arial" panose="020B0604020202020204" pitchFamily="34" charset="0"/>
              <a:buChar char="•"/>
              <a:defRPr/>
            </a:pPr>
            <a:endParaRPr lang="en-AU" sz="2000">
              <a:solidFill>
                <a:srgbClr val="00B0F0"/>
              </a:solidFill>
              <a:latin typeface="Aptos"/>
            </a:endParaRPr>
          </a:p>
        </p:txBody>
      </p:sp>
      <p:graphicFrame>
        <p:nvGraphicFramePr>
          <p:cNvPr id="7" name="Table 6">
            <a:extLst>
              <a:ext uri="{FF2B5EF4-FFF2-40B4-BE49-F238E27FC236}">
                <a16:creationId xmlns:a16="http://schemas.microsoft.com/office/drawing/2014/main" id="{A5438285-99E2-9A75-3D5F-CAC77BBFE3F3}"/>
              </a:ext>
            </a:extLst>
          </p:cNvPr>
          <p:cNvGraphicFramePr>
            <a:graphicFrameLocks noGrp="1"/>
          </p:cNvGraphicFramePr>
          <p:nvPr>
            <p:extLst>
              <p:ext uri="{D42A27DB-BD31-4B8C-83A1-F6EECF244321}">
                <p14:modId xmlns:p14="http://schemas.microsoft.com/office/powerpoint/2010/main" val="1532730008"/>
              </p:ext>
            </p:extLst>
          </p:nvPr>
        </p:nvGraphicFramePr>
        <p:xfrm>
          <a:off x="303432" y="1205576"/>
          <a:ext cx="11515841" cy="4872769"/>
        </p:xfrm>
        <a:graphic>
          <a:graphicData uri="http://schemas.openxmlformats.org/drawingml/2006/table">
            <a:tbl>
              <a:tblPr firstRow="1" bandRow="1">
                <a:tableStyleId>{5C22544A-7EE6-4342-B048-85BDC9FD1C3A}</a:tableStyleId>
              </a:tblPr>
              <a:tblGrid>
                <a:gridCol w="2600189">
                  <a:extLst>
                    <a:ext uri="{9D8B030D-6E8A-4147-A177-3AD203B41FA5}">
                      <a16:colId xmlns:a16="http://schemas.microsoft.com/office/drawing/2014/main" val="3430418746"/>
                    </a:ext>
                  </a:extLst>
                </a:gridCol>
                <a:gridCol w="721895">
                  <a:extLst>
                    <a:ext uri="{9D8B030D-6E8A-4147-A177-3AD203B41FA5}">
                      <a16:colId xmlns:a16="http://schemas.microsoft.com/office/drawing/2014/main" val="2460787009"/>
                    </a:ext>
                  </a:extLst>
                </a:gridCol>
                <a:gridCol w="4389017">
                  <a:extLst>
                    <a:ext uri="{9D8B030D-6E8A-4147-A177-3AD203B41FA5}">
                      <a16:colId xmlns:a16="http://schemas.microsoft.com/office/drawing/2014/main" val="515269051"/>
                    </a:ext>
                  </a:extLst>
                </a:gridCol>
                <a:gridCol w="3804740">
                  <a:extLst>
                    <a:ext uri="{9D8B030D-6E8A-4147-A177-3AD203B41FA5}">
                      <a16:colId xmlns:a16="http://schemas.microsoft.com/office/drawing/2014/main" val="74437759"/>
                    </a:ext>
                  </a:extLst>
                </a:gridCol>
              </a:tblGrid>
              <a:tr h="432912">
                <a:tc>
                  <a:txBody>
                    <a:bodyPr/>
                    <a:lstStyle/>
                    <a:p>
                      <a:r>
                        <a:rPr lang="en-US" sz="1100">
                          <a:latin typeface="Aptos" panose="020B0004020202020204" pitchFamily="34" charset="0"/>
                        </a:rPr>
                        <a:t>Subject</a:t>
                      </a:r>
                    </a:p>
                  </a:txBody>
                  <a:tcPr/>
                </a:tc>
                <a:tc>
                  <a:txBody>
                    <a:bodyPr/>
                    <a:lstStyle/>
                    <a:p>
                      <a:r>
                        <a:rPr lang="en-US" sz="1100">
                          <a:latin typeface="Aptos" panose="020B0004020202020204" pitchFamily="34" charset="0"/>
                        </a:rPr>
                        <a:t>Clause no.</a:t>
                      </a:r>
                    </a:p>
                  </a:txBody>
                  <a:tcPr/>
                </a:tc>
                <a:tc>
                  <a:txBody>
                    <a:bodyPr/>
                    <a:lstStyle/>
                    <a:p>
                      <a:r>
                        <a:rPr lang="en-US" sz="1100">
                          <a:latin typeface="Aptos" panose="020B0004020202020204" pitchFamily="34" charset="0"/>
                        </a:rPr>
                        <a:t>Current EA</a:t>
                      </a:r>
                    </a:p>
                  </a:txBody>
                  <a:tcPr/>
                </a:tc>
                <a:tc>
                  <a:txBody>
                    <a:bodyPr/>
                    <a:lstStyle/>
                    <a:p>
                      <a:r>
                        <a:rPr lang="en-US" sz="1100">
                          <a:latin typeface="Aptos" panose="020B0004020202020204" pitchFamily="34" charset="0"/>
                        </a:rPr>
                        <a:t>Proposed EA</a:t>
                      </a:r>
                    </a:p>
                  </a:txBody>
                  <a:tcPr/>
                </a:tc>
                <a:extLst>
                  <a:ext uri="{0D108BD9-81ED-4DB2-BD59-A6C34878D82A}">
                    <a16:rowId xmlns:a16="http://schemas.microsoft.com/office/drawing/2014/main" val="341385769"/>
                  </a:ext>
                </a:extLst>
              </a:tr>
              <a:tr h="442979">
                <a:tc>
                  <a:txBody>
                    <a:bodyPr/>
                    <a:lstStyle/>
                    <a:p>
                      <a:pPr lvl="0">
                        <a:buNone/>
                      </a:pPr>
                      <a:r>
                        <a:rPr lang="en-US" sz="1100" b="1">
                          <a:latin typeface="Aptos" panose="020B0004020202020204" pitchFamily="34" charset="0"/>
                        </a:rPr>
                        <a:t>Commencement date</a:t>
                      </a:r>
                    </a:p>
                  </a:txBody>
                  <a:tcPr/>
                </a:tc>
                <a:tc>
                  <a:txBody>
                    <a:bodyPr/>
                    <a:lstStyle/>
                    <a:p>
                      <a:pPr lvl="0">
                        <a:buNone/>
                      </a:pPr>
                      <a:r>
                        <a:rPr lang="en-US" sz="1100">
                          <a:latin typeface="Aptos" panose="020B0004020202020204" pitchFamily="34" charset="0"/>
                        </a:rPr>
                        <a:t>5.1</a:t>
                      </a:r>
                    </a:p>
                  </a:txBody>
                  <a:tcPr/>
                </a:tc>
                <a:tc>
                  <a:txBody>
                    <a:bodyPr/>
                    <a:lstStyle/>
                    <a:p>
                      <a:pPr lvl="0">
                        <a:buNone/>
                      </a:pPr>
                      <a:r>
                        <a:rPr lang="en-US" sz="1100" b="0" i="0" u="none" strike="noStrike" noProof="0">
                          <a:solidFill>
                            <a:srgbClr val="000000"/>
                          </a:solidFill>
                          <a:latin typeface="Aptos" panose="020B0004020202020204" pitchFamily="34" charset="0"/>
                        </a:rPr>
                        <a:t>This clause outlined that operation date of the</a:t>
                      </a:r>
                      <a:r>
                        <a:rPr lang="en-US" sz="1100" b="0" i="0" u="none" strike="noStrike" noProof="0">
                          <a:solidFill>
                            <a:schemeClr val="tx1"/>
                          </a:solidFill>
                          <a:latin typeface="Aptos" panose="020B0004020202020204" pitchFamily="34" charset="0"/>
                        </a:rPr>
                        <a:t> Current</a:t>
                      </a:r>
                      <a:r>
                        <a:rPr lang="en-US" sz="1100" b="0" i="0" u="none" strike="noStrike" noProof="0">
                          <a:solidFill>
                            <a:srgbClr val="000000"/>
                          </a:solidFill>
                          <a:latin typeface="Aptos" panose="020B0004020202020204" pitchFamily="34" charset="0"/>
                        </a:rPr>
                        <a:t> Agreement. </a:t>
                      </a:r>
                    </a:p>
                  </a:txBody>
                  <a:tcPr/>
                </a:tc>
                <a:tc>
                  <a:txBody>
                    <a:bodyPr/>
                    <a:lstStyle/>
                    <a:p>
                      <a:pPr lvl="0">
                        <a:buNone/>
                      </a:pPr>
                      <a:r>
                        <a:rPr lang="en-US" sz="1100" b="0" i="0" u="none" strike="noStrike" noProof="0">
                          <a:solidFill>
                            <a:srgbClr val="000000"/>
                          </a:solidFill>
                          <a:latin typeface="Aptos" panose="020B0004020202020204" pitchFamily="34" charset="0"/>
                        </a:rPr>
                        <a:t>This has been updated to 28 April 2025 with a nominal expiry date of 28 April 2028.  </a:t>
                      </a:r>
                    </a:p>
                  </a:txBody>
                  <a:tcPr/>
                </a:tc>
                <a:extLst>
                  <a:ext uri="{0D108BD9-81ED-4DB2-BD59-A6C34878D82A}">
                    <a16:rowId xmlns:a16="http://schemas.microsoft.com/office/drawing/2014/main" val="1230332188"/>
                  </a:ext>
                </a:extLst>
              </a:tr>
              <a:tr h="1127579">
                <a:tc>
                  <a:txBody>
                    <a:bodyPr/>
                    <a:lstStyle/>
                    <a:p>
                      <a:pPr lvl="0">
                        <a:buNone/>
                      </a:pPr>
                      <a:r>
                        <a:rPr lang="en-US" sz="1100" b="1">
                          <a:latin typeface="Aptos" panose="020B0004020202020204" pitchFamily="34" charset="0"/>
                        </a:rPr>
                        <a:t>Access to the Agreement and NES</a:t>
                      </a:r>
                    </a:p>
                  </a:txBody>
                  <a:tcPr/>
                </a:tc>
                <a:tc>
                  <a:txBody>
                    <a:bodyPr/>
                    <a:lstStyle/>
                    <a:p>
                      <a:pPr lvl="0">
                        <a:buNone/>
                      </a:pPr>
                      <a:r>
                        <a:rPr lang="en-US" sz="1100">
                          <a:latin typeface="Aptos" panose="020B0004020202020204" pitchFamily="34" charset="0"/>
                        </a:rPr>
                        <a:t>6.1</a:t>
                      </a:r>
                    </a:p>
                  </a:txBody>
                  <a:tcPr/>
                </a:tc>
                <a:tc>
                  <a:txBody>
                    <a:bodyPr/>
                    <a:lstStyle/>
                    <a:p>
                      <a:pPr lvl="0">
                        <a:buNone/>
                      </a:pPr>
                      <a:r>
                        <a:rPr lang="en-US" sz="1100" b="0" i="0" u="none" strike="noStrike" noProof="0">
                          <a:solidFill>
                            <a:srgbClr val="000000"/>
                          </a:solidFill>
                          <a:latin typeface="Aptos" panose="020B0004020202020204" pitchFamily="34" charset="0"/>
                        </a:rPr>
                        <a:t>This clause outlined that the </a:t>
                      </a:r>
                      <a:r>
                        <a:rPr lang="en-US" sz="1100" b="0" i="0" u="none" strike="noStrike" noProof="0">
                          <a:solidFill>
                            <a:schemeClr val="tx1"/>
                          </a:solidFill>
                          <a:latin typeface="Aptos" panose="020B0004020202020204" pitchFamily="34" charset="0"/>
                        </a:rPr>
                        <a:t>National Employment Standards (NES)</a:t>
                      </a:r>
                      <a:r>
                        <a:rPr lang="en-US" sz="1100" b="0" i="0" u="none" strike="noStrike" noProof="0">
                          <a:solidFill>
                            <a:srgbClr val="000000"/>
                          </a:solidFill>
                          <a:latin typeface="Aptos" panose="020B0004020202020204" pitchFamily="34" charset="0"/>
                        </a:rPr>
                        <a:t> and the Agreement contain the minimum conditions of employment for employees covered under the Current Agreement noting that the Current Agreement may provide for conditions in excess of the NES.</a:t>
                      </a:r>
                      <a:endParaRPr lang="en-US" sz="1100">
                        <a:latin typeface="Aptos" panose="020B0004020202020204" pitchFamily="34" charset="0"/>
                      </a:endParaRPr>
                    </a:p>
                  </a:txBody>
                  <a:tcPr/>
                </a:tc>
                <a:tc>
                  <a:txBody>
                    <a:bodyPr/>
                    <a:lstStyle/>
                    <a:p>
                      <a:pPr lvl="0">
                        <a:buNone/>
                      </a:pPr>
                      <a:r>
                        <a:rPr lang="en-US" sz="1100" b="0" i="0" u="none" strike="noStrike" noProof="0">
                          <a:solidFill>
                            <a:srgbClr val="000000"/>
                          </a:solidFill>
                          <a:latin typeface="Aptos" panose="020B0004020202020204" pitchFamily="34" charset="0"/>
                        </a:rPr>
                        <a:t>The clause now includes a provision which confirms that, if the NES provides for a more beneficial entitlement than the Agreement, the NES term will apply.</a:t>
                      </a:r>
                      <a:endParaRPr lang="en-US" sz="1100">
                        <a:latin typeface="Aptos" panose="020B0004020202020204" pitchFamily="34" charset="0"/>
                      </a:endParaRPr>
                    </a:p>
                  </a:txBody>
                  <a:tcPr/>
                </a:tc>
                <a:extLst>
                  <a:ext uri="{0D108BD9-81ED-4DB2-BD59-A6C34878D82A}">
                    <a16:rowId xmlns:a16="http://schemas.microsoft.com/office/drawing/2014/main" val="2580092501"/>
                  </a:ext>
                </a:extLst>
              </a:tr>
              <a:tr h="956433">
                <a:tc>
                  <a:txBody>
                    <a:bodyPr/>
                    <a:lstStyle/>
                    <a:p>
                      <a:pPr lvl="0">
                        <a:buNone/>
                      </a:pPr>
                      <a:r>
                        <a:rPr lang="en-US" sz="1100" b="1">
                          <a:latin typeface="Aptos" panose="020B0004020202020204" pitchFamily="34" charset="0"/>
                        </a:rPr>
                        <a:t>Casual Employment </a:t>
                      </a:r>
                    </a:p>
                  </a:txBody>
                  <a:tcPr/>
                </a:tc>
                <a:tc>
                  <a:txBody>
                    <a:bodyPr/>
                    <a:lstStyle/>
                    <a:p>
                      <a:pPr lvl="0">
                        <a:buNone/>
                      </a:pPr>
                      <a:r>
                        <a:rPr lang="en-US" sz="1100">
                          <a:latin typeface="Aptos" panose="020B0004020202020204" pitchFamily="34" charset="0"/>
                        </a:rPr>
                        <a:t>10.3</a:t>
                      </a:r>
                    </a:p>
                    <a:p>
                      <a:pPr lvl="0">
                        <a:buNone/>
                      </a:pPr>
                      <a:endParaRPr lang="en-US" sz="1100">
                        <a:latin typeface="Aptos" panose="020B0004020202020204" pitchFamily="34" charset="0"/>
                      </a:endParaRPr>
                    </a:p>
                  </a:txBody>
                  <a:tcPr/>
                </a:tc>
                <a:tc>
                  <a:txBody>
                    <a:bodyPr/>
                    <a:lstStyle/>
                    <a:p>
                      <a:pPr lvl="0">
                        <a:buNone/>
                      </a:pPr>
                      <a:r>
                        <a:rPr lang="en-US" sz="1100" b="0" i="0" u="none" strike="noStrike" noProof="0">
                          <a:solidFill>
                            <a:srgbClr val="000000"/>
                          </a:solidFill>
                          <a:latin typeface="Aptos" panose="020B0004020202020204" pitchFamily="34" charset="0"/>
                        </a:rPr>
                        <a:t>This clause outlined how the casual loading works and the engagement of casual employees. </a:t>
                      </a:r>
                    </a:p>
                  </a:txBody>
                  <a:tcPr/>
                </a:tc>
                <a:tc>
                  <a:txBody>
                    <a:bodyPr/>
                    <a:lstStyle/>
                    <a:p>
                      <a:pPr lvl="0">
                        <a:buNone/>
                      </a:pPr>
                      <a:r>
                        <a:rPr lang="en-US" sz="1100" b="0" i="0" u="none" strike="noStrike" noProof="0">
                          <a:solidFill>
                            <a:srgbClr val="000000"/>
                          </a:solidFill>
                          <a:latin typeface="Aptos" panose="020B0004020202020204" pitchFamily="34" charset="0"/>
                        </a:rPr>
                        <a:t>This clause now includes that a casual must be engaged and paid for at least 2 consecutive hours on each occasion that they work. We have also updated how the casual loading works on a public holiday. </a:t>
                      </a:r>
                    </a:p>
                  </a:txBody>
                  <a:tcPr/>
                </a:tc>
                <a:extLst>
                  <a:ext uri="{0D108BD9-81ED-4DB2-BD59-A6C34878D82A}">
                    <a16:rowId xmlns:a16="http://schemas.microsoft.com/office/drawing/2014/main" val="3595400025"/>
                  </a:ext>
                </a:extLst>
              </a:tr>
              <a:tr h="956433">
                <a:tc>
                  <a:txBody>
                    <a:bodyPr/>
                    <a:lstStyle/>
                    <a:p>
                      <a:pPr lvl="0">
                        <a:buNone/>
                      </a:pPr>
                      <a:r>
                        <a:rPr lang="en-US" sz="1100" b="1">
                          <a:latin typeface="Aptos" panose="020B0004020202020204" pitchFamily="34" charset="0"/>
                        </a:rPr>
                        <a:t>Employee Choice Pathway for Casuals </a:t>
                      </a:r>
                    </a:p>
                  </a:txBody>
                  <a:tcPr/>
                </a:tc>
                <a:tc>
                  <a:txBody>
                    <a:bodyPr/>
                    <a:lstStyle/>
                    <a:p>
                      <a:pPr lvl="0">
                        <a:buNone/>
                      </a:pPr>
                      <a:r>
                        <a:rPr lang="en-US" sz="1100">
                          <a:latin typeface="Aptos" panose="020B0004020202020204" pitchFamily="34" charset="0"/>
                        </a:rPr>
                        <a:t>10.4</a:t>
                      </a:r>
                    </a:p>
                  </a:txBody>
                  <a:tcPr/>
                </a:tc>
                <a:tc>
                  <a:txBody>
                    <a:bodyPr/>
                    <a:lstStyle/>
                    <a:p>
                      <a:pPr lvl="0">
                        <a:buNone/>
                      </a:pPr>
                      <a:r>
                        <a:rPr lang="en-US" sz="1100" b="0" i="0" u="none" strike="noStrike" noProof="0">
                          <a:solidFill>
                            <a:srgbClr val="000000"/>
                          </a:solidFill>
                          <a:latin typeface="Aptos" panose="020B0004020202020204" pitchFamily="34" charset="0"/>
                        </a:rPr>
                        <a:t>This clause outlined that any offers or requests for casual conversion for a casual to become a part time or full-time employee were provided for in the NES. </a:t>
                      </a:r>
                    </a:p>
                  </a:txBody>
                  <a:tcPr/>
                </a:tc>
                <a:tc>
                  <a:txBody>
                    <a:bodyPr/>
                    <a:lstStyle/>
                    <a:p>
                      <a:pPr lvl="0">
                        <a:buNone/>
                      </a:pPr>
                      <a:r>
                        <a:rPr lang="en-US" sz="1100" b="0" i="0" u="none" strike="noStrike" noProof="0">
                          <a:solidFill>
                            <a:schemeClr val="tx1"/>
                          </a:solidFill>
                          <a:latin typeface="Aptos" panose="020B0004020202020204" pitchFamily="34" charset="0"/>
                        </a:rPr>
                        <a:t>We have amended this clause to reflect the changes to casual conversion being that there is now an 'employee choice pathway' where an employee would like to change their employment from casual to full or part time. </a:t>
                      </a:r>
                      <a:endParaRPr lang="en-US" sz="1100">
                        <a:solidFill>
                          <a:schemeClr val="tx1"/>
                        </a:solidFill>
                        <a:latin typeface="Aptos" panose="020B0004020202020204" pitchFamily="34" charset="0"/>
                      </a:endParaRPr>
                    </a:p>
                  </a:txBody>
                  <a:tcPr/>
                </a:tc>
                <a:extLst>
                  <a:ext uri="{0D108BD9-81ED-4DB2-BD59-A6C34878D82A}">
                    <a16:rowId xmlns:a16="http://schemas.microsoft.com/office/drawing/2014/main" val="2557279255"/>
                  </a:ext>
                </a:extLst>
              </a:tr>
              <a:tr h="956433">
                <a:tc>
                  <a:txBody>
                    <a:bodyPr/>
                    <a:lstStyle/>
                    <a:p>
                      <a:pPr lvl="0">
                        <a:buNone/>
                      </a:pPr>
                      <a:r>
                        <a:rPr lang="en-US" sz="1100" b="1">
                          <a:latin typeface="Aptos" panose="020B0004020202020204" pitchFamily="34" charset="0"/>
                        </a:rPr>
                        <a:t>Limited Tenure Employment</a:t>
                      </a:r>
                    </a:p>
                  </a:txBody>
                  <a:tcPr/>
                </a:tc>
                <a:tc>
                  <a:txBody>
                    <a:bodyPr/>
                    <a:lstStyle/>
                    <a:p>
                      <a:pPr lvl="0">
                        <a:buNone/>
                      </a:pPr>
                      <a:r>
                        <a:rPr lang="en-US" sz="1100">
                          <a:latin typeface="Aptos" panose="020B0004020202020204" pitchFamily="34" charset="0"/>
                        </a:rPr>
                        <a:t>10.5</a:t>
                      </a:r>
                    </a:p>
                  </a:txBody>
                  <a:tcPr/>
                </a:tc>
                <a:tc>
                  <a:txBody>
                    <a:bodyPr/>
                    <a:lstStyle/>
                    <a:p>
                      <a:pPr lvl="0">
                        <a:buNone/>
                      </a:pPr>
                      <a:r>
                        <a:rPr lang="en-US" sz="1100" b="0" i="0" u="none" strike="noStrike" noProof="0">
                          <a:solidFill>
                            <a:srgbClr val="000000"/>
                          </a:solidFill>
                          <a:latin typeface="Aptos" panose="020B0004020202020204" pitchFamily="34" charset="0"/>
                        </a:rPr>
                        <a:t>This clause outlined that an employee may be engaged on a full time or part time basis for a specific period of time or task. It also set out the period of continuous employment that could apply to limited tenure employment. </a:t>
                      </a:r>
                    </a:p>
                  </a:txBody>
                  <a:tcPr/>
                </a:tc>
                <a:tc>
                  <a:txBody>
                    <a:bodyPr/>
                    <a:lstStyle/>
                    <a:p>
                      <a:pPr lvl="0">
                        <a:buNone/>
                      </a:pPr>
                      <a:r>
                        <a:rPr lang="en-US" sz="1100" b="0" i="0" u="none" strike="noStrike" noProof="0">
                          <a:solidFill>
                            <a:srgbClr val="000000"/>
                          </a:solidFill>
                          <a:latin typeface="Aptos" panose="020B0004020202020204" pitchFamily="34" charset="0"/>
                        </a:rPr>
                        <a:t>We have amended this clause to reflect that limited tenure employment will be no greater than 2 years, unless permitted by the Fair Work Act 2009 (</a:t>
                      </a:r>
                      <a:r>
                        <a:rPr lang="en-US" sz="1100" b="0" i="0" u="none" strike="noStrike" noProof="0" err="1">
                          <a:solidFill>
                            <a:srgbClr val="000000"/>
                          </a:solidFill>
                          <a:latin typeface="Aptos" panose="020B0004020202020204" pitchFamily="34" charset="0"/>
                        </a:rPr>
                        <a:t>Cth</a:t>
                      </a:r>
                      <a:r>
                        <a:rPr lang="en-US" sz="1100" b="0" i="0" u="none" strike="noStrike" noProof="0">
                          <a:solidFill>
                            <a:srgbClr val="000000"/>
                          </a:solidFill>
                          <a:latin typeface="Aptos" panose="020B0004020202020204" pitchFamily="34" charset="0"/>
                        </a:rPr>
                        <a:t>). </a:t>
                      </a:r>
                    </a:p>
                  </a:txBody>
                  <a:tcPr/>
                </a:tc>
                <a:extLst>
                  <a:ext uri="{0D108BD9-81ED-4DB2-BD59-A6C34878D82A}">
                    <a16:rowId xmlns:a16="http://schemas.microsoft.com/office/drawing/2014/main" val="2409440572"/>
                  </a:ext>
                </a:extLst>
              </a:tr>
            </a:tbl>
          </a:graphicData>
        </a:graphic>
      </p:graphicFrame>
    </p:spTree>
    <p:extLst>
      <p:ext uri="{BB962C8B-B14F-4D97-AF65-F5344CB8AC3E}">
        <p14:creationId xmlns:p14="http://schemas.microsoft.com/office/powerpoint/2010/main" val="2357935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6F659-AE00-325D-3598-D36A715894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B433D8-9BEE-3BC1-EA80-718FEF6DF4E3}"/>
              </a:ext>
            </a:extLst>
          </p:cNvPr>
          <p:cNvSpPr>
            <a:spLocks noGrp="1"/>
          </p:cNvSpPr>
          <p:nvPr>
            <p:ph type="title"/>
          </p:nvPr>
        </p:nvSpPr>
        <p:spPr/>
        <p:txBody>
          <a:bodyPr/>
          <a:lstStyle/>
          <a:p>
            <a:r>
              <a:rPr lang="en-US" dirty="0">
                <a:ea typeface="+mj-lt"/>
                <a:cs typeface="+mj-lt"/>
              </a:rPr>
              <a:t>Key Changes </a:t>
            </a:r>
            <a:endParaRPr lang="en-US" dirty="0"/>
          </a:p>
        </p:txBody>
      </p:sp>
      <p:sp>
        <p:nvSpPr>
          <p:cNvPr id="3" name="Text Placeholder 2">
            <a:extLst>
              <a:ext uri="{FF2B5EF4-FFF2-40B4-BE49-F238E27FC236}">
                <a16:creationId xmlns:a16="http://schemas.microsoft.com/office/drawing/2014/main" id="{A3109AD1-0D34-D869-A711-2B98F5CA9F1B}"/>
              </a:ext>
            </a:extLst>
          </p:cNvPr>
          <p:cNvSpPr>
            <a:spLocks noGrp="1"/>
          </p:cNvSpPr>
          <p:nvPr>
            <p:ph type="body" sz="quarter" idx="4294967295"/>
          </p:nvPr>
        </p:nvSpPr>
        <p:spPr>
          <a:xfrm>
            <a:off x="8093075" y="3373438"/>
            <a:ext cx="4098925" cy="3095625"/>
          </a:xfrm>
        </p:spPr>
        <p:txBody>
          <a:bodyPr/>
          <a:lstStyle/>
          <a:p>
            <a:r>
              <a:rPr lang="en-US" dirty="0">
                <a:latin typeface="Aptos"/>
              </a:rPr>
              <a:t> </a:t>
            </a:r>
            <a:endParaRPr lang="en-US" dirty="0"/>
          </a:p>
        </p:txBody>
      </p:sp>
      <p:sp>
        <p:nvSpPr>
          <p:cNvPr id="6" name="TextBox 5">
            <a:extLst>
              <a:ext uri="{FF2B5EF4-FFF2-40B4-BE49-F238E27FC236}">
                <a16:creationId xmlns:a16="http://schemas.microsoft.com/office/drawing/2014/main" id="{A9D81DB0-CC00-7BBE-B127-AADA32FC745F}"/>
              </a:ext>
            </a:extLst>
          </p:cNvPr>
          <p:cNvSpPr txBox="1"/>
          <p:nvPr/>
        </p:nvSpPr>
        <p:spPr>
          <a:xfrm>
            <a:off x="328688" y="761115"/>
            <a:ext cx="2172488" cy="483452"/>
          </a:xfrm>
          <a:prstGeom prst="rect">
            <a:avLst/>
          </a:prstGeom>
          <a:noFill/>
        </p:spPr>
        <p:txBody>
          <a:bodyPr wrap="square" lIns="0" tIns="0" rIns="0" bIns="0" rtlCol="0" anchor="t">
            <a:noAutofit/>
          </a:bodyPr>
          <a:lstStyle/>
          <a:p>
            <a:pPr>
              <a:defRPr/>
            </a:pPr>
            <a:r>
              <a:rPr lang="en-US" sz="2000" b="1" dirty="0">
                <a:solidFill>
                  <a:srgbClr val="00B0F0"/>
                </a:solidFill>
                <a:latin typeface="Calibri"/>
                <a:ea typeface="Calibri"/>
                <a:cs typeface="Calibri"/>
              </a:rPr>
              <a:t>Other changes</a:t>
            </a:r>
          </a:p>
          <a:p>
            <a:pPr>
              <a:defRPr/>
            </a:pPr>
            <a:endParaRPr lang="en-US" sz="2000" dirty="0">
              <a:solidFill>
                <a:srgbClr val="00B0F0"/>
              </a:solidFill>
              <a:latin typeface="Calibri"/>
              <a:ea typeface="Calibri"/>
              <a:cs typeface="Calibri"/>
            </a:endParaRPr>
          </a:p>
          <a:p>
            <a:pPr marR="0" algn="l" defTabSz="914400">
              <a:lnSpc>
                <a:spcPct val="100000"/>
              </a:lnSpc>
              <a:spcBef>
                <a:spcPts val="0"/>
              </a:spcBef>
              <a:spcAft>
                <a:spcPts val="0"/>
              </a:spcAft>
              <a:buClrTx/>
              <a:buSzTx/>
              <a:tabLst/>
              <a:defRPr/>
            </a:pPr>
            <a:endParaRPr lang="en-US" sz="2000" b="0" i="0" u="none" strike="noStrike" kern="1200" cap="none" spc="0" normalizeH="0" baseline="0" noProof="0" dirty="0">
              <a:ln>
                <a:noFill/>
              </a:ln>
              <a:solidFill>
                <a:srgbClr val="00B0F0"/>
              </a:solidFill>
              <a:effectLst/>
              <a:uLnTx/>
              <a:uFillTx/>
              <a:latin typeface="Calibri"/>
              <a:ea typeface="Calibri"/>
              <a:cs typeface="Calibri"/>
            </a:endParaRPr>
          </a:p>
          <a:p>
            <a:pPr marL="285750" marR="0" lvl="0" indent="-285750" algn="l" defTabSz="914400">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dirty="0">
              <a:ln>
                <a:noFill/>
              </a:ln>
              <a:solidFill>
                <a:srgbClr val="00B0F0"/>
              </a:solidFill>
              <a:effectLst/>
              <a:uLnTx/>
              <a:uFillTx/>
              <a:latin typeface="Aptos"/>
              <a:ea typeface="Calibri"/>
              <a:cs typeface="Calibri"/>
            </a:endParaRPr>
          </a:p>
          <a:p>
            <a:pPr marL="285750" marR="0" lvl="0" indent="-285750" algn="l" defTabSz="914400">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dirty="0">
              <a:ln>
                <a:noFill/>
              </a:ln>
              <a:solidFill>
                <a:srgbClr val="00B0F0"/>
              </a:solidFill>
              <a:effectLst/>
              <a:uLnTx/>
              <a:uFillTx/>
              <a:latin typeface="Aptos"/>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dirty="0">
              <a:ln>
                <a:noFill/>
              </a:ln>
              <a:solidFill>
                <a:srgbClr val="00B0F0"/>
              </a:solidFill>
              <a:effectLst/>
              <a:highlight>
                <a:srgbClr val="FFFF00"/>
              </a:highlight>
              <a:uLnTx/>
              <a:uFillTx/>
              <a:latin typeface="Apto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dirty="0">
              <a:ln>
                <a:noFill/>
              </a:ln>
              <a:solidFill>
                <a:srgbClr val="00B0F0"/>
              </a:solidFill>
              <a:effectLst/>
              <a:highlight>
                <a:srgbClr val="FFFF00"/>
              </a:highlight>
              <a:uLnTx/>
              <a:uFillTx/>
              <a:latin typeface="Aptos"/>
            </a:endParaRPr>
          </a:p>
          <a:p>
            <a:pPr marR="0" lvl="0" algn="l" defTabSz="914400" rtl="0" eaLnBrk="1" fontAlgn="auto" latinLnBrk="0" hangingPunct="1">
              <a:lnSpc>
                <a:spcPct val="100000"/>
              </a:lnSpc>
              <a:spcBef>
                <a:spcPts val="0"/>
              </a:spcBef>
              <a:spcAft>
                <a:spcPts val="0"/>
              </a:spcAft>
              <a:buClrTx/>
              <a:buSzTx/>
              <a:tabLst/>
              <a:defRPr/>
            </a:pPr>
            <a:endParaRPr lang="en-AU" sz="2000" b="0" i="0" u="none" strike="noStrike" kern="1200" cap="none" spc="0" normalizeH="0" baseline="0" noProof="0" dirty="0">
              <a:ln>
                <a:noFill/>
              </a:ln>
              <a:solidFill>
                <a:srgbClr val="00B0F0"/>
              </a:solidFill>
              <a:effectLst/>
              <a:uLnTx/>
              <a:uFillTx/>
              <a:latin typeface="Apto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dirty="0">
              <a:ln>
                <a:noFill/>
              </a:ln>
              <a:solidFill>
                <a:srgbClr val="00B0F0"/>
              </a:solidFill>
              <a:effectLst/>
              <a:uLnTx/>
              <a:uFillTx/>
              <a:latin typeface="Aptos"/>
            </a:endParaRPr>
          </a:p>
          <a:p>
            <a:pPr marL="285750" indent="-285750">
              <a:buFont typeface="Arial" panose="020B0604020202020204" pitchFamily="34" charset="0"/>
              <a:buChar char="•"/>
              <a:defRPr/>
            </a:pPr>
            <a:endParaRPr lang="en-AU" sz="2000" dirty="0">
              <a:solidFill>
                <a:srgbClr val="00B0F0"/>
              </a:solidFill>
              <a:latin typeface="Aptos"/>
            </a:endParaRPr>
          </a:p>
        </p:txBody>
      </p:sp>
      <p:graphicFrame>
        <p:nvGraphicFramePr>
          <p:cNvPr id="7" name="Table 6">
            <a:extLst>
              <a:ext uri="{FF2B5EF4-FFF2-40B4-BE49-F238E27FC236}">
                <a16:creationId xmlns:a16="http://schemas.microsoft.com/office/drawing/2014/main" id="{A5438285-99E2-9A75-3D5F-CAC77BBFE3F3}"/>
              </a:ext>
            </a:extLst>
          </p:cNvPr>
          <p:cNvGraphicFramePr>
            <a:graphicFrameLocks noGrp="1"/>
          </p:cNvGraphicFramePr>
          <p:nvPr>
            <p:extLst>
              <p:ext uri="{D42A27DB-BD31-4B8C-83A1-F6EECF244321}">
                <p14:modId xmlns:p14="http://schemas.microsoft.com/office/powerpoint/2010/main" val="1654686936"/>
              </p:ext>
            </p:extLst>
          </p:nvPr>
        </p:nvGraphicFramePr>
        <p:xfrm>
          <a:off x="303432" y="1103879"/>
          <a:ext cx="11363575" cy="5220448"/>
        </p:xfrm>
        <a:graphic>
          <a:graphicData uri="http://schemas.openxmlformats.org/drawingml/2006/table">
            <a:tbl>
              <a:tblPr firstRow="1" bandRow="1">
                <a:tableStyleId>{5C22544A-7EE6-4342-B048-85BDC9FD1C3A}</a:tableStyleId>
              </a:tblPr>
              <a:tblGrid>
                <a:gridCol w="1632379">
                  <a:extLst>
                    <a:ext uri="{9D8B030D-6E8A-4147-A177-3AD203B41FA5}">
                      <a16:colId xmlns:a16="http://schemas.microsoft.com/office/drawing/2014/main" val="3430418746"/>
                    </a:ext>
                  </a:extLst>
                </a:gridCol>
                <a:gridCol w="956962">
                  <a:extLst>
                    <a:ext uri="{9D8B030D-6E8A-4147-A177-3AD203B41FA5}">
                      <a16:colId xmlns:a16="http://schemas.microsoft.com/office/drawing/2014/main" val="2460787009"/>
                    </a:ext>
                  </a:extLst>
                </a:gridCol>
                <a:gridCol w="3275756">
                  <a:extLst>
                    <a:ext uri="{9D8B030D-6E8A-4147-A177-3AD203B41FA5}">
                      <a16:colId xmlns:a16="http://schemas.microsoft.com/office/drawing/2014/main" val="515269051"/>
                    </a:ext>
                  </a:extLst>
                </a:gridCol>
                <a:gridCol w="5498478">
                  <a:extLst>
                    <a:ext uri="{9D8B030D-6E8A-4147-A177-3AD203B41FA5}">
                      <a16:colId xmlns:a16="http://schemas.microsoft.com/office/drawing/2014/main" val="74437759"/>
                    </a:ext>
                  </a:extLst>
                </a:gridCol>
              </a:tblGrid>
              <a:tr h="496048">
                <a:tc>
                  <a:txBody>
                    <a:bodyPr/>
                    <a:lstStyle/>
                    <a:p>
                      <a:r>
                        <a:rPr lang="en-US" sz="1100" dirty="0">
                          <a:latin typeface="Aptos" panose="020B0004020202020204" pitchFamily="34" charset="0"/>
                        </a:rPr>
                        <a:t>Subject</a:t>
                      </a:r>
                    </a:p>
                  </a:txBody>
                  <a:tcPr/>
                </a:tc>
                <a:tc>
                  <a:txBody>
                    <a:bodyPr/>
                    <a:lstStyle/>
                    <a:p>
                      <a:r>
                        <a:rPr lang="en-US" sz="1100" dirty="0">
                          <a:latin typeface="Aptos" panose="020B0004020202020204" pitchFamily="34" charset="0"/>
                        </a:rPr>
                        <a:t>Clause no.</a:t>
                      </a:r>
                    </a:p>
                  </a:txBody>
                  <a:tcPr/>
                </a:tc>
                <a:tc>
                  <a:txBody>
                    <a:bodyPr/>
                    <a:lstStyle/>
                    <a:p>
                      <a:r>
                        <a:rPr lang="en-US" sz="1100" dirty="0">
                          <a:latin typeface="Aptos" panose="020B0004020202020204" pitchFamily="34" charset="0"/>
                        </a:rPr>
                        <a:t>Current EA</a:t>
                      </a:r>
                    </a:p>
                  </a:txBody>
                  <a:tcPr/>
                </a:tc>
                <a:tc>
                  <a:txBody>
                    <a:bodyPr/>
                    <a:lstStyle/>
                    <a:p>
                      <a:r>
                        <a:rPr lang="en-US" sz="1100" dirty="0">
                          <a:latin typeface="Aptos" panose="020B0004020202020204" pitchFamily="34" charset="0"/>
                        </a:rPr>
                        <a:t>Proposed EA</a:t>
                      </a:r>
                    </a:p>
                  </a:txBody>
                  <a:tcPr/>
                </a:tc>
                <a:extLst>
                  <a:ext uri="{0D108BD9-81ED-4DB2-BD59-A6C34878D82A}">
                    <a16:rowId xmlns:a16="http://schemas.microsoft.com/office/drawing/2014/main" val="341385769"/>
                  </a:ext>
                </a:extLst>
              </a:tr>
              <a:tr h="919830">
                <a:tc>
                  <a:txBody>
                    <a:bodyPr/>
                    <a:lstStyle/>
                    <a:p>
                      <a:pPr lvl="0">
                        <a:buNone/>
                      </a:pPr>
                      <a:r>
                        <a:rPr lang="en-US" sz="1100" b="1" dirty="0">
                          <a:latin typeface="Aptos" panose="020B0004020202020204" pitchFamily="34" charset="0"/>
                        </a:rPr>
                        <a:t>Notice of Termination by an Employee</a:t>
                      </a:r>
                    </a:p>
                  </a:txBody>
                  <a:tcPr/>
                </a:tc>
                <a:tc>
                  <a:txBody>
                    <a:bodyPr/>
                    <a:lstStyle/>
                    <a:p>
                      <a:pPr lvl="0">
                        <a:buNone/>
                      </a:pPr>
                      <a:r>
                        <a:rPr lang="en-US" sz="1100" dirty="0">
                          <a:latin typeface="Aptos" panose="020B0004020202020204" pitchFamily="34" charset="0"/>
                        </a:rPr>
                        <a:t>11.3</a:t>
                      </a:r>
                    </a:p>
                  </a:txBody>
                  <a:tcPr/>
                </a:tc>
                <a:tc>
                  <a:txBody>
                    <a:bodyPr/>
                    <a:lstStyle/>
                    <a:p>
                      <a:pPr lvl="0">
                        <a:buNone/>
                      </a:pPr>
                      <a:r>
                        <a:rPr lang="en-US" sz="1100" b="0" i="0" u="none" strike="noStrike" noProof="0" dirty="0">
                          <a:solidFill>
                            <a:srgbClr val="000000"/>
                          </a:solidFill>
                          <a:latin typeface="Aptos" panose="020B0004020202020204" pitchFamily="34" charset="0"/>
                        </a:rPr>
                        <a:t>This clause outlined the notice of termination periods that applied where an employee was providing notice. It also set out that nbn could withhold any monies due, should an employee fail to provide the correct notice period. </a:t>
                      </a:r>
                    </a:p>
                  </a:txBody>
                  <a:tcPr/>
                </a:tc>
                <a:tc>
                  <a:txBody>
                    <a:bodyPr/>
                    <a:lstStyle/>
                    <a:p>
                      <a:pPr lvl="0">
                        <a:buNone/>
                      </a:pPr>
                      <a:r>
                        <a:rPr lang="en-US" sz="1100" b="0" i="0" u="none" strike="noStrike" noProof="0" dirty="0">
                          <a:solidFill>
                            <a:srgbClr val="000000"/>
                          </a:solidFill>
                          <a:latin typeface="Aptos" panose="020B0004020202020204" pitchFamily="34" charset="0"/>
                        </a:rPr>
                        <a:t>This clause has been updated to provide that nbn may only deduct an amount from wages of no more than 1 week, if an employee fails to provide the required notice period. </a:t>
                      </a:r>
                    </a:p>
                    <a:p>
                      <a:pPr lvl="0">
                        <a:buNone/>
                      </a:pPr>
                      <a:endParaRPr lang="en-US" sz="1100" b="0" i="0" u="none" strike="noStrike" noProof="0" dirty="0">
                        <a:solidFill>
                          <a:srgbClr val="000000"/>
                        </a:solidFill>
                        <a:latin typeface="Aptos" panose="020B0004020202020204" pitchFamily="34" charset="0"/>
                      </a:endParaRPr>
                    </a:p>
                    <a:p>
                      <a:pPr lvl="0">
                        <a:buNone/>
                      </a:pPr>
                      <a:r>
                        <a:rPr lang="en-US" sz="1100" b="0" i="0" u="none" strike="noStrike" noProof="0" dirty="0">
                          <a:solidFill>
                            <a:srgbClr val="000000"/>
                          </a:solidFill>
                          <a:latin typeface="Aptos" panose="020B0004020202020204" pitchFamily="34" charset="0"/>
                        </a:rPr>
                        <a:t>The effect of this is that the new clause limits deductions to 1 week, rather than ‘</a:t>
                      </a:r>
                      <a:r>
                        <a:rPr lang="en-US" sz="1100" b="0" i="1" u="none" strike="noStrike" noProof="0" dirty="0">
                          <a:solidFill>
                            <a:srgbClr val="000000"/>
                          </a:solidFill>
                          <a:latin typeface="Aptos" panose="020B0004020202020204" pitchFamily="34" charset="0"/>
                        </a:rPr>
                        <a:t>any monies due</a:t>
                      </a:r>
                      <a:r>
                        <a:rPr lang="en-US" sz="1100" b="0" i="0" u="none" strike="noStrike" noProof="0" dirty="0">
                          <a:solidFill>
                            <a:srgbClr val="000000"/>
                          </a:solidFill>
                          <a:latin typeface="Aptos" panose="020B0004020202020204" pitchFamily="34" charset="0"/>
                        </a:rPr>
                        <a:t>’.</a:t>
                      </a:r>
                    </a:p>
                  </a:txBody>
                  <a:tcPr/>
                </a:tc>
                <a:extLst>
                  <a:ext uri="{0D108BD9-81ED-4DB2-BD59-A6C34878D82A}">
                    <a16:rowId xmlns:a16="http://schemas.microsoft.com/office/drawing/2014/main" val="1230332188"/>
                  </a:ext>
                </a:extLst>
              </a:tr>
              <a:tr h="234415">
                <a:tc>
                  <a:txBody>
                    <a:bodyPr/>
                    <a:lstStyle/>
                    <a:p>
                      <a:pPr lvl="0">
                        <a:buNone/>
                      </a:pPr>
                      <a:r>
                        <a:rPr lang="en-US" sz="1100" b="1" dirty="0">
                          <a:latin typeface="Aptos" panose="020B0004020202020204" pitchFamily="34" charset="0"/>
                        </a:rPr>
                        <a:t>Classification review </a:t>
                      </a:r>
                    </a:p>
                  </a:txBody>
                  <a:tcPr/>
                </a:tc>
                <a:tc>
                  <a:txBody>
                    <a:bodyPr/>
                    <a:lstStyle/>
                    <a:p>
                      <a:pPr lvl="0">
                        <a:buNone/>
                      </a:pPr>
                      <a:r>
                        <a:rPr lang="en-US" sz="1100" dirty="0">
                          <a:latin typeface="Aptos" panose="020B0004020202020204" pitchFamily="34" charset="0"/>
                        </a:rPr>
                        <a:t>13</a:t>
                      </a:r>
                    </a:p>
                  </a:txBody>
                  <a:tcPr/>
                </a:tc>
                <a:tc>
                  <a:txBody>
                    <a:bodyPr/>
                    <a:lstStyle/>
                    <a:p>
                      <a:pPr lvl="0">
                        <a:buNone/>
                      </a:pPr>
                      <a:r>
                        <a:rPr lang="en-US" sz="1100" b="0" i="0" u="none" strike="noStrike" noProof="0" dirty="0">
                          <a:solidFill>
                            <a:srgbClr val="000000"/>
                          </a:solidFill>
                          <a:latin typeface="Aptos" panose="020B0004020202020204" pitchFamily="34" charset="0"/>
                        </a:rPr>
                        <a:t>This clause outlined the commitment to a review of the classification bands in Schedules A, B and C. </a:t>
                      </a:r>
                    </a:p>
                  </a:txBody>
                  <a:tcPr/>
                </a:tc>
                <a:tc>
                  <a:txBody>
                    <a:bodyPr/>
                    <a:lstStyle/>
                    <a:p>
                      <a:pPr lvl="0">
                        <a:buNone/>
                      </a:pPr>
                      <a:r>
                        <a:rPr lang="en-US" sz="1100" b="0" i="0" u="none" strike="noStrike" noProof="0" dirty="0">
                          <a:solidFill>
                            <a:srgbClr val="000000"/>
                          </a:solidFill>
                          <a:latin typeface="Aptos" panose="020B0004020202020204" pitchFamily="34" charset="0"/>
                        </a:rPr>
                        <a:t>This clause has been updated to confirm that nbn commits to the review during the life of the Agreement, rather than the during the first 6 months. As the CFTs have been aligned to one of the three tiers, the sentence referring to this has been removed. </a:t>
                      </a:r>
                    </a:p>
                  </a:txBody>
                  <a:tcPr/>
                </a:tc>
                <a:extLst>
                  <a:ext uri="{0D108BD9-81ED-4DB2-BD59-A6C34878D82A}">
                    <a16:rowId xmlns:a16="http://schemas.microsoft.com/office/drawing/2014/main" val="3098461444"/>
                  </a:ext>
                </a:extLst>
              </a:tr>
              <a:tr h="2080926">
                <a:tc>
                  <a:txBody>
                    <a:bodyPr/>
                    <a:lstStyle/>
                    <a:p>
                      <a:pPr lvl="0">
                        <a:buNone/>
                      </a:pPr>
                      <a:r>
                        <a:rPr lang="en-US" sz="1100" b="1" dirty="0">
                          <a:latin typeface="Aptos" panose="020B0004020202020204" pitchFamily="34" charset="0"/>
                        </a:rPr>
                        <a:t>Allowances</a:t>
                      </a:r>
                    </a:p>
                  </a:txBody>
                  <a:tcPr/>
                </a:tc>
                <a:tc>
                  <a:txBody>
                    <a:bodyPr/>
                    <a:lstStyle/>
                    <a:p>
                      <a:pPr lvl="0">
                        <a:buNone/>
                      </a:pPr>
                      <a:r>
                        <a:rPr lang="en-US" sz="1100" dirty="0">
                          <a:latin typeface="Aptos" panose="020B0004020202020204" pitchFamily="34" charset="0"/>
                        </a:rPr>
                        <a:t>14</a:t>
                      </a:r>
                    </a:p>
                  </a:txBody>
                  <a:tcPr/>
                </a:tc>
                <a:tc>
                  <a:txBody>
                    <a:bodyPr/>
                    <a:lstStyle/>
                    <a:p>
                      <a:pPr lvl="0">
                        <a:buNone/>
                      </a:pPr>
                      <a:r>
                        <a:rPr lang="en-US" sz="1100" b="0" i="0" u="none" strike="noStrike" noProof="0" dirty="0">
                          <a:solidFill>
                            <a:srgbClr val="000000"/>
                          </a:solidFill>
                          <a:latin typeface="Aptos" panose="020B0004020202020204" pitchFamily="34" charset="0"/>
                        </a:rPr>
                        <a:t>This clause outlined the allowances payable to employees, along with any increases and the effective dates of the increases. </a:t>
                      </a:r>
                    </a:p>
                  </a:txBody>
                  <a:tcPr/>
                </a:tc>
                <a:tc>
                  <a:txBody>
                    <a:bodyPr/>
                    <a:lstStyle/>
                    <a:p>
                      <a:pPr marL="0" marR="0" lvl="0" indent="0" algn="l">
                        <a:lnSpc>
                          <a:spcPct val="100000"/>
                        </a:lnSpc>
                        <a:spcBef>
                          <a:spcPts val="0"/>
                        </a:spcBef>
                        <a:spcAft>
                          <a:spcPts val="0"/>
                        </a:spcAft>
                        <a:buNone/>
                      </a:pPr>
                      <a:r>
                        <a:rPr lang="en-US" sz="1100" b="0" i="0" u="none" strike="noStrike" noProof="0" dirty="0">
                          <a:solidFill>
                            <a:srgbClr val="000000"/>
                          </a:solidFill>
                          <a:latin typeface="Aptos" panose="020B0004020202020204" pitchFamily="34" charset="0"/>
                        </a:rPr>
                        <a:t>This clause has been updated to reflect the allowance increases, current allowance rates and the effective dates for the increases of 4% which commence from the Date of Operation.  </a:t>
                      </a:r>
                    </a:p>
                    <a:p>
                      <a:pPr marL="0" marR="0" lvl="0" indent="0" algn="l">
                        <a:lnSpc>
                          <a:spcPct val="100000"/>
                        </a:lnSpc>
                        <a:spcBef>
                          <a:spcPts val="0"/>
                        </a:spcBef>
                        <a:spcAft>
                          <a:spcPts val="0"/>
                        </a:spcAft>
                        <a:buNone/>
                      </a:pPr>
                      <a:endParaRPr lang="en-US" sz="1100" dirty="0">
                        <a:latin typeface="Aptos" panose="020B0004020202020204" pitchFamily="34" charset="0"/>
                      </a:endParaRPr>
                    </a:p>
                    <a:p>
                      <a:pPr marL="0" marR="0" lvl="0" indent="0" algn="l">
                        <a:lnSpc>
                          <a:spcPct val="100000"/>
                        </a:lnSpc>
                        <a:spcBef>
                          <a:spcPts val="0"/>
                        </a:spcBef>
                        <a:spcAft>
                          <a:spcPts val="0"/>
                        </a:spcAft>
                        <a:buNone/>
                      </a:pPr>
                      <a:r>
                        <a:rPr lang="en-US" sz="1100" b="0" i="0" u="none" strike="noStrike" noProof="0" dirty="0">
                          <a:solidFill>
                            <a:srgbClr val="000000"/>
                          </a:solidFill>
                          <a:latin typeface="Aptos" panose="020B0004020202020204" pitchFamily="34" charset="0"/>
                        </a:rPr>
                        <a:t>It has been updated to confirm that the increases apply to the Meal Allowance and First Aid Allowance (as the Vehicle Allowance increases are based on the ATO annual adjustment applicable).</a:t>
                      </a:r>
                    </a:p>
                    <a:p>
                      <a:pPr marL="0" marR="0" lvl="0" indent="0" algn="l">
                        <a:lnSpc>
                          <a:spcPct val="100000"/>
                        </a:lnSpc>
                        <a:spcBef>
                          <a:spcPts val="0"/>
                        </a:spcBef>
                        <a:spcAft>
                          <a:spcPts val="0"/>
                        </a:spcAft>
                        <a:buNone/>
                      </a:pPr>
                      <a:endParaRPr lang="en-US" sz="1100" b="0" i="0" u="none" strike="noStrike" kern="1200" noProof="0" dirty="0">
                        <a:solidFill>
                          <a:srgbClr val="000000"/>
                        </a:solidFill>
                        <a:latin typeface="Aptos" panose="020B0004020202020204" pitchFamily="34" charset="0"/>
                        <a:ea typeface="+mn-ea"/>
                        <a:cs typeface="+mn-cs"/>
                      </a:endParaRPr>
                    </a:p>
                    <a:p>
                      <a:pPr marL="0" marR="0" lvl="0" indent="0" algn="l">
                        <a:lnSpc>
                          <a:spcPct val="100000"/>
                        </a:lnSpc>
                        <a:spcBef>
                          <a:spcPts val="0"/>
                        </a:spcBef>
                        <a:spcAft>
                          <a:spcPts val="0"/>
                        </a:spcAft>
                        <a:buNone/>
                      </a:pPr>
                      <a:r>
                        <a:rPr lang="en-US" sz="1100" b="0" i="0" u="none" strike="noStrike" kern="1200" noProof="0" dirty="0">
                          <a:solidFill>
                            <a:srgbClr val="000000"/>
                          </a:solidFill>
                          <a:latin typeface="Aptos" panose="020B0004020202020204" pitchFamily="34" charset="0"/>
                          <a:ea typeface="+mn-ea"/>
                          <a:cs typeface="+mn-cs"/>
                        </a:rPr>
                        <a:t>On or after the Date of Operation, the Allowances will increase as follows: </a:t>
                      </a:r>
                    </a:p>
                    <a:p>
                      <a:pPr marL="285750" marR="0" lvl="0" indent="-285750" algn="l">
                        <a:lnSpc>
                          <a:spcPct val="100000"/>
                        </a:lnSpc>
                        <a:spcBef>
                          <a:spcPts val="0"/>
                        </a:spcBef>
                        <a:spcAft>
                          <a:spcPts val="0"/>
                        </a:spcAft>
                        <a:buClr>
                          <a:srgbClr val="000000"/>
                        </a:buClr>
                        <a:buFont typeface="Courier New,monospace"/>
                        <a:buChar char="o"/>
                      </a:pPr>
                      <a:r>
                        <a:rPr lang="en-US" sz="1100" b="0" i="0" u="none" strike="noStrike" kern="1200" noProof="0" dirty="0">
                          <a:solidFill>
                            <a:srgbClr val="000000"/>
                          </a:solidFill>
                          <a:latin typeface="Aptos" panose="020B0004020202020204" pitchFamily="34" charset="0"/>
                          <a:ea typeface="+mn-ea"/>
                          <a:cs typeface="+mn-cs"/>
                        </a:rPr>
                        <a:t>The Meal Allowance will increase from $22.11 to $25.00 per occasion.</a:t>
                      </a:r>
                    </a:p>
                    <a:p>
                      <a:pPr marL="285750" marR="0" lvl="0" indent="-285750" algn="l">
                        <a:lnSpc>
                          <a:spcPct val="100000"/>
                        </a:lnSpc>
                        <a:spcBef>
                          <a:spcPts val="0"/>
                        </a:spcBef>
                        <a:spcAft>
                          <a:spcPts val="0"/>
                        </a:spcAft>
                        <a:buClr>
                          <a:srgbClr val="000000"/>
                        </a:buClr>
                        <a:buFont typeface="Courier New,monospace"/>
                        <a:buChar char="o"/>
                      </a:pPr>
                      <a:r>
                        <a:rPr lang="en-US" sz="1100" b="0" i="0" u="none" strike="noStrike" kern="1200" noProof="0" dirty="0">
                          <a:solidFill>
                            <a:srgbClr val="000000"/>
                          </a:solidFill>
                          <a:latin typeface="Aptos" panose="020B0004020202020204" pitchFamily="34" charset="0"/>
                          <a:ea typeface="+mn-ea"/>
                          <a:cs typeface="+mn-cs"/>
                        </a:rPr>
                        <a:t>The First Aid Allowance will increase from $19.24 to $20.65 per week.</a:t>
                      </a:r>
                    </a:p>
                    <a:p>
                      <a:pPr marL="285750" marR="0" lvl="0" indent="-285750" algn="l">
                        <a:lnSpc>
                          <a:spcPct val="100000"/>
                        </a:lnSpc>
                        <a:spcBef>
                          <a:spcPts val="0"/>
                        </a:spcBef>
                        <a:spcAft>
                          <a:spcPts val="0"/>
                        </a:spcAft>
                        <a:buClr>
                          <a:srgbClr val="000000"/>
                        </a:buClr>
                        <a:buFont typeface="Courier New,monospace"/>
                        <a:buChar char="o"/>
                      </a:pPr>
                      <a:r>
                        <a:rPr lang="en-US" sz="1100" b="0" i="0" u="none" strike="noStrike" kern="1200" noProof="0" dirty="0">
                          <a:solidFill>
                            <a:srgbClr val="000000"/>
                          </a:solidFill>
                          <a:latin typeface="Aptos" panose="020B0004020202020204" pitchFamily="34" charset="0"/>
                          <a:ea typeface="+mn-ea"/>
                          <a:cs typeface="+mn-cs"/>
                        </a:rPr>
                        <a:t>The Vehicle Allowance will increase from $0.88 to $0.98 per km. </a:t>
                      </a:r>
                    </a:p>
                  </a:txBody>
                  <a:tcPr/>
                </a:tc>
                <a:extLst>
                  <a:ext uri="{0D108BD9-81ED-4DB2-BD59-A6C34878D82A}">
                    <a16:rowId xmlns:a16="http://schemas.microsoft.com/office/drawing/2014/main" val="2580092501"/>
                  </a:ext>
                </a:extLst>
              </a:tr>
              <a:tr h="1038671">
                <a:tc>
                  <a:txBody>
                    <a:bodyPr/>
                    <a:lstStyle/>
                    <a:p>
                      <a:pPr lvl="0">
                        <a:buNone/>
                      </a:pPr>
                      <a:r>
                        <a:rPr lang="en-US" sz="1100" b="1" dirty="0">
                          <a:latin typeface="Aptos" panose="020B0004020202020204" pitchFamily="34" charset="0"/>
                        </a:rPr>
                        <a:t>On Call Allowance </a:t>
                      </a:r>
                    </a:p>
                  </a:txBody>
                  <a:tcPr/>
                </a:tc>
                <a:tc>
                  <a:txBody>
                    <a:bodyPr/>
                    <a:lstStyle/>
                    <a:p>
                      <a:pPr lvl="0">
                        <a:buNone/>
                      </a:pPr>
                      <a:r>
                        <a:rPr lang="en-US" sz="1100" dirty="0">
                          <a:latin typeface="Aptos" panose="020B0004020202020204" pitchFamily="34" charset="0"/>
                        </a:rPr>
                        <a:t>14.1(g)</a:t>
                      </a:r>
                    </a:p>
                    <a:p>
                      <a:pPr lvl="0">
                        <a:buNone/>
                      </a:pPr>
                      <a:endParaRPr lang="en-US" sz="1100" dirty="0">
                        <a:latin typeface="Aptos" panose="020B0004020202020204" pitchFamily="34" charset="0"/>
                      </a:endParaRPr>
                    </a:p>
                  </a:txBody>
                  <a:tcPr/>
                </a:tc>
                <a:tc>
                  <a:txBody>
                    <a:bodyPr/>
                    <a:lstStyle/>
                    <a:p>
                      <a:pPr lvl="0">
                        <a:buNone/>
                      </a:pPr>
                      <a:r>
                        <a:rPr lang="en-US" sz="1100" b="0" i="0" u="none" strike="noStrike" noProof="0" dirty="0">
                          <a:solidFill>
                            <a:srgbClr val="000000"/>
                          </a:solidFill>
                          <a:latin typeface="Aptos" panose="020B0004020202020204" pitchFamily="34" charset="0"/>
                        </a:rPr>
                        <a:t>This clause outlined the allowance applicable to rostered on call arrangements. </a:t>
                      </a:r>
                    </a:p>
                  </a:txBody>
                  <a:tcPr/>
                </a:tc>
                <a:tc>
                  <a:txBody>
                    <a:bodyPr/>
                    <a:lstStyle/>
                    <a:p>
                      <a:pPr lvl="0">
                        <a:buNone/>
                      </a:pPr>
                      <a:r>
                        <a:rPr lang="en-AU" sz="1100" b="0" i="0" u="none" strike="noStrike" kern="1200" noProof="0" dirty="0">
                          <a:solidFill>
                            <a:srgbClr val="000000"/>
                          </a:solidFill>
                          <a:latin typeface="Aptos" panose="020B0004020202020204" pitchFamily="34" charset="0"/>
                          <a:ea typeface="+mn-ea"/>
                          <a:cs typeface="+mn-cs"/>
                        </a:rPr>
                        <a:t>This clause has been amended to clarify that employees will be paid 20% of their ordinary base rate of pay when required to stand by in readiness to return to work and will be entitled to overtime rates once a call out is received. It also clarifies that where employees are receiving the appropriate overtime rate, the stand-by allowance will not apply. The updated wording does not impact employee entitlements or change the effect of the clause.</a:t>
                      </a:r>
                      <a:endParaRPr lang="en-US" sz="1100" b="0" i="0" u="none" strike="noStrike" kern="1200" noProof="0" dirty="0">
                        <a:solidFill>
                          <a:srgbClr val="000000"/>
                        </a:solidFill>
                        <a:latin typeface="Aptos" panose="020B0004020202020204" pitchFamily="34" charset="0"/>
                        <a:ea typeface="+mn-ea"/>
                        <a:cs typeface="+mn-cs"/>
                      </a:endParaRPr>
                    </a:p>
                  </a:txBody>
                  <a:tcPr/>
                </a:tc>
                <a:extLst>
                  <a:ext uri="{0D108BD9-81ED-4DB2-BD59-A6C34878D82A}">
                    <a16:rowId xmlns:a16="http://schemas.microsoft.com/office/drawing/2014/main" val="3595400025"/>
                  </a:ext>
                </a:extLst>
              </a:tr>
            </a:tbl>
          </a:graphicData>
        </a:graphic>
      </p:graphicFrame>
    </p:spTree>
    <p:extLst>
      <p:ext uri="{BB962C8B-B14F-4D97-AF65-F5344CB8AC3E}">
        <p14:creationId xmlns:p14="http://schemas.microsoft.com/office/powerpoint/2010/main" val="2154023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4DDBE7-1142-AE78-461F-27E2A8CBD5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6E3662-0F7C-8F31-D288-06A39FE2F148}"/>
              </a:ext>
            </a:extLst>
          </p:cNvPr>
          <p:cNvSpPr>
            <a:spLocks noGrp="1"/>
          </p:cNvSpPr>
          <p:nvPr>
            <p:ph type="title"/>
          </p:nvPr>
        </p:nvSpPr>
        <p:spPr/>
        <p:txBody>
          <a:bodyPr/>
          <a:lstStyle/>
          <a:p>
            <a:r>
              <a:rPr lang="en-US" dirty="0">
                <a:ea typeface="+mj-lt"/>
                <a:cs typeface="+mj-lt"/>
              </a:rPr>
              <a:t>Key Changes </a:t>
            </a:r>
            <a:endParaRPr lang="en-US" dirty="0"/>
          </a:p>
        </p:txBody>
      </p:sp>
      <p:sp>
        <p:nvSpPr>
          <p:cNvPr id="3" name="Text Placeholder 2">
            <a:extLst>
              <a:ext uri="{FF2B5EF4-FFF2-40B4-BE49-F238E27FC236}">
                <a16:creationId xmlns:a16="http://schemas.microsoft.com/office/drawing/2014/main" id="{E8D807E9-A511-C3AC-BD38-38E7C4D8D445}"/>
              </a:ext>
            </a:extLst>
          </p:cNvPr>
          <p:cNvSpPr>
            <a:spLocks noGrp="1"/>
          </p:cNvSpPr>
          <p:nvPr>
            <p:ph type="body" sz="quarter" idx="4294967295"/>
          </p:nvPr>
        </p:nvSpPr>
        <p:spPr>
          <a:xfrm>
            <a:off x="8093075" y="3373438"/>
            <a:ext cx="4098925" cy="3095625"/>
          </a:xfrm>
        </p:spPr>
        <p:txBody>
          <a:bodyPr/>
          <a:lstStyle/>
          <a:p>
            <a:r>
              <a:rPr lang="en-US" dirty="0">
                <a:latin typeface="Aptos"/>
              </a:rPr>
              <a:t> </a:t>
            </a:r>
            <a:endParaRPr lang="en-US" dirty="0"/>
          </a:p>
        </p:txBody>
      </p:sp>
      <p:sp>
        <p:nvSpPr>
          <p:cNvPr id="6" name="TextBox 5">
            <a:extLst>
              <a:ext uri="{FF2B5EF4-FFF2-40B4-BE49-F238E27FC236}">
                <a16:creationId xmlns:a16="http://schemas.microsoft.com/office/drawing/2014/main" id="{E3079A58-2352-67DB-9E03-C858608EBBFE}"/>
              </a:ext>
            </a:extLst>
          </p:cNvPr>
          <p:cNvSpPr txBox="1"/>
          <p:nvPr/>
        </p:nvSpPr>
        <p:spPr>
          <a:xfrm>
            <a:off x="328688" y="761115"/>
            <a:ext cx="2172488" cy="483452"/>
          </a:xfrm>
          <a:prstGeom prst="rect">
            <a:avLst/>
          </a:prstGeom>
          <a:noFill/>
        </p:spPr>
        <p:txBody>
          <a:bodyPr wrap="square" lIns="0" tIns="0" rIns="0" bIns="0" rtlCol="0" anchor="t">
            <a:noAutofit/>
          </a:bodyPr>
          <a:lstStyle/>
          <a:p>
            <a:pPr>
              <a:defRPr/>
            </a:pPr>
            <a:r>
              <a:rPr lang="en-US" sz="2000" b="1" dirty="0">
                <a:solidFill>
                  <a:srgbClr val="00B0F0"/>
                </a:solidFill>
                <a:latin typeface="Calibri"/>
                <a:ea typeface="Calibri"/>
                <a:cs typeface="Calibri"/>
              </a:rPr>
              <a:t>Other changes</a:t>
            </a:r>
          </a:p>
          <a:p>
            <a:pPr>
              <a:defRPr/>
            </a:pPr>
            <a:endParaRPr lang="en-US" sz="2000" dirty="0">
              <a:solidFill>
                <a:srgbClr val="00B0F0"/>
              </a:solidFill>
              <a:latin typeface="Calibri"/>
              <a:ea typeface="Calibri"/>
              <a:cs typeface="Calibri"/>
            </a:endParaRPr>
          </a:p>
          <a:p>
            <a:pPr marR="0" algn="l" defTabSz="914400">
              <a:lnSpc>
                <a:spcPct val="100000"/>
              </a:lnSpc>
              <a:spcBef>
                <a:spcPts val="0"/>
              </a:spcBef>
              <a:spcAft>
                <a:spcPts val="0"/>
              </a:spcAft>
              <a:buClrTx/>
              <a:buSzTx/>
              <a:tabLst/>
              <a:defRPr/>
            </a:pPr>
            <a:endParaRPr lang="en-US" sz="2000" b="0" i="0" u="none" strike="noStrike" kern="1200" cap="none" spc="0" normalizeH="0" baseline="0" noProof="0" dirty="0">
              <a:ln>
                <a:noFill/>
              </a:ln>
              <a:solidFill>
                <a:srgbClr val="00B0F0"/>
              </a:solidFill>
              <a:effectLst/>
              <a:uLnTx/>
              <a:uFillTx/>
              <a:latin typeface="Calibri"/>
              <a:ea typeface="Calibri"/>
              <a:cs typeface="Calibri"/>
            </a:endParaRPr>
          </a:p>
          <a:p>
            <a:pPr marL="285750" marR="0" lvl="0" indent="-285750" algn="l" defTabSz="914400">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dirty="0">
              <a:ln>
                <a:noFill/>
              </a:ln>
              <a:solidFill>
                <a:srgbClr val="00B0F0"/>
              </a:solidFill>
              <a:effectLst/>
              <a:uLnTx/>
              <a:uFillTx/>
              <a:latin typeface="Aptos"/>
              <a:ea typeface="Calibri"/>
              <a:cs typeface="Calibri"/>
            </a:endParaRPr>
          </a:p>
          <a:p>
            <a:pPr marL="285750" marR="0" lvl="0" indent="-285750" algn="l" defTabSz="914400">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dirty="0">
              <a:ln>
                <a:noFill/>
              </a:ln>
              <a:solidFill>
                <a:srgbClr val="00B0F0"/>
              </a:solidFill>
              <a:effectLst/>
              <a:uLnTx/>
              <a:uFillTx/>
              <a:latin typeface="Aptos"/>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dirty="0">
              <a:ln>
                <a:noFill/>
              </a:ln>
              <a:solidFill>
                <a:srgbClr val="00B0F0"/>
              </a:solidFill>
              <a:effectLst/>
              <a:highlight>
                <a:srgbClr val="FFFF00"/>
              </a:highlight>
              <a:uLnTx/>
              <a:uFillTx/>
              <a:latin typeface="Apto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dirty="0">
              <a:ln>
                <a:noFill/>
              </a:ln>
              <a:solidFill>
                <a:srgbClr val="00B0F0"/>
              </a:solidFill>
              <a:effectLst/>
              <a:highlight>
                <a:srgbClr val="FFFF00"/>
              </a:highlight>
              <a:uLnTx/>
              <a:uFillTx/>
              <a:latin typeface="Aptos"/>
            </a:endParaRPr>
          </a:p>
          <a:p>
            <a:pPr marR="0" lvl="0" algn="l" defTabSz="914400" rtl="0" eaLnBrk="1" fontAlgn="auto" latinLnBrk="0" hangingPunct="1">
              <a:lnSpc>
                <a:spcPct val="100000"/>
              </a:lnSpc>
              <a:spcBef>
                <a:spcPts val="0"/>
              </a:spcBef>
              <a:spcAft>
                <a:spcPts val="0"/>
              </a:spcAft>
              <a:buClrTx/>
              <a:buSzTx/>
              <a:tabLst/>
              <a:defRPr/>
            </a:pPr>
            <a:endParaRPr lang="en-AU" sz="2000" b="0" i="0" u="none" strike="noStrike" kern="1200" cap="none" spc="0" normalizeH="0" baseline="0" noProof="0" dirty="0">
              <a:ln>
                <a:noFill/>
              </a:ln>
              <a:solidFill>
                <a:srgbClr val="00B0F0"/>
              </a:solidFill>
              <a:effectLst/>
              <a:uLnTx/>
              <a:uFillTx/>
              <a:latin typeface="Apto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dirty="0">
              <a:ln>
                <a:noFill/>
              </a:ln>
              <a:solidFill>
                <a:srgbClr val="00B0F0"/>
              </a:solidFill>
              <a:effectLst/>
              <a:uLnTx/>
              <a:uFillTx/>
              <a:latin typeface="Aptos"/>
            </a:endParaRPr>
          </a:p>
          <a:p>
            <a:pPr marL="285750" indent="-285750">
              <a:buFont typeface="Arial" panose="020B0604020202020204" pitchFamily="34" charset="0"/>
              <a:buChar char="•"/>
              <a:defRPr/>
            </a:pPr>
            <a:endParaRPr lang="en-AU" sz="2000" dirty="0">
              <a:solidFill>
                <a:srgbClr val="00B0F0"/>
              </a:solidFill>
              <a:latin typeface="Aptos"/>
            </a:endParaRPr>
          </a:p>
        </p:txBody>
      </p:sp>
      <p:graphicFrame>
        <p:nvGraphicFramePr>
          <p:cNvPr id="7" name="Table 6">
            <a:extLst>
              <a:ext uri="{FF2B5EF4-FFF2-40B4-BE49-F238E27FC236}">
                <a16:creationId xmlns:a16="http://schemas.microsoft.com/office/drawing/2014/main" id="{8DC04CA9-3901-A191-D639-1FF2C7849405}"/>
              </a:ext>
            </a:extLst>
          </p:cNvPr>
          <p:cNvGraphicFramePr>
            <a:graphicFrameLocks noGrp="1"/>
          </p:cNvGraphicFramePr>
          <p:nvPr>
            <p:extLst>
              <p:ext uri="{D42A27DB-BD31-4B8C-83A1-F6EECF244321}">
                <p14:modId xmlns:p14="http://schemas.microsoft.com/office/powerpoint/2010/main" val="590435455"/>
              </p:ext>
            </p:extLst>
          </p:nvPr>
        </p:nvGraphicFramePr>
        <p:xfrm>
          <a:off x="326043" y="1207214"/>
          <a:ext cx="11292481" cy="5208512"/>
        </p:xfrm>
        <a:graphic>
          <a:graphicData uri="http://schemas.openxmlformats.org/drawingml/2006/table">
            <a:tbl>
              <a:tblPr firstRow="1" bandRow="1">
                <a:tableStyleId>{5C22544A-7EE6-4342-B048-85BDC9FD1C3A}</a:tableStyleId>
              </a:tblPr>
              <a:tblGrid>
                <a:gridCol w="1784684">
                  <a:extLst>
                    <a:ext uri="{9D8B030D-6E8A-4147-A177-3AD203B41FA5}">
                      <a16:colId xmlns:a16="http://schemas.microsoft.com/office/drawing/2014/main" val="3430418746"/>
                    </a:ext>
                  </a:extLst>
                </a:gridCol>
                <a:gridCol w="986041">
                  <a:extLst>
                    <a:ext uri="{9D8B030D-6E8A-4147-A177-3AD203B41FA5}">
                      <a16:colId xmlns:a16="http://schemas.microsoft.com/office/drawing/2014/main" val="2460787009"/>
                    </a:ext>
                  </a:extLst>
                </a:gridCol>
                <a:gridCol w="3255090">
                  <a:extLst>
                    <a:ext uri="{9D8B030D-6E8A-4147-A177-3AD203B41FA5}">
                      <a16:colId xmlns:a16="http://schemas.microsoft.com/office/drawing/2014/main" val="515269051"/>
                    </a:ext>
                  </a:extLst>
                </a:gridCol>
                <a:gridCol w="5266666">
                  <a:extLst>
                    <a:ext uri="{9D8B030D-6E8A-4147-A177-3AD203B41FA5}">
                      <a16:colId xmlns:a16="http://schemas.microsoft.com/office/drawing/2014/main" val="74437759"/>
                    </a:ext>
                  </a:extLst>
                </a:gridCol>
              </a:tblGrid>
              <a:tr h="358802">
                <a:tc>
                  <a:txBody>
                    <a:bodyPr/>
                    <a:lstStyle/>
                    <a:p>
                      <a:r>
                        <a:rPr lang="en-US" sz="1100" dirty="0">
                          <a:latin typeface="Aptos"/>
                        </a:rPr>
                        <a:t>Subject</a:t>
                      </a:r>
                    </a:p>
                  </a:txBody>
                  <a:tcPr/>
                </a:tc>
                <a:tc>
                  <a:txBody>
                    <a:bodyPr/>
                    <a:lstStyle/>
                    <a:p>
                      <a:r>
                        <a:rPr lang="en-US" sz="1100" dirty="0">
                          <a:latin typeface="Aptos"/>
                        </a:rPr>
                        <a:t>Clause no.</a:t>
                      </a:r>
                    </a:p>
                  </a:txBody>
                  <a:tcPr/>
                </a:tc>
                <a:tc>
                  <a:txBody>
                    <a:bodyPr/>
                    <a:lstStyle/>
                    <a:p>
                      <a:r>
                        <a:rPr lang="en-US" sz="1100" dirty="0">
                          <a:latin typeface="Aptos"/>
                        </a:rPr>
                        <a:t>Current EA</a:t>
                      </a:r>
                    </a:p>
                  </a:txBody>
                  <a:tcPr/>
                </a:tc>
                <a:tc>
                  <a:txBody>
                    <a:bodyPr/>
                    <a:lstStyle/>
                    <a:p>
                      <a:r>
                        <a:rPr lang="en-US" sz="1100" dirty="0">
                          <a:latin typeface="Aptos"/>
                        </a:rPr>
                        <a:t>Proposed EA</a:t>
                      </a:r>
                    </a:p>
                  </a:txBody>
                  <a:tcPr/>
                </a:tc>
                <a:extLst>
                  <a:ext uri="{0D108BD9-81ED-4DB2-BD59-A6C34878D82A}">
                    <a16:rowId xmlns:a16="http://schemas.microsoft.com/office/drawing/2014/main" val="341385769"/>
                  </a:ext>
                </a:extLst>
              </a:tr>
              <a:tr h="358801">
                <a:tc>
                  <a:txBody>
                    <a:bodyPr/>
                    <a:lstStyle/>
                    <a:p>
                      <a:pPr lvl="0">
                        <a:buNone/>
                      </a:pPr>
                      <a:r>
                        <a:rPr lang="en-US" sz="1100" b="1" dirty="0">
                          <a:latin typeface="Aptos"/>
                        </a:rPr>
                        <a:t>Superannuation </a:t>
                      </a:r>
                    </a:p>
                  </a:txBody>
                  <a:tcPr/>
                </a:tc>
                <a:tc>
                  <a:txBody>
                    <a:bodyPr/>
                    <a:lstStyle/>
                    <a:p>
                      <a:pPr lvl="0">
                        <a:buNone/>
                      </a:pPr>
                      <a:r>
                        <a:rPr lang="en-US" sz="1100" dirty="0">
                          <a:latin typeface="Aptos"/>
                        </a:rPr>
                        <a:t>16</a:t>
                      </a:r>
                    </a:p>
                  </a:txBody>
                  <a:tcPr/>
                </a:tc>
                <a:tc>
                  <a:txBody>
                    <a:bodyPr/>
                    <a:lstStyle/>
                    <a:p>
                      <a:pPr lvl="0">
                        <a:buNone/>
                      </a:pPr>
                      <a:r>
                        <a:rPr lang="en-US" sz="1100" dirty="0">
                          <a:latin typeface="Aptos"/>
                        </a:rPr>
                        <a:t>This clause outlines when superannuation is payable and at what rates. </a:t>
                      </a:r>
                    </a:p>
                  </a:txBody>
                  <a:tcPr/>
                </a:tc>
                <a:tc>
                  <a:txBody>
                    <a:bodyPr/>
                    <a:lstStyle/>
                    <a:p>
                      <a:pPr marL="0" marR="0" lvl="0" indent="0" algn="l">
                        <a:lnSpc>
                          <a:spcPct val="100000"/>
                        </a:lnSpc>
                        <a:spcBef>
                          <a:spcPts val="0"/>
                        </a:spcBef>
                        <a:spcAft>
                          <a:spcPts val="0"/>
                        </a:spcAft>
                        <a:buNone/>
                      </a:pPr>
                      <a:r>
                        <a:rPr lang="en-US" sz="1100" b="0" i="0" u="none" strike="noStrike" noProof="0" dirty="0">
                          <a:solidFill>
                            <a:srgbClr val="000000"/>
                          </a:solidFill>
                          <a:latin typeface="Aptos"/>
                        </a:rPr>
                        <a:t>Throughout the life of the Proposed Agreement, nbn will apply any legislated superannuation increases. </a:t>
                      </a:r>
                    </a:p>
                    <a:p>
                      <a:pPr marL="0" marR="0" lvl="0" indent="0" algn="l">
                        <a:lnSpc>
                          <a:spcPct val="100000"/>
                        </a:lnSpc>
                        <a:spcBef>
                          <a:spcPts val="0"/>
                        </a:spcBef>
                        <a:spcAft>
                          <a:spcPts val="0"/>
                        </a:spcAft>
                        <a:buNone/>
                      </a:pPr>
                      <a:endParaRPr lang="en-US" sz="1100" b="0" i="0" u="none" strike="noStrike" noProof="0" dirty="0">
                        <a:solidFill>
                          <a:srgbClr val="000000"/>
                        </a:solidFill>
                        <a:latin typeface="Aptos"/>
                      </a:endParaRPr>
                    </a:p>
                    <a:p>
                      <a:pPr marL="0" marR="0" lvl="0" indent="0" algn="l">
                        <a:lnSpc>
                          <a:spcPct val="100000"/>
                        </a:lnSpc>
                        <a:spcBef>
                          <a:spcPts val="0"/>
                        </a:spcBef>
                        <a:spcAft>
                          <a:spcPts val="0"/>
                        </a:spcAft>
                        <a:buNone/>
                      </a:pPr>
                      <a:r>
                        <a:rPr lang="en-US" sz="1100" b="0" i="0" u="none" strike="noStrike" noProof="0" dirty="0">
                          <a:solidFill>
                            <a:srgbClr val="000000"/>
                          </a:solidFill>
                          <a:latin typeface="Aptos"/>
                        </a:rPr>
                        <a:t>When the superannuation contribution increases from 11.5% to 12% on 1 July 2025, this will be applied </a:t>
                      </a:r>
                      <a:r>
                        <a:rPr lang="en-US" sz="1100" b="1" i="0" u="none" strike="noStrike" noProof="0" dirty="0">
                          <a:solidFill>
                            <a:srgbClr val="000000"/>
                          </a:solidFill>
                          <a:latin typeface="Aptos"/>
                        </a:rPr>
                        <a:t>in addition</a:t>
                      </a:r>
                      <a:r>
                        <a:rPr lang="en-US" sz="1100" b="0" i="0" u="none" strike="noStrike" noProof="0" dirty="0">
                          <a:solidFill>
                            <a:srgbClr val="000000"/>
                          </a:solidFill>
                          <a:latin typeface="Aptos"/>
                        </a:rPr>
                        <a:t> to the wage offer and not set off. </a:t>
                      </a:r>
                    </a:p>
                    <a:p>
                      <a:pPr marL="0" marR="0" lvl="0" indent="0" algn="l">
                        <a:lnSpc>
                          <a:spcPct val="100000"/>
                        </a:lnSpc>
                        <a:spcBef>
                          <a:spcPts val="0"/>
                        </a:spcBef>
                        <a:spcAft>
                          <a:spcPts val="0"/>
                        </a:spcAft>
                        <a:buNone/>
                      </a:pPr>
                      <a:endParaRPr lang="en-US" sz="1100" b="0" i="0" u="none" strike="noStrike" noProof="0" dirty="0">
                        <a:solidFill>
                          <a:srgbClr val="000000"/>
                        </a:solidFill>
                        <a:latin typeface="Aptos"/>
                      </a:endParaRPr>
                    </a:p>
                    <a:p>
                      <a:pPr marL="0" marR="0" lvl="0" indent="0" algn="l">
                        <a:lnSpc>
                          <a:spcPct val="100000"/>
                        </a:lnSpc>
                        <a:spcBef>
                          <a:spcPts val="0"/>
                        </a:spcBef>
                        <a:spcAft>
                          <a:spcPts val="0"/>
                        </a:spcAft>
                        <a:buNone/>
                      </a:pPr>
                      <a:r>
                        <a:rPr lang="en-US" sz="1100" b="0" i="0" u="none" strike="noStrike" noProof="0" dirty="0">
                          <a:solidFill>
                            <a:srgbClr val="000000"/>
                          </a:solidFill>
                          <a:latin typeface="Aptos"/>
                        </a:rPr>
                        <a:t>Superannuation is paid on periods of paid leave (such as workers’ compensation and paid parental leave)</a:t>
                      </a:r>
                      <a:endParaRPr lang="en-US" sz="1100" dirty="0">
                        <a:latin typeface="Aptos"/>
                      </a:endParaRPr>
                    </a:p>
                  </a:txBody>
                  <a:tcPr/>
                </a:tc>
                <a:extLst>
                  <a:ext uri="{0D108BD9-81ED-4DB2-BD59-A6C34878D82A}">
                    <a16:rowId xmlns:a16="http://schemas.microsoft.com/office/drawing/2014/main" val="1637399916"/>
                  </a:ext>
                </a:extLst>
              </a:tr>
              <a:tr h="611295">
                <a:tc>
                  <a:txBody>
                    <a:bodyPr/>
                    <a:lstStyle/>
                    <a:p>
                      <a:pPr lvl="0">
                        <a:buNone/>
                      </a:pPr>
                      <a:r>
                        <a:rPr lang="en-US" sz="1100" b="1" dirty="0">
                          <a:latin typeface="Aptos"/>
                        </a:rPr>
                        <a:t>Definition of night shift</a:t>
                      </a:r>
                    </a:p>
                  </a:txBody>
                  <a:tcPr/>
                </a:tc>
                <a:tc>
                  <a:txBody>
                    <a:bodyPr/>
                    <a:lstStyle/>
                    <a:p>
                      <a:pPr lvl="0">
                        <a:buNone/>
                      </a:pPr>
                      <a:r>
                        <a:rPr lang="en-US" sz="1100" dirty="0">
                          <a:latin typeface="Aptos"/>
                        </a:rPr>
                        <a:t>17.10(c)(iii)</a:t>
                      </a:r>
                    </a:p>
                  </a:txBody>
                  <a:tcPr/>
                </a:tc>
                <a:tc>
                  <a:txBody>
                    <a:bodyPr/>
                    <a:lstStyle/>
                    <a:p>
                      <a:pPr lvl="0">
                        <a:buNone/>
                      </a:pPr>
                      <a:r>
                        <a:rPr lang="en-US" sz="1100" b="0" i="0" u="none" strike="noStrike" noProof="0" dirty="0">
                          <a:solidFill>
                            <a:srgbClr val="000000"/>
                          </a:solidFill>
                          <a:latin typeface="Aptos"/>
                        </a:rPr>
                        <a:t>This clause defines “night shift” as any shift finishing subsequent to midnight and at or before 9:00am.</a:t>
                      </a:r>
                    </a:p>
                  </a:txBody>
                  <a:tcPr/>
                </a:tc>
                <a:tc>
                  <a:txBody>
                    <a:bodyPr/>
                    <a:lstStyle/>
                    <a:p>
                      <a:pPr lvl="0">
                        <a:buNone/>
                      </a:pPr>
                      <a:r>
                        <a:rPr lang="en-AU" sz="1100" b="0" i="0" u="none" strike="noStrike" kern="1200" noProof="0" dirty="0">
                          <a:solidFill>
                            <a:srgbClr val="000000"/>
                          </a:solidFill>
                          <a:latin typeface="Aptos"/>
                          <a:ea typeface="+mn-ea"/>
                          <a:cs typeface="+mn-cs"/>
                        </a:rPr>
                        <a:t>This clause has been amended to confirm that the definition of “night shift” also includes any shift commencing at or after midnight and before 4:00am.</a:t>
                      </a:r>
                    </a:p>
                    <a:p>
                      <a:pPr lvl="0">
                        <a:buNone/>
                      </a:pPr>
                      <a:endParaRPr lang="en-AU" sz="1100" b="0" i="0" u="none" strike="noStrike" kern="1200" noProof="0" dirty="0">
                        <a:solidFill>
                          <a:srgbClr val="000000"/>
                        </a:solidFill>
                        <a:latin typeface="Aptos"/>
                        <a:ea typeface="+mn-ea"/>
                        <a:cs typeface="+mn-cs"/>
                      </a:endParaRPr>
                    </a:p>
                    <a:p>
                      <a:pPr lvl="0">
                        <a:buNone/>
                      </a:pPr>
                      <a:r>
                        <a:rPr lang="en-AU" sz="1100" b="0" i="0" u="none" strike="noStrike" kern="1200" noProof="0" dirty="0">
                          <a:solidFill>
                            <a:srgbClr val="000000"/>
                          </a:solidFill>
                          <a:latin typeface="Aptos"/>
                          <a:ea typeface="+mn-ea"/>
                          <a:cs typeface="+mn-cs"/>
                        </a:rPr>
                        <a:t>This has been altered as it was identified that this period was not covered by the relevant shift provisions. </a:t>
                      </a:r>
                    </a:p>
                  </a:txBody>
                  <a:tcPr/>
                </a:tc>
                <a:extLst>
                  <a:ext uri="{0D108BD9-81ED-4DB2-BD59-A6C34878D82A}">
                    <a16:rowId xmlns:a16="http://schemas.microsoft.com/office/drawing/2014/main" val="1096782441"/>
                  </a:ext>
                </a:extLst>
              </a:tr>
              <a:tr h="611295">
                <a:tc>
                  <a:txBody>
                    <a:bodyPr/>
                    <a:lstStyle/>
                    <a:p>
                      <a:pPr lvl="0">
                        <a:buNone/>
                      </a:pPr>
                      <a:r>
                        <a:rPr lang="en-US" sz="1100" b="1" dirty="0">
                          <a:latin typeface="Aptos"/>
                        </a:rPr>
                        <a:t>Non-Continuous Overtime</a:t>
                      </a:r>
                    </a:p>
                  </a:txBody>
                  <a:tcPr/>
                </a:tc>
                <a:tc>
                  <a:txBody>
                    <a:bodyPr/>
                    <a:lstStyle/>
                    <a:p>
                      <a:pPr lvl="0">
                        <a:buNone/>
                      </a:pPr>
                      <a:r>
                        <a:rPr lang="en-US" sz="1100" dirty="0">
                          <a:latin typeface="Aptos"/>
                        </a:rPr>
                        <a:t>18.3(e)</a:t>
                      </a:r>
                    </a:p>
                  </a:txBody>
                  <a:tcPr/>
                </a:tc>
                <a:tc>
                  <a:txBody>
                    <a:bodyPr/>
                    <a:lstStyle/>
                    <a:p>
                      <a:pPr lvl="0">
                        <a:buNone/>
                      </a:pPr>
                      <a:r>
                        <a:rPr lang="en-US" sz="1100" b="0" i="0" u="none" strike="noStrike" noProof="0" dirty="0">
                          <a:solidFill>
                            <a:srgbClr val="000000"/>
                          </a:solidFill>
                          <a:latin typeface="Aptos"/>
                        </a:rPr>
                        <a:t>This clause outlines when non-continuous overtime would be regarded as overtime for the purposes of rest periods after overtime. </a:t>
                      </a:r>
                    </a:p>
                  </a:txBody>
                  <a:tcPr/>
                </a:tc>
                <a:tc>
                  <a:txBody>
                    <a:bodyPr/>
                    <a:lstStyle/>
                    <a:p>
                      <a:pPr lvl="0">
                        <a:buNone/>
                      </a:pPr>
                      <a:r>
                        <a:rPr lang="en-AU" sz="1100" b="0" i="0" u="none" strike="noStrike" kern="1200" noProof="0" dirty="0">
                          <a:solidFill>
                            <a:srgbClr val="000000"/>
                          </a:solidFill>
                          <a:latin typeface="Aptos"/>
                          <a:ea typeface="+mn-ea"/>
                          <a:cs typeface="+mn-cs"/>
                        </a:rPr>
                        <a:t>This clause has been amended to clarify how non-continuous overtime is treated for the purposes of rest periods after overtime. This change will be explained when we discuss clause 18.5 shortly.</a:t>
                      </a:r>
                    </a:p>
                  </a:txBody>
                  <a:tcPr/>
                </a:tc>
                <a:extLst>
                  <a:ext uri="{0D108BD9-81ED-4DB2-BD59-A6C34878D82A}">
                    <a16:rowId xmlns:a16="http://schemas.microsoft.com/office/drawing/2014/main" val="364201273"/>
                  </a:ext>
                </a:extLst>
              </a:tr>
              <a:tr h="611295">
                <a:tc>
                  <a:txBody>
                    <a:bodyPr/>
                    <a:lstStyle/>
                    <a:p>
                      <a:pPr lvl="0">
                        <a:buNone/>
                      </a:pPr>
                      <a:r>
                        <a:rPr lang="en-US" sz="1100" b="1" dirty="0">
                          <a:latin typeface="Aptos"/>
                        </a:rPr>
                        <a:t>Rest Breaks during Overtime</a:t>
                      </a:r>
                    </a:p>
                  </a:txBody>
                  <a:tcPr/>
                </a:tc>
                <a:tc>
                  <a:txBody>
                    <a:bodyPr/>
                    <a:lstStyle/>
                    <a:p>
                      <a:pPr lvl="0">
                        <a:buNone/>
                      </a:pPr>
                      <a:r>
                        <a:rPr lang="en-US" sz="1100" dirty="0">
                          <a:latin typeface="Aptos"/>
                        </a:rPr>
                        <a:t>18.4</a:t>
                      </a:r>
                    </a:p>
                  </a:txBody>
                  <a:tcPr/>
                </a:tc>
                <a:tc>
                  <a:txBody>
                    <a:bodyPr/>
                    <a:lstStyle/>
                    <a:p>
                      <a:pPr lvl="0">
                        <a:buNone/>
                      </a:pPr>
                      <a:r>
                        <a:rPr lang="en-US" sz="1100" b="0" i="0" u="none" strike="noStrike" noProof="0" dirty="0">
                          <a:solidFill>
                            <a:srgbClr val="000000"/>
                          </a:solidFill>
                          <a:latin typeface="Aptos"/>
                        </a:rPr>
                        <a:t>This clause outlines how rest breaks apply to overtime including non-continuous overtime. </a:t>
                      </a:r>
                    </a:p>
                  </a:txBody>
                  <a:tcPr/>
                </a:tc>
                <a:tc>
                  <a:txBody>
                    <a:bodyPr/>
                    <a:lstStyle/>
                    <a:p>
                      <a:pPr lvl="0">
                        <a:buNone/>
                      </a:pPr>
                      <a:r>
                        <a:rPr lang="en-AU" sz="1100" b="0" i="0" u="none" strike="noStrike" kern="1200" noProof="0" dirty="0">
                          <a:solidFill>
                            <a:srgbClr val="000000"/>
                          </a:solidFill>
                          <a:latin typeface="Aptos"/>
                          <a:ea typeface="+mn-ea"/>
                          <a:cs typeface="+mn-cs"/>
                        </a:rPr>
                        <a:t>This clause has been amended to clarify how rest breaks operate when an employee works overtime. The updated wording does not impact employee entitlements or change the effect of the clause.</a:t>
                      </a:r>
                    </a:p>
                  </a:txBody>
                  <a:tcPr/>
                </a:tc>
                <a:extLst>
                  <a:ext uri="{0D108BD9-81ED-4DB2-BD59-A6C34878D82A}">
                    <a16:rowId xmlns:a16="http://schemas.microsoft.com/office/drawing/2014/main" val="1365585259"/>
                  </a:ext>
                </a:extLst>
              </a:tr>
              <a:tr h="611295">
                <a:tc>
                  <a:txBody>
                    <a:bodyPr/>
                    <a:lstStyle/>
                    <a:p>
                      <a:pPr lvl="0">
                        <a:buNone/>
                      </a:pPr>
                      <a:r>
                        <a:rPr lang="en-US" sz="1100" b="1" dirty="0">
                          <a:latin typeface="Aptos"/>
                        </a:rPr>
                        <a:t>Rest Period after Overtime</a:t>
                      </a:r>
                    </a:p>
                  </a:txBody>
                  <a:tcPr/>
                </a:tc>
                <a:tc>
                  <a:txBody>
                    <a:bodyPr/>
                    <a:lstStyle/>
                    <a:p>
                      <a:pPr lvl="0">
                        <a:buNone/>
                      </a:pPr>
                      <a:r>
                        <a:rPr lang="en-US" sz="1100" dirty="0">
                          <a:latin typeface="Aptos"/>
                        </a:rPr>
                        <a:t>18.5</a:t>
                      </a:r>
                    </a:p>
                  </a:txBody>
                  <a:tcPr/>
                </a:tc>
                <a:tc>
                  <a:txBody>
                    <a:bodyPr/>
                    <a:lstStyle/>
                    <a:p>
                      <a:pPr lvl="0">
                        <a:buNone/>
                      </a:pPr>
                      <a:r>
                        <a:rPr lang="en-US" sz="1100" b="0" i="0" u="none" strike="noStrike" noProof="0" dirty="0">
                          <a:solidFill>
                            <a:srgbClr val="000000"/>
                          </a:solidFill>
                          <a:latin typeface="Aptos"/>
                        </a:rPr>
                        <a:t>This clause outlined how rest periods operate after an employee has worked overtime including non-continuous overtime. </a:t>
                      </a:r>
                    </a:p>
                  </a:txBody>
                  <a:tcPr/>
                </a:tc>
                <a:tc>
                  <a:txBody>
                    <a:bodyPr/>
                    <a:lstStyle/>
                    <a:p>
                      <a:pPr lvl="0">
                        <a:buNone/>
                      </a:pPr>
                      <a:r>
                        <a:rPr lang="en-AU" sz="1100" b="0" i="0" u="none" strike="noStrike" kern="1200" noProof="0" dirty="0">
                          <a:solidFill>
                            <a:srgbClr val="000000"/>
                          </a:solidFill>
                          <a:latin typeface="Aptos"/>
                          <a:ea typeface="+mn-ea"/>
                          <a:cs typeface="+mn-cs"/>
                        </a:rPr>
                        <a:t>This clause has been amended to confirm that, for the avoidance of doubt, where an employee works 3 hours or more of non-continuous overtime in any single block of overtime, they will receive a 10-hour rest period, subject to clauses 18.5(b) and 18.5(c).</a:t>
                      </a:r>
                    </a:p>
                    <a:p>
                      <a:pPr lvl="0">
                        <a:buNone/>
                      </a:pPr>
                      <a:endParaRPr lang="en-AU" sz="1100" b="0" i="0" u="none" strike="noStrike" kern="1200" noProof="0" dirty="0">
                        <a:solidFill>
                          <a:srgbClr val="000000"/>
                        </a:solidFill>
                        <a:latin typeface="Aptos"/>
                        <a:ea typeface="+mn-ea"/>
                        <a:cs typeface="+mn-cs"/>
                      </a:endParaRPr>
                    </a:p>
                    <a:p>
                      <a:pPr lvl="0">
                        <a:buNone/>
                      </a:pPr>
                      <a:r>
                        <a:rPr lang="en-AU" sz="1100" b="0" i="0" u="none" strike="noStrike" kern="1200" noProof="0" dirty="0">
                          <a:solidFill>
                            <a:srgbClr val="000000"/>
                          </a:solidFill>
                          <a:latin typeface="Aptos"/>
                          <a:ea typeface="+mn-ea"/>
                          <a:cs typeface="+mn-cs"/>
                        </a:rPr>
                        <a:t>This clause The clause has also been amended to fix a typographical error so that, “18.4(b) and 18.4(c)” is updated to read, “18.5(b) and 18.5(</a:t>
                      </a:r>
                      <a:r>
                        <a:rPr lang="en-AU" sz="1100" b="0" i="0" u="none" strike="noStrike" kern="1200" noProof="0" dirty="0">
                          <a:solidFill>
                            <a:schemeClr val="tx1"/>
                          </a:solidFill>
                          <a:latin typeface="Aptos"/>
                          <a:ea typeface="+mn-ea"/>
                          <a:cs typeface="+mn-cs"/>
                        </a:rPr>
                        <a:t>c)".</a:t>
                      </a:r>
                      <a:endParaRPr lang="en-US" sz="1100" b="0" i="0" u="none" strike="noStrike" kern="1200" dirty="0">
                        <a:solidFill>
                          <a:schemeClr val="tx1"/>
                        </a:solidFill>
                        <a:latin typeface="Aptos"/>
                        <a:ea typeface="+mn-ea"/>
                        <a:cs typeface="+mn-cs"/>
                      </a:endParaRPr>
                    </a:p>
                  </a:txBody>
                  <a:tcPr/>
                </a:tc>
                <a:extLst>
                  <a:ext uri="{0D108BD9-81ED-4DB2-BD59-A6C34878D82A}">
                    <a16:rowId xmlns:a16="http://schemas.microsoft.com/office/drawing/2014/main" val="66711917"/>
                  </a:ext>
                </a:extLst>
              </a:tr>
            </a:tbl>
          </a:graphicData>
        </a:graphic>
      </p:graphicFrame>
    </p:spTree>
    <p:extLst>
      <p:ext uri="{BB962C8B-B14F-4D97-AF65-F5344CB8AC3E}">
        <p14:creationId xmlns:p14="http://schemas.microsoft.com/office/powerpoint/2010/main" val="9538597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6F659-AE00-325D-3598-D36A715894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B433D8-9BEE-3BC1-EA80-718FEF6DF4E3}"/>
              </a:ext>
            </a:extLst>
          </p:cNvPr>
          <p:cNvSpPr>
            <a:spLocks noGrp="1"/>
          </p:cNvSpPr>
          <p:nvPr>
            <p:ph type="title"/>
          </p:nvPr>
        </p:nvSpPr>
        <p:spPr/>
        <p:txBody>
          <a:bodyPr/>
          <a:lstStyle/>
          <a:p>
            <a:r>
              <a:rPr lang="en-US" dirty="0">
                <a:ea typeface="+mj-lt"/>
                <a:cs typeface="+mj-lt"/>
              </a:rPr>
              <a:t>Key Changes </a:t>
            </a:r>
            <a:endParaRPr lang="en-US" dirty="0"/>
          </a:p>
        </p:txBody>
      </p:sp>
      <p:sp>
        <p:nvSpPr>
          <p:cNvPr id="3" name="Text Placeholder 2">
            <a:extLst>
              <a:ext uri="{FF2B5EF4-FFF2-40B4-BE49-F238E27FC236}">
                <a16:creationId xmlns:a16="http://schemas.microsoft.com/office/drawing/2014/main" id="{A3109AD1-0D34-D869-A711-2B98F5CA9F1B}"/>
              </a:ext>
            </a:extLst>
          </p:cNvPr>
          <p:cNvSpPr>
            <a:spLocks noGrp="1"/>
          </p:cNvSpPr>
          <p:nvPr>
            <p:ph type="body" sz="quarter" idx="4294967295"/>
          </p:nvPr>
        </p:nvSpPr>
        <p:spPr>
          <a:xfrm>
            <a:off x="8093075" y="3373438"/>
            <a:ext cx="4098925" cy="3095625"/>
          </a:xfrm>
        </p:spPr>
        <p:txBody>
          <a:bodyPr/>
          <a:lstStyle/>
          <a:p>
            <a:r>
              <a:rPr lang="en-US" dirty="0"/>
              <a:t> </a:t>
            </a:r>
          </a:p>
        </p:txBody>
      </p:sp>
      <p:sp>
        <p:nvSpPr>
          <p:cNvPr id="6" name="TextBox 5">
            <a:extLst>
              <a:ext uri="{FF2B5EF4-FFF2-40B4-BE49-F238E27FC236}">
                <a16:creationId xmlns:a16="http://schemas.microsoft.com/office/drawing/2014/main" id="{A9D81DB0-CC00-7BBE-B127-AADA32FC745F}"/>
              </a:ext>
            </a:extLst>
          </p:cNvPr>
          <p:cNvSpPr txBox="1"/>
          <p:nvPr/>
        </p:nvSpPr>
        <p:spPr>
          <a:xfrm>
            <a:off x="328688" y="998621"/>
            <a:ext cx="2172488" cy="483452"/>
          </a:xfrm>
          <a:prstGeom prst="rect">
            <a:avLst/>
          </a:prstGeom>
          <a:noFill/>
        </p:spPr>
        <p:txBody>
          <a:bodyPr wrap="square" lIns="0" tIns="0" rIns="0" bIns="0" rtlCol="0" anchor="t">
            <a:noAutofit/>
          </a:bodyPr>
          <a:lstStyle/>
          <a:p>
            <a:pPr>
              <a:defRPr/>
            </a:pPr>
            <a:r>
              <a:rPr lang="en-US" sz="2000" b="1" dirty="0">
                <a:solidFill>
                  <a:srgbClr val="00B0F0"/>
                </a:solidFill>
                <a:latin typeface="Calibri"/>
                <a:ea typeface="Calibri"/>
                <a:cs typeface="Calibri"/>
              </a:rPr>
              <a:t>Other changes</a:t>
            </a:r>
          </a:p>
          <a:p>
            <a:pPr>
              <a:defRPr/>
            </a:pPr>
            <a:endParaRPr lang="en-US" sz="2000" dirty="0">
              <a:solidFill>
                <a:srgbClr val="00B0F0"/>
              </a:solidFill>
              <a:latin typeface="Calibri"/>
              <a:ea typeface="Calibri"/>
              <a:cs typeface="Calibri"/>
            </a:endParaRPr>
          </a:p>
          <a:p>
            <a:pPr marR="0" algn="l" defTabSz="914400">
              <a:lnSpc>
                <a:spcPct val="100000"/>
              </a:lnSpc>
              <a:spcBef>
                <a:spcPts val="0"/>
              </a:spcBef>
              <a:spcAft>
                <a:spcPts val="0"/>
              </a:spcAft>
              <a:buClrTx/>
              <a:buSzTx/>
              <a:tabLst/>
              <a:defRPr/>
            </a:pPr>
            <a:endParaRPr lang="en-US" sz="2000" b="0" i="0" u="none" strike="noStrike" kern="1200" cap="none" spc="0" normalizeH="0" baseline="0" noProof="0" dirty="0">
              <a:ln>
                <a:noFill/>
              </a:ln>
              <a:solidFill>
                <a:srgbClr val="00B0F0"/>
              </a:solidFill>
              <a:effectLst/>
              <a:uLnTx/>
              <a:uFillTx/>
              <a:latin typeface="Calibri"/>
              <a:ea typeface="Calibri"/>
              <a:cs typeface="Calibri"/>
            </a:endParaRPr>
          </a:p>
          <a:p>
            <a:pPr marL="285750" marR="0" lvl="0" indent="-285750" algn="l" defTabSz="914400">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dirty="0">
              <a:ln>
                <a:noFill/>
              </a:ln>
              <a:solidFill>
                <a:srgbClr val="00B0F0"/>
              </a:solidFill>
              <a:effectLst/>
              <a:uLnTx/>
              <a:uFillTx/>
              <a:latin typeface="Aptos"/>
              <a:ea typeface="Calibri"/>
              <a:cs typeface="Calibri"/>
            </a:endParaRPr>
          </a:p>
          <a:p>
            <a:pPr marL="285750" marR="0" lvl="0" indent="-285750" algn="l" defTabSz="914400">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dirty="0">
              <a:ln>
                <a:noFill/>
              </a:ln>
              <a:solidFill>
                <a:srgbClr val="00B0F0"/>
              </a:solidFill>
              <a:effectLst/>
              <a:uLnTx/>
              <a:uFillTx/>
              <a:latin typeface="Aptos"/>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dirty="0">
              <a:ln>
                <a:noFill/>
              </a:ln>
              <a:solidFill>
                <a:srgbClr val="00B0F0"/>
              </a:solidFill>
              <a:effectLst/>
              <a:highlight>
                <a:srgbClr val="FFFF00"/>
              </a:highlight>
              <a:uLnTx/>
              <a:uFillTx/>
              <a:latin typeface="Apto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dirty="0">
              <a:ln>
                <a:noFill/>
              </a:ln>
              <a:solidFill>
                <a:srgbClr val="00B0F0"/>
              </a:solidFill>
              <a:effectLst/>
              <a:highlight>
                <a:srgbClr val="FFFF00"/>
              </a:highlight>
              <a:uLnTx/>
              <a:uFillTx/>
              <a:latin typeface="Aptos"/>
            </a:endParaRPr>
          </a:p>
          <a:p>
            <a:pPr marR="0" lvl="0" algn="l" defTabSz="914400" rtl="0" eaLnBrk="1" fontAlgn="auto" latinLnBrk="0" hangingPunct="1">
              <a:lnSpc>
                <a:spcPct val="100000"/>
              </a:lnSpc>
              <a:spcBef>
                <a:spcPts val="0"/>
              </a:spcBef>
              <a:spcAft>
                <a:spcPts val="0"/>
              </a:spcAft>
              <a:buClrTx/>
              <a:buSzTx/>
              <a:tabLst/>
              <a:defRPr/>
            </a:pPr>
            <a:endParaRPr lang="en-AU" sz="2000" b="0" i="0" u="none" strike="noStrike" kern="1200" cap="none" spc="0" normalizeH="0" baseline="0" noProof="0" dirty="0">
              <a:ln>
                <a:noFill/>
              </a:ln>
              <a:solidFill>
                <a:srgbClr val="00B0F0"/>
              </a:solidFill>
              <a:effectLst/>
              <a:uLnTx/>
              <a:uFillTx/>
              <a:latin typeface="Apto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dirty="0">
              <a:ln>
                <a:noFill/>
              </a:ln>
              <a:solidFill>
                <a:srgbClr val="00B0F0"/>
              </a:solidFill>
              <a:effectLst/>
              <a:uLnTx/>
              <a:uFillTx/>
              <a:latin typeface="Aptos"/>
            </a:endParaRPr>
          </a:p>
          <a:p>
            <a:pPr marL="285750" indent="-285750">
              <a:buFont typeface="Arial" panose="020B0604020202020204" pitchFamily="34" charset="0"/>
              <a:buChar char="•"/>
              <a:defRPr/>
            </a:pPr>
            <a:endParaRPr lang="en-AU" sz="2000" dirty="0">
              <a:solidFill>
                <a:srgbClr val="00B0F0"/>
              </a:solidFill>
              <a:latin typeface="Aptos"/>
            </a:endParaRPr>
          </a:p>
        </p:txBody>
      </p:sp>
      <p:graphicFrame>
        <p:nvGraphicFramePr>
          <p:cNvPr id="7" name="Table 6">
            <a:extLst>
              <a:ext uri="{FF2B5EF4-FFF2-40B4-BE49-F238E27FC236}">
                <a16:creationId xmlns:a16="http://schemas.microsoft.com/office/drawing/2014/main" id="{A5438285-99E2-9A75-3D5F-CAC77BBFE3F3}"/>
              </a:ext>
            </a:extLst>
          </p:cNvPr>
          <p:cNvGraphicFramePr>
            <a:graphicFrameLocks noGrp="1"/>
          </p:cNvGraphicFramePr>
          <p:nvPr>
            <p:extLst>
              <p:ext uri="{D42A27DB-BD31-4B8C-83A1-F6EECF244321}">
                <p14:modId xmlns:p14="http://schemas.microsoft.com/office/powerpoint/2010/main" val="1002990078"/>
              </p:ext>
            </p:extLst>
          </p:nvPr>
        </p:nvGraphicFramePr>
        <p:xfrm>
          <a:off x="326043" y="1373044"/>
          <a:ext cx="11358179" cy="4343218"/>
        </p:xfrm>
        <a:graphic>
          <a:graphicData uri="http://schemas.openxmlformats.org/drawingml/2006/table">
            <a:tbl>
              <a:tblPr firstRow="1" bandRow="1">
                <a:tableStyleId>{5C22544A-7EE6-4342-B048-85BDC9FD1C3A}</a:tableStyleId>
              </a:tblPr>
              <a:tblGrid>
                <a:gridCol w="2839546">
                  <a:extLst>
                    <a:ext uri="{9D8B030D-6E8A-4147-A177-3AD203B41FA5}">
                      <a16:colId xmlns:a16="http://schemas.microsoft.com/office/drawing/2014/main" val="3430418746"/>
                    </a:ext>
                  </a:extLst>
                </a:gridCol>
                <a:gridCol w="1199147">
                  <a:extLst>
                    <a:ext uri="{9D8B030D-6E8A-4147-A177-3AD203B41FA5}">
                      <a16:colId xmlns:a16="http://schemas.microsoft.com/office/drawing/2014/main" val="2460787009"/>
                    </a:ext>
                  </a:extLst>
                </a:gridCol>
                <a:gridCol w="3011424">
                  <a:extLst>
                    <a:ext uri="{9D8B030D-6E8A-4147-A177-3AD203B41FA5}">
                      <a16:colId xmlns:a16="http://schemas.microsoft.com/office/drawing/2014/main" val="515269051"/>
                    </a:ext>
                  </a:extLst>
                </a:gridCol>
                <a:gridCol w="4308062">
                  <a:extLst>
                    <a:ext uri="{9D8B030D-6E8A-4147-A177-3AD203B41FA5}">
                      <a16:colId xmlns:a16="http://schemas.microsoft.com/office/drawing/2014/main" val="74437759"/>
                    </a:ext>
                  </a:extLst>
                </a:gridCol>
              </a:tblGrid>
              <a:tr h="350127">
                <a:tc>
                  <a:txBody>
                    <a:bodyPr/>
                    <a:lstStyle/>
                    <a:p>
                      <a:r>
                        <a:rPr lang="en-US" sz="1100" dirty="0">
                          <a:latin typeface="Aptos"/>
                        </a:rPr>
                        <a:t>Subject</a:t>
                      </a:r>
                    </a:p>
                  </a:txBody>
                  <a:tcPr/>
                </a:tc>
                <a:tc>
                  <a:txBody>
                    <a:bodyPr/>
                    <a:lstStyle/>
                    <a:p>
                      <a:r>
                        <a:rPr lang="en-US" sz="1100" dirty="0">
                          <a:latin typeface="Aptos"/>
                        </a:rPr>
                        <a:t>Clause no.</a:t>
                      </a:r>
                    </a:p>
                  </a:txBody>
                  <a:tcPr/>
                </a:tc>
                <a:tc>
                  <a:txBody>
                    <a:bodyPr/>
                    <a:lstStyle/>
                    <a:p>
                      <a:r>
                        <a:rPr lang="en-US" sz="1100" dirty="0">
                          <a:latin typeface="Aptos"/>
                        </a:rPr>
                        <a:t>Current EA</a:t>
                      </a:r>
                    </a:p>
                  </a:txBody>
                  <a:tcPr/>
                </a:tc>
                <a:tc>
                  <a:txBody>
                    <a:bodyPr/>
                    <a:lstStyle/>
                    <a:p>
                      <a:r>
                        <a:rPr lang="en-US" sz="1100" dirty="0">
                          <a:latin typeface="Aptos"/>
                        </a:rPr>
                        <a:t>Proposed EA</a:t>
                      </a:r>
                    </a:p>
                  </a:txBody>
                  <a:tcPr/>
                </a:tc>
                <a:extLst>
                  <a:ext uri="{0D108BD9-81ED-4DB2-BD59-A6C34878D82A}">
                    <a16:rowId xmlns:a16="http://schemas.microsoft.com/office/drawing/2014/main" val="341385769"/>
                  </a:ext>
                </a:extLst>
              </a:tr>
              <a:tr h="1788583">
                <a:tc>
                  <a:txBody>
                    <a:bodyPr/>
                    <a:lstStyle/>
                    <a:p>
                      <a:pPr lvl="0">
                        <a:buNone/>
                      </a:pPr>
                      <a:r>
                        <a:rPr lang="en-US" sz="1100" b="1" dirty="0">
                          <a:latin typeface="Aptos"/>
                        </a:rPr>
                        <a:t>Breaks</a:t>
                      </a:r>
                    </a:p>
                  </a:txBody>
                  <a:tcPr/>
                </a:tc>
                <a:tc>
                  <a:txBody>
                    <a:bodyPr/>
                    <a:lstStyle/>
                    <a:p>
                      <a:pPr lvl="0">
                        <a:buNone/>
                      </a:pPr>
                      <a:r>
                        <a:rPr lang="en-US" sz="1100" dirty="0">
                          <a:latin typeface="Aptos"/>
                        </a:rPr>
                        <a:t>19</a:t>
                      </a:r>
                    </a:p>
                  </a:txBody>
                  <a:tcPr/>
                </a:tc>
                <a:tc>
                  <a:txBody>
                    <a:bodyPr/>
                    <a:lstStyle/>
                    <a:p>
                      <a:pPr lvl="0">
                        <a:buNone/>
                      </a:pPr>
                      <a:r>
                        <a:rPr lang="en-US" sz="1100" b="0" i="0" u="none" strike="noStrike" noProof="0" dirty="0">
                          <a:solidFill>
                            <a:srgbClr val="000000"/>
                          </a:solidFill>
                          <a:latin typeface="Aptos"/>
                        </a:rPr>
                        <a:t>This clause outlines when employees are entitled to breaks including how long the break will be and whether it is paid or unpaid. </a:t>
                      </a:r>
                    </a:p>
                  </a:txBody>
                  <a:tcPr/>
                </a:tc>
                <a:tc>
                  <a:txBody>
                    <a:bodyPr/>
                    <a:lstStyle/>
                    <a:p>
                      <a:pPr lvl="0" algn="l">
                        <a:lnSpc>
                          <a:spcPct val="100000"/>
                        </a:lnSpc>
                        <a:spcBef>
                          <a:spcPts val="0"/>
                        </a:spcBef>
                        <a:spcAft>
                          <a:spcPts val="0"/>
                        </a:spcAft>
                        <a:buNone/>
                      </a:pPr>
                      <a:r>
                        <a:rPr lang="en-AU" sz="1100" b="0" i="0" u="none" strike="noStrike" kern="1200" noProof="0" dirty="0">
                          <a:solidFill>
                            <a:srgbClr val="000000"/>
                          </a:solidFill>
                          <a:latin typeface="Aptos"/>
                          <a:ea typeface="+mn-ea"/>
                          <a:cs typeface="+mn-cs"/>
                        </a:rPr>
                        <a:t>This clause has been amended to confirm that the hours, relevant to breaks under clause 19, will be continuous and that where an employee receives a break under the "rest breaks during overtime" provisions of clause 18.4, then for the purposes of clause 19 the employee’s hours will be calculated from when they return to work following that rest break. </a:t>
                      </a:r>
                      <a:endParaRPr lang="en-US" sz="1100" b="0" i="0" u="none" strike="noStrike" kern="1200" noProof="0" dirty="0">
                        <a:solidFill>
                          <a:srgbClr val="000000"/>
                        </a:solidFill>
                        <a:latin typeface="Aptos"/>
                        <a:ea typeface="+mn-ea"/>
                        <a:cs typeface="+mn-cs"/>
                      </a:endParaRPr>
                    </a:p>
                    <a:p>
                      <a:pPr lvl="0" algn="l">
                        <a:lnSpc>
                          <a:spcPct val="100000"/>
                        </a:lnSpc>
                        <a:spcBef>
                          <a:spcPts val="0"/>
                        </a:spcBef>
                        <a:spcAft>
                          <a:spcPts val="0"/>
                        </a:spcAft>
                        <a:buNone/>
                      </a:pPr>
                      <a:endParaRPr lang="en-AU" sz="1100" b="0" i="0" u="none" strike="noStrike" kern="1200" noProof="0" dirty="0">
                        <a:solidFill>
                          <a:srgbClr val="000000"/>
                        </a:solidFill>
                        <a:latin typeface="Aptos" panose="020B0004020202020204" pitchFamily="34" charset="0"/>
                        <a:ea typeface="+mn-ea"/>
                        <a:cs typeface="+mn-cs"/>
                      </a:endParaRPr>
                    </a:p>
                    <a:p>
                      <a:pPr lvl="0" algn="l">
                        <a:lnSpc>
                          <a:spcPct val="100000"/>
                        </a:lnSpc>
                        <a:spcBef>
                          <a:spcPts val="0"/>
                        </a:spcBef>
                        <a:spcAft>
                          <a:spcPts val="0"/>
                        </a:spcAft>
                        <a:buNone/>
                      </a:pPr>
                      <a:r>
                        <a:rPr lang="en-AU" sz="1100" b="0" i="0" u="none" strike="noStrike" kern="1200" noProof="0" dirty="0">
                          <a:solidFill>
                            <a:srgbClr val="000000"/>
                          </a:solidFill>
                          <a:latin typeface="Aptos"/>
                          <a:ea typeface="+mn-ea"/>
                          <a:cs typeface="+mn-cs"/>
                        </a:rPr>
                        <a:t>The word ‘continuous’ has been inserted into clauses 19.2, 19.3 and 19.4 for clarity. </a:t>
                      </a:r>
                      <a:endParaRPr lang="en-US" sz="1100" b="0" i="0" u="none" strike="noStrike" kern="1200" noProof="0" dirty="0">
                        <a:solidFill>
                          <a:srgbClr val="000000"/>
                        </a:solidFill>
                        <a:latin typeface="Aptos"/>
                        <a:ea typeface="+mn-ea"/>
                        <a:cs typeface="+mn-cs"/>
                      </a:endParaRPr>
                    </a:p>
                  </a:txBody>
                  <a:tcPr/>
                </a:tc>
                <a:extLst>
                  <a:ext uri="{0D108BD9-81ED-4DB2-BD59-A6C34878D82A}">
                    <a16:rowId xmlns:a16="http://schemas.microsoft.com/office/drawing/2014/main" val="3065797498"/>
                  </a:ext>
                </a:extLst>
              </a:tr>
              <a:tr h="1102254">
                <a:tc>
                  <a:txBody>
                    <a:bodyPr/>
                    <a:lstStyle/>
                    <a:p>
                      <a:pPr lvl="0">
                        <a:buNone/>
                      </a:pPr>
                      <a:r>
                        <a:rPr lang="en-US" sz="1100" b="1" dirty="0">
                          <a:latin typeface="Aptos"/>
                        </a:rPr>
                        <a:t>Annual Leave</a:t>
                      </a:r>
                    </a:p>
                  </a:txBody>
                  <a:tcPr/>
                </a:tc>
                <a:tc>
                  <a:txBody>
                    <a:bodyPr/>
                    <a:lstStyle/>
                    <a:p>
                      <a:pPr lvl="0">
                        <a:buNone/>
                      </a:pPr>
                      <a:r>
                        <a:rPr lang="en-US" sz="1100" dirty="0">
                          <a:latin typeface="Aptos"/>
                        </a:rPr>
                        <a:t>20</a:t>
                      </a:r>
                    </a:p>
                  </a:txBody>
                  <a:tcPr/>
                </a:tc>
                <a:tc>
                  <a:txBody>
                    <a:bodyPr/>
                    <a:lstStyle/>
                    <a:p>
                      <a:pPr lvl="0">
                        <a:buNone/>
                      </a:pPr>
                      <a:r>
                        <a:rPr lang="en-US" sz="1100" b="0" i="0" u="none" strike="noStrike" noProof="0" dirty="0">
                          <a:solidFill>
                            <a:schemeClr val="tx1"/>
                          </a:solidFill>
                          <a:latin typeface="Aptos"/>
                        </a:rPr>
                        <a:t>This clause outlines an employee's entitlement to annual leave, including leave taken during </a:t>
                      </a:r>
                      <a:r>
                        <a:rPr lang="en-US" sz="1100" b="0" i="0" u="none" strike="noStrike" noProof="0" dirty="0" err="1">
                          <a:solidFill>
                            <a:schemeClr val="tx1"/>
                          </a:solidFill>
                          <a:latin typeface="Aptos"/>
                        </a:rPr>
                        <a:t>nbn's</a:t>
                      </a:r>
                      <a:r>
                        <a:rPr lang="en-US" sz="1100" b="0" i="0" u="none" strike="noStrike" noProof="0" dirty="0">
                          <a:solidFill>
                            <a:schemeClr val="tx1"/>
                          </a:solidFill>
                          <a:latin typeface="Aptos"/>
                        </a:rPr>
                        <a:t> annual shutdown period. </a:t>
                      </a:r>
                      <a:endParaRPr lang="en-US" sz="1100" dirty="0">
                        <a:solidFill>
                          <a:schemeClr val="tx1"/>
                        </a:solidFill>
                        <a:latin typeface="Aptos"/>
                      </a:endParaRPr>
                    </a:p>
                  </a:txBody>
                  <a:tcPr/>
                </a:tc>
                <a:tc>
                  <a:txBody>
                    <a:bodyPr/>
                    <a:lstStyle/>
                    <a:p>
                      <a:pPr lvl="0">
                        <a:buNone/>
                      </a:pPr>
                      <a:r>
                        <a:rPr lang="en-AU" sz="1100" b="0" i="0" u="none" strike="noStrike" kern="1200" noProof="0">
                          <a:solidFill>
                            <a:srgbClr val="000000"/>
                          </a:solidFill>
                          <a:latin typeface="Aptos"/>
                          <a:ea typeface="+mn-ea"/>
                          <a:cs typeface="+mn-cs"/>
                        </a:rPr>
                        <a:t>This clause has been amended to clarify that an employee who has not accrued sufficient leave to cover part or all of the close-down is allowed paid leave for the period for which they have accrued sufficient leave and agrees to take unpaid leave for the remainder of the close-down. </a:t>
                      </a:r>
                    </a:p>
                  </a:txBody>
                  <a:tcPr/>
                </a:tc>
                <a:extLst>
                  <a:ext uri="{0D108BD9-81ED-4DB2-BD59-A6C34878D82A}">
                    <a16:rowId xmlns:a16="http://schemas.microsoft.com/office/drawing/2014/main" val="1527798486"/>
                  </a:ext>
                </a:extLst>
              </a:tr>
              <a:tr h="1102254">
                <a:tc>
                  <a:txBody>
                    <a:bodyPr/>
                    <a:lstStyle/>
                    <a:p>
                      <a:pPr lvl="0">
                        <a:buNone/>
                      </a:pPr>
                      <a:r>
                        <a:rPr lang="en-US" sz="1100" b="1">
                          <a:latin typeface="Aptos"/>
                        </a:rPr>
                        <a:t>Long Service Leave </a:t>
                      </a:r>
                    </a:p>
                  </a:txBody>
                  <a:tcPr/>
                </a:tc>
                <a:tc>
                  <a:txBody>
                    <a:bodyPr/>
                    <a:lstStyle/>
                    <a:p>
                      <a:pPr lvl="0">
                        <a:buNone/>
                      </a:pPr>
                      <a:r>
                        <a:rPr lang="en-US" sz="1100">
                          <a:latin typeface="Aptos"/>
                        </a:rPr>
                        <a:t>23</a:t>
                      </a:r>
                    </a:p>
                  </a:txBody>
                  <a:tcPr/>
                </a:tc>
                <a:tc>
                  <a:txBody>
                    <a:bodyPr/>
                    <a:lstStyle/>
                    <a:p>
                      <a:pPr lvl="0">
                        <a:buNone/>
                      </a:pPr>
                      <a:r>
                        <a:rPr lang="en-US" sz="1100" b="0" i="0" u="none" strike="noStrike" kern="1200" noProof="0">
                          <a:solidFill>
                            <a:srgbClr val="000000"/>
                          </a:solidFill>
                          <a:latin typeface="Aptos"/>
                          <a:ea typeface="+mn-ea"/>
                          <a:cs typeface="+mn-cs"/>
                        </a:rPr>
                        <a:t>This clause outlined the long service leave entitlements available to eligible employees.</a:t>
                      </a:r>
                    </a:p>
                    <a:p>
                      <a:pPr lvl="0">
                        <a:buNone/>
                      </a:pPr>
                      <a:endParaRPr lang="en-US" sz="1100" b="0" i="0" u="none" strike="noStrike" kern="1200" noProof="0">
                        <a:solidFill>
                          <a:srgbClr val="000000"/>
                        </a:solidFill>
                        <a:latin typeface="Aptos"/>
                        <a:ea typeface="+mn-ea"/>
                        <a:cs typeface="+mn-cs"/>
                      </a:endParaRPr>
                    </a:p>
                    <a:p>
                      <a:pPr lvl="0">
                        <a:buNone/>
                      </a:pPr>
                      <a:r>
                        <a:rPr lang="en-US" sz="1100" b="0" i="0" u="none" strike="noStrike" kern="1200" noProof="0">
                          <a:solidFill>
                            <a:srgbClr val="000000"/>
                          </a:solidFill>
                          <a:latin typeface="Aptos"/>
                          <a:ea typeface="+mn-ea"/>
                          <a:cs typeface="+mn-cs"/>
                        </a:rPr>
                        <a:t>At nbn you are entitled to 13 weeks of LSL after 10 years of service.</a:t>
                      </a:r>
                      <a:endParaRPr lang="en-US" sz="1100">
                        <a:latin typeface="Aptos"/>
                      </a:endParaRPr>
                    </a:p>
                  </a:txBody>
                  <a:tcPr/>
                </a:tc>
                <a:tc>
                  <a:txBody>
                    <a:bodyPr/>
                    <a:lstStyle/>
                    <a:p>
                      <a:pPr lvl="0">
                        <a:buNone/>
                      </a:pPr>
                      <a:r>
                        <a:rPr lang="en-AU" sz="1100" b="0" i="0" u="none" strike="noStrike" kern="1200" noProof="0">
                          <a:solidFill>
                            <a:srgbClr val="000000"/>
                          </a:solidFill>
                          <a:latin typeface="Aptos"/>
                          <a:ea typeface="+mn-ea"/>
                          <a:cs typeface="+mn-cs"/>
                        </a:rPr>
                        <a:t>This clause has been amended to provide that to the extent that a State or Territory long service leave Act provides a more beneficial term than</a:t>
                      </a:r>
                      <a:r>
                        <a:rPr lang="en-AU" sz="1100" b="1" i="0" u="none" strike="noStrike" kern="1200" noProof="0">
                          <a:solidFill>
                            <a:srgbClr val="000000"/>
                          </a:solidFill>
                          <a:latin typeface="Aptos"/>
                          <a:ea typeface="+mn-ea"/>
                          <a:cs typeface="+mn-cs"/>
                        </a:rPr>
                        <a:t> </a:t>
                      </a:r>
                      <a:r>
                        <a:rPr lang="en-AU" sz="1100" b="0" i="0" u="none" strike="noStrike" kern="1200" noProof="0" err="1">
                          <a:solidFill>
                            <a:srgbClr val="000000"/>
                          </a:solidFill>
                          <a:latin typeface="Aptos"/>
                          <a:ea typeface="+mn-ea"/>
                          <a:cs typeface="+mn-cs"/>
                        </a:rPr>
                        <a:t>nbn’s</a:t>
                      </a:r>
                      <a:r>
                        <a:rPr lang="en-AU" sz="1100" b="0" i="0" u="none" strike="noStrike" kern="1200" noProof="0">
                          <a:solidFill>
                            <a:srgbClr val="000000"/>
                          </a:solidFill>
                          <a:latin typeface="Aptos"/>
                          <a:ea typeface="+mn-ea"/>
                          <a:cs typeface="+mn-cs"/>
                        </a:rPr>
                        <a:t> policy, the Act will prevail to the extent that is more beneficial. </a:t>
                      </a:r>
                      <a:endParaRPr lang="en-US" sz="1100" b="0" i="0" u="none" strike="noStrike" kern="1200" noProof="0">
                        <a:solidFill>
                          <a:srgbClr val="000000"/>
                        </a:solidFill>
                        <a:latin typeface="Aptos"/>
                        <a:ea typeface="+mn-ea"/>
                        <a:cs typeface="+mn-cs"/>
                      </a:endParaRPr>
                    </a:p>
                  </a:txBody>
                  <a:tcPr/>
                </a:tc>
                <a:extLst>
                  <a:ext uri="{0D108BD9-81ED-4DB2-BD59-A6C34878D82A}">
                    <a16:rowId xmlns:a16="http://schemas.microsoft.com/office/drawing/2014/main" val="1156513636"/>
                  </a:ext>
                </a:extLst>
              </a:tr>
            </a:tbl>
          </a:graphicData>
        </a:graphic>
      </p:graphicFrame>
    </p:spTree>
    <p:extLst>
      <p:ext uri="{BB962C8B-B14F-4D97-AF65-F5344CB8AC3E}">
        <p14:creationId xmlns:p14="http://schemas.microsoft.com/office/powerpoint/2010/main" val="37028469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6F659-AE00-325D-3598-D36A715894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B433D8-9BEE-3BC1-EA80-718FEF6DF4E3}"/>
              </a:ext>
            </a:extLst>
          </p:cNvPr>
          <p:cNvSpPr>
            <a:spLocks noGrp="1"/>
          </p:cNvSpPr>
          <p:nvPr>
            <p:ph type="title"/>
          </p:nvPr>
        </p:nvSpPr>
        <p:spPr/>
        <p:txBody>
          <a:bodyPr/>
          <a:lstStyle/>
          <a:p>
            <a:r>
              <a:rPr lang="en-US">
                <a:ea typeface="+mj-lt"/>
                <a:cs typeface="+mj-lt"/>
              </a:rPr>
              <a:t>Key Changes </a:t>
            </a:r>
            <a:endParaRPr lang="en-US"/>
          </a:p>
        </p:txBody>
      </p:sp>
      <p:sp>
        <p:nvSpPr>
          <p:cNvPr id="3" name="Text Placeholder 2">
            <a:extLst>
              <a:ext uri="{FF2B5EF4-FFF2-40B4-BE49-F238E27FC236}">
                <a16:creationId xmlns:a16="http://schemas.microsoft.com/office/drawing/2014/main" id="{A3109AD1-0D34-D869-A711-2B98F5CA9F1B}"/>
              </a:ext>
            </a:extLst>
          </p:cNvPr>
          <p:cNvSpPr>
            <a:spLocks noGrp="1"/>
          </p:cNvSpPr>
          <p:nvPr>
            <p:ph type="body" sz="quarter" idx="4294967295"/>
          </p:nvPr>
        </p:nvSpPr>
        <p:spPr>
          <a:xfrm>
            <a:off x="8093075" y="3373438"/>
            <a:ext cx="4098925" cy="3095625"/>
          </a:xfrm>
        </p:spPr>
        <p:txBody>
          <a:bodyPr/>
          <a:lstStyle/>
          <a:p>
            <a:r>
              <a:rPr lang="en-US"/>
              <a:t> </a:t>
            </a:r>
          </a:p>
        </p:txBody>
      </p:sp>
      <p:sp>
        <p:nvSpPr>
          <p:cNvPr id="6" name="TextBox 5">
            <a:extLst>
              <a:ext uri="{FF2B5EF4-FFF2-40B4-BE49-F238E27FC236}">
                <a16:creationId xmlns:a16="http://schemas.microsoft.com/office/drawing/2014/main" id="{A9D81DB0-CC00-7BBE-B127-AADA32FC745F}"/>
              </a:ext>
            </a:extLst>
          </p:cNvPr>
          <p:cNvSpPr txBox="1"/>
          <p:nvPr/>
        </p:nvSpPr>
        <p:spPr>
          <a:xfrm>
            <a:off x="328688" y="998621"/>
            <a:ext cx="2172488" cy="483452"/>
          </a:xfrm>
          <a:prstGeom prst="rect">
            <a:avLst/>
          </a:prstGeom>
          <a:noFill/>
        </p:spPr>
        <p:txBody>
          <a:bodyPr wrap="square" lIns="0" tIns="0" rIns="0" bIns="0" rtlCol="0" anchor="t">
            <a:noAutofit/>
          </a:bodyPr>
          <a:lstStyle/>
          <a:p>
            <a:pPr>
              <a:defRPr/>
            </a:pPr>
            <a:r>
              <a:rPr lang="en-US" sz="2000" b="1">
                <a:solidFill>
                  <a:srgbClr val="00B0F0"/>
                </a:solidFill>
                <a:latin typeface="Calibri"/>
                <a:ea typeface="Calibri"/>
                <a:cs typeface="Calibri"/>
              </a:rPr>
              <a:t>Other changes</a:t>
            </a:r>
          </a:p>
          <a:p>
            <a:pPr>
              <a:defRPr/>
            </a:pPr>
            <a:endParaRPr lang="en-US" sz="2000">
              <a:solidFill>
                <a:srgbClr val="00B0F0"/>
              </a:solidFill>
              <a:latin typeface="Calibri"/>
              <a:ea typeface="Calibri"/>
              <a:cs typeface="Calibri"/>
            </a:endParaRPr>
          </a:p>
          <a:p>
            <a:pPr marR="0" algn="l" defTabSz="914400">
              <a:lnSpc>
                <a:spcPct val="100000"/>
              </a:lnSpc>
              <a:spcBef>
                <a:spcPts val="0"/>
              </a:spcBef>
              <a:spcAft>
                <a:spcPts val="0"/>
              </a:spcAft>
              <a:buClrTx/>
              <a:buSzTx/>
              <a:tabLst/>
              <a:defRPr/>
            </a:pPr>
            <a:endParaRPr lang="en-US" sz="2000" b="0" i="0" u="none" strike="noStrike" kern="1200" cap="none" spc="0" normalizeH="0" baseline="0" noProof="0">
              <a:ln>
                <a:noFill/>
              </a:ln>
              <a:solidFill>
                <a:srgbClr val="00B0F0"/>
              </a:solidFill>
              <a:effectLst/>
              <a:uLnTx/>
              <a:uFillTx/>
              <a:latin typeface="Calibri"/>
              <a:ea typeface="Calibri"/>
              <a:cs typeface="Calibri"/>
            </a:endParaRPr>
          </a:p>
          <a:p>
            <a:pPr marL="285750" marR="0" lvl="0" indent="-285750" algn="l" defTabSz="914400">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a:ln>
                <a:noFill/>
              </a:ln>
              <a:solidFill>
                <a:srgbClr val="00B0F0"/>
              </a:solidFill>
              <a:effectLst/>
              <a:uLnTx/>
              <a:uFillTx/>
              <a:latin typeface="Aptos"/>
              <a:ea typeface="Calibri"/>
              <a:cs typeface="Calibri"/>
            </a:endParaRPr>
          </a:p>
          <a:p>
            <a:pPr marL="285750" marR="0" lvl="0" indent="-285750" algn="l" defTabSz="914400">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a:ln>
                <a:noFill/>
              </a:ln>
              <a:solidFill>
                <a:srgbClr val="00B0F0"/>
              </a:solidFill>
              <a:effectLst/>
              <a:uLnTx/>
              <a:uFillTx/>
              <a:latin typeface="Aptos"/>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a:ln>
                <a:noFill/>
              </a:ln>
              <a:solidFill>
                <a:srgbClr val="00B0F0"/>
              </a:solidFill>
              <a:effectLst/>
              <a:highlight>
                <a:srgbClr val="FFFF00"/>
              </a:highlight>
              <a:uLnTx/>
              <a:uFillTx/>
              <a:latin typeface="Apto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a:ln>
                <a:noFill/>
              </a:ln>
              <a:solidFill>
                <a:srgbClr val="00B0F0"/>
              </a:solidFill>
              <a:effectLst/>
              <a:highlight>
                <a:srgbClr val="FFFF00"/>
              </a:highlight>
              <a:uLnTx/>
              <a:uFillTx/>
              <a:latin typeface="Aptos"/>
            </a:endParaRPr>
          </a:p>
          <a:p>
            <a:pPr marR="0" lvl="0" algn="l" defTabSz="914400" rtl="0" eaLnBrk="1" fontAlgn="auto" latinLnBrk="0" hangingPunct="1">
              <a:lnSpc>
                <a:spcPct val="100000"/>
              </a:lnSpc>
              <a:spcBef>
                <a:spcPts val="0"/>
              </a:spcBef>
              <a:spcAft>
                <a:spcPts val="0"/>
              </a:spcAft>
              <a:buClrTx/>
              <a:buSzTx/>
              <a:tabLst/>
              <a:defRPr/>
            </a:pPr>
            <a:endParaRPr lang="en-AU" sz="2000" b="0" i="0" u="none" strike="noStrike" kern="1200" cap="none" spc="0" normalizeH="0" baseline="0" noProof="0">
              <a:ln>
                <a:noFill/>
              </a:ln>
              <a:solidFill>
                <a:srgbClr val="00B0F0"/>
              </a:solidFill>
              <a:effectLst/>
              <a:uLnTx/>
              <a:uFillTx/>
              <a:latin typeface="Apto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2000" b="0" i="0" u="none" strike="noStrike" kern="1200" cap="none" spc="0" normalizeH="0" baseline="0" noProof="0">
              <a:ln>
                <a:noFill/>
              </a:ln>
              <a:solidFill>
                <a:srgbClr val="00B0F0"/>
              </a:solidFill>
              <a:effectLst/>
              <a:uLnTx/>
              <a:uFillTx/>
              <a:latin typeface="Aptos"/>
            </a:endParaRPr>
          </a:p>
          <a:p>
            <a:pPr marL="285750" indent="-285750">
              <a:buFont typeface="Arial" panose="020B0604020202020204" pitchFamily="34" charset="0"/>
              <a:buChar char="•"/>
              <a:defRPr/>
            </a:pPr>
            <a:endParaRPr lang="en-AU" sz="2000">
              <a:solidFill>
                <a:srgbClr val="00B0F0"/>
              </a:solidFill>
              <a:latin typeface="Aptos"/>
            </a:endParaRPr>
          </a:p>
        </p:txBody>
      </p:sp>
      <p:graphicFrame>
        <p:nvGraphicFramePr>
          <p:cNvPr id="7" name="Table 6">
            <a:extLst>
              <a:ext uri="{FF2B5EF4-FFF2-40B4-BE49-F238E27FC236}">
                <a16:creationId xmlns:a16="http://schemas.microsoft.com/office/drawing/2014/main" id="{A5438285-99E2-9A75-3D5F-CAC77BBFE3F3}"/>
              </a:ext>
            </a:extLst>
          </p:cNvPr>
          <p:cNvGraphicFramePr>
            <a:graphicFrameLocks noGrp="1"/>
          </p:cNvGraphicFramePr>
          <p:nvPr>
            <p:extLst>
              <p:ext uri="{D42A27DB-BD31-4B8C-83A1-F6EECF244321}">
                <p14:modId xmlns:p14="http://schemas.microsoft.com/office/powerpoint/2010/main" val="133424887"/>
              </p:ext>
            </p:extLst>
          </p:nvPr>
        </p:nvGraphicFramePr>
        <p:xfrm>
          <a:off x="326042" y="1373044"/>
          <a:ext cx="11537270" cy="5307065"/>
        </p:xfrm>
        <a:graphic>
          <a:graphicData uri="http://schemas.openxmlformats.org/drawingml/2006/table">
            <a:tbl>
              <a:tblPr firstRow="1" bandRow="1">
                <a:tableStyleId>{5C22544A-7EE6-4342-B048-85BDC9FD1C3A}</a:tableStyleId>
              </a:tblPr>
              <a:tblGrid>
                <a:gridCol w="2445955">
                  <a:extLst>
                    <a:ext uri="{9D8B030D-6E8A-4147-A177-3AD203B41FA5}">
                      <a16:colId xmlns:a16="http://schemas.microsoft.com/office/drawing/2014/main" val="3430418746"/>
                    </a:ext>
                  </a:extLst>
                </a:gridCol>
                <a:gridCol w="938773">
                  <a:extLst>
                    <a:ext uri="{9D8B030D-6E8A-4147-A177-3AD203B41FA5}">
                      <a16:colId xmlns:a16="http://schemas.microsoft.com/office/drawing/2014/main" val="2460787009"/>
                    </a:ext>
                  </a:extLst>
                </a:gridCol>
                <a:gridCol w="3480280">
                  <a:extLst>
                    <a:ext uri="{9D8B030D-6E8A-4147-A177-3AD203B41FA5}">
                      <a16:colId xmlns:a16="http://schemas.microsoft.com/office/drawing/2014/main" val="515269051"/>
                    </a:ext>
                  </a:extLst>
                </a:gridCol>
                <a:gridCol w="4672262">
                  <a:extLst>
                    <a:ext uri="{9D8B030D-6E8A-4147-A177-3AD203B41FA5}">
                      <a16:colId xmlns:a16="http://schemas.microsoft.com/office/drawing/2014/main" val="74437759"/>
                    </a:ext>
                  </a:extLst>
                </a:gridCol>
              </a:tblGrid>
              <a:tr h="389264">
                <a:tc>
                  <a:txBody>
                    <a:bodyPr/>
                    <a:lstStyle/>
                    <a:p>
                      <a:r>
                        <a:rPr lang="en-US" sz="1200">
                          <a:latin typeface="Aptos"/>
                        </a:rPr>
                        <a:t>Subject</a:t>
                      </a:r>
                    </a:p>
                  </a:txBody>
                  <a:tcPr/>
                </a:tc>
                <a:tc>
                  <a:txBody>
                    <a:bodyPr/>
                    <a:lstStyle/>
                    <a:p>
                      <a:r>
                        <a:rPr lang="en-US" sz="1200">
                          <a:latin typeface="Aptos"/>
                        </a:rPr>
                        <a:t>Clause no.</a:t>
                      </a:r>
                    </a:p>
                  </a:txBody>
                  <a:tcPr/>
                </a:tc>
                <a:tc>
                  <a:txBody>
                    <a:bodyPr/>
                    <a:lstStyle/>
                    <a:p>
                      <a:r>
                        <a:rPr lang="en-US" sz="1200">
                          <a:latin typeface="Aptos"/>
                        </a:rPr>
                        <a:t>Current EA</a:t>
                      </a:r>
                    </a:p>
                  </a:txBody>
                  <a:tcPr/>
                </a:tc>
                <a:tc>
                  <a:txBody>
                    <a:bodyPr/>
                    <a:lstStyle/>
                    <a:p>
                      <a:r>
                        <a:rPr lang="en-US" sz="1200">
                          <a:latin typeface="Aptos"/>
                        </a:rPr>
                        <a:t>Proposed EA</a:t>
                      </a:r>
                    </a:p>
                  </a:txBody>
                  <a:tcPr/>
                </a:tc>
                <a:extLst>
                  <a:ext uri="{0D108BD9-81ED-4DB2-BD59-A6C34878D82A}">
                    <a16:rowId xmlns:a16="http://schemas.microsoft.com/office/drawing/2014/main" val="341385769"/>
                  </a:ext>
                </a:extLst>
              </a:tr>
              <a:tr h="702147">
                <a:tc>
                  <a:txBody>
                    <a:bodyPr/>
                    <a:lstStyle/>
                    <a:p>
                      <a:pPr lvl="0">
                        <a:buNone/>
                      </a:pPr>
                      <a:r>
                        <a:rPr lang="en-US" sz="1200" b="1">
                          <a:latin typeface="Aptos"/>
                        </a:rPr>
                        <a:t>Parental leave</a:t>
                      </a:r>
                    </a:p>
                  </a:txBody>
                  <a:tcPr/>
                </a:tc>
                <a:tc>
                  <a:txBody>
                    <a:bodyPr/>
                    <a:lstStyle/>
                    <a:p>
                      <a:pPr lvl="0">
                        <a:buNone/>
                      </a:pPr>
                      <a:r>
                        <a:rPr lang="en-US" sz="1200">
                          <a:latin typeface="Aptos"/>
                        </a:rPr>
                        <a:t>24</a:t>
                      </a:r>
                    </a:p>
                  </a:txBody>
                  <a:tcPr/>
                </a:tc>
                <a:tc>
                  <a:txBody>
                    <a:bodyPr/>
                    <a:lstStyle/>
                    <a:p>
                      <a:pPr lvl="0">
                        <a:buNone/>
                      </a:pPr>
                      <a:r>
                        <a:rPr lang="en-US" sz="1200" b="0" i="0" u="none" strike="noStrike" kern="1200">
                          <a:solidFill>
                            <a:srgbClr val="000000"/>
                          </a:solidFill>
                          <a:latin typeface="Aptos"/>
                          <a:ea typeface="+mn-ea"/>
                          <a:cs typeface="+mn-cs"/>
                        </a:rPr>
                        <a:t>This clause </a:t>
                      </a:r>
                      <a:r>
                        <a:rPr lang="en-US" sz="1200" b="0" i="0" u="none" strike="noStrike" kern="1200" noProof="0">
                          <a:solidFill>
                            <a:srgbClr val="000000"/>
                          </a:solidFill>
                          <a:latin typeface="Aptos"/>
                          <a:ea typeface="+mn-ea"/>
                          <a:cs typeface="+mn-cs"/>
                        </a:rPr>
                        <a:t>outlines the parental leave entitlements available to eligible employees.</a:t>
                      </a:r>
                    </a:p>
                    <a:p>
                      <a:pPr lvl="0">
                        <a:buNone/>
                      </a:pPr>
                      <a:endParaRPr lang="en-US" sz="1200" b="0" i="0" u="none" strike="noStrike" kern="1200" noProof="0">
                        <a:solidFill>
                          <a:srgbClr val="000000"/>
                        </a:solidFill>
                        <a:latin typeface="Aptos"/>
                        <a:ea typeface="+mn-ea"/>
                        <a:cs typeface="+mn-cs"/>
                      </a:endParaRPr>
                    </a:p>
                    <a:p>
                      <a:pPr lvl="0">
                        <a:buNone/>
                      </a:pPr>
                      <a:r>
                        <a:rPr lang="en-US" sz="1200" b="0" i="0" u="none" strike="noStrike" kern="1200" noProof="0">
                          <a:solidFill>
                            <a:srgbClr val="000000"/>
                          </a:solidFill>
                          <a:latin typeface="Aptos"/>
                          <a:ea typeface="+mn-ea"/>
                          <a:cs typeface="+mn-cs"/>
                        </a:rPr>
                        <a:t>At nbn, employees are entitled to 18 weeks paid parental leave in accordance with nbn Policy.</a:t>
                      </a:r>
                    </a:p>
                  </a:txBody>
                  <a:tcPr/>
                </a:tc>
                <a:tc>
                  <a:txBody>
                    <a:bodyPr/>
                    <a:lstStyle/>
                    <a:p>
                      <a:pPr lvl="0">
                        <a:buNone/>
                      </a:pPr>
                      <a:r>
                        <a:rPr lang="en-AU" sz="1200" b="0" i="0" u="none" strike="noStrike" kern="1200" noProof="0">
                          <a:solidFill>
                            <a:srgbClr val="000000"/>
                          </a:solidFill>
                          <a:latin typeface="Aptos"/>
                          <a:ea typeface="+mn-ea"/>
                          <a:cs typeface="+mn-cs"/>
                        </a:rPr>
                        <a:t>This clause has been updated to confirm that, during paid parental leave, employees are entitled to receive superannuation contributions. </a:t>
                      </a:r>
                    </a:p>
                  </a:txBody>
                  <a:tcPr/>
                </a:tc>
                <a:extLst>
                  <a:ext uri="{0D108BD9-81ED-4DB2-BD59-A6C34878D82A}">
                    <a16:rowId xmlns:a16="http://schemas.microsoft.com/office/drawing/2014/main" val="2107112671"/>
                  </a:ext>
                </a:extLst>
              </a:tr>
              <a:tr h="1303987">
                <a:tc>
                  <a:txBody>
                    <a:bodyPr/>
                    <a:lstStyle/>
                    <a:p>
                      <a:pPr lvl="0">
                        <a:buNone/>
                      </a:pPr>
                      <a:r>
                        <a:rPr lang="en-US" sz="1200" b="1">
                          <a:latin typeface="Aptos"/>
                        </a:rPr>
                        <a:t>Other Leave not Covered (i.e. Special Leave)</a:t>
                      </a:r>
                    </a:p>
                  </a:txBody>
                  <a:tcPr/>
                </a:tc>
                <a:tc>
                  <a:txBody>
                    <a:bodyPr/>
                    <a:lstStyle/>
                    <a:p>
                      <a:pPr lvl="0">
                        <a:buNone/>
                      </a:pPr>
                      <a:r>
                        <a:rPr lang="en-US" sz="1200">
                          <a:latin typeface="Aptos"/>
                        </a:rPr>
                        <a:t>26</a:t>
                      </a:r>
                    </a:p>
                  </a:txBody>
                  <a:tcPr/>
                </a:tc>
                <a:tc>
                  <a:txBody>
                    <a:bodyPr/>
                    <a:lstStyle/>
                    <a:p>
                      <a:pPr lvl="0">
                        <a:buNone/>
                      </a:pPr>
                      <a:r>
                        <a:rPr lang="en-US" sz="1200" b="0" i="0" u="none" strike="noStrike" kern="1200">
                          <a:solidFill>
                            <a:srgbClr val="000000"/>
                          </a:solidFill>
                          <a:latin typeface="Aptos"/>
                          <a:ea typeface="+mn-ea"/>
                          <a:cs typeface="+mn-cs"/>
                        </a:rPr>
                        <a:t>Nil</a:t>
                      </a:r>
                    </a:p>
                  </a:txBody>
                  <a:tcPr/>
                </a:tc>
                <a:tc>
                  <a:txBody>
                    <a:bodyPr/>
                    <a:lstStyle/>
                    <a:p>
                      <a:pPr lvl="0">
                        <a:buNone/>
                      </a:pPr>
                      <a:r>
                        <a:rPr lang="en-AU" sz="1200" b="0" i="0" u="none" strike="noStrike" kern="1200" noProof="0">
                          <a:solidFill>
                            <a:srgbClr val="000000"/>
                          </a:solidFill>
                          <a:latin typeface="Aptos"/>
                          <a:ea typeface="+mn-ea"/>
                          <a:cs typeface="+mn-cs"/>
                        </a:rPr>
                        <a:t>The clause has been inserted to provide that where an employee has exhausted their current leave entitlements, </a:t>
                      </a:r>
                      <a:r>
                        <a:rPr lang="en-AU" sz="1200" b="0" i="0" u="none" strike="noStrike" kern="1200" noProof="0" err="1">
                          <a:solidFill>
                            <a:srgbClr val="000000"/>
                          </a:solidFill>
                          <a:latin typeface="Aptos"/>
                          <a:ea typeface="+mn-ea"/>
                          <a:cs typeface="+mn-cs"/>
                        </a:rPr>
                        <a:t>nbn</a:t>
                      </a:r>
                      <a:r>
                        <a:rPr lang="en-AU" sz="1200" b="0" i="0" u="none" strike="noStrike" kern="1200" noProof="0">
                          <a:solidFill>
                            <a:srgbClr val="000000"/>
                          </a:solidFill>
                          <a:latin typeface="Aptos"/>
                          <a:ea typeface="+mn-ea"/>
                          <a:cs typeface="+mn-cs"/>
                        </a:rPr>
                        <a:t> may approve other leave, either paid or unpaid, at management discretion, providing additional support for employees that may be experiencing difficult circumstances. </a:t>
                      </a:r>
                    </a:p>
                    <a:p>
                      <a:pPr lvl="0">
                        <a:buNone/>
                      </a:pPr>
                      <a:r>
                        <a:rPr lang="en-AU" sz="1200" b="0" i="0" u="none" strike="noStrike" kern="1200" noProof="0">
                          <a:solidFill>
                            <a:srgbClr val="000000"/>
                          </a:solidFill>
                          <a:latin typeface="Aptos"/>
                          <a:ea typeface="+mn-ea"/>
                          <a:cs typeface="+mn-cs"/>
                        </a:rPr>
                        <a:t>This clause mirrors current entitlements within </a:t>
                      </a:r>
                      <a:r>
                        <a:rPr lang="en-AU" sz="1200" b="0" i="0" u="none" strike="noStrike" kern="1200" noProof="0" err="1">
                          <a:solidFill>
                            <a:srgbClr val="000000"/>
                          </a:solidFill>
                          <a:latin typeface="Aptos"/>
                          <a:ea typeface="+mn-ea"/>
                          <a:cs typeface="+mn-cs"/>
                        </a:rPr>
                        <a:t>nbn</a:t>
                      </a:r>
                      <a:r>
                        <a:rPr lang="en-AU" sz="1200" b="0" i="0" u="none" strike="noStrike" kern="1200" noProof="0">
                          <a:solidFill>
                            <a:srgbClr val="000000"/>
                          </a:solidFill>
                          <a:latin typeface="Aptos"/>
                          <a:ea typeface="+mn-ea"/>
                          <a:cs typeface="+mn-cs"/>
                        </a:rPr>
                        <a:t> Policy.</a:t>
                      </a:r>
                    </a:p>
                  </a:txBody>
                  <a:tcPr/>
                </a:tc>
                <a:extLst>
                  <a:ext uri="{0D108BD9-81ED-4DB2-BD59-A6C34878D82A}">
                    <a16:rowId xmlns:a16="http://schemas.microsoft.com/office/drawing/2014/main" val="705718033"/>
                  </a:ext>
                </a:extLst>
              </a:tr>
              <a:tr h="1103374">
                <a:tc>
                  <a:txBody>
                    <a:bodyPr/>
                    <a:lstStyle/>
                    <a:p>
                      <a:pPr lvl="0">
                        <a:buNone/>
                      </a:pPr>
                      <a:r>
                        <a:rPr lang="en-US" sz="1200" b="1">
                          <a:latin typeface="Aptos"/>
                        </a:rPr>
                        <a:t>Public holidays</a:t>
                      </a:r>
                    </a:p>
                  </a:txBody>
                  <a:tcPr/>
                </a:tc>
                <a:tc>
                  <a:txBody>
                    <a:bodyPr/>
                    <a:lstStyle/>
                    <a:p>
                      <a:pPr lvl="0">
                        <a:buNone/>
                      </a:pPr>
                      <a:r>
                        <a:rPr lang="en-US" sz="1200">
                          <a:latin typeface="Aptos"/>
                        </a:rPr>
                        <a:t>27</a:t>
                      </a:r>
                      <a:endParaRPr lang="en-US" sz="1200">
                        <a:solidFill>
                          <a:srgbClr val="FF0000"/>
                        </a:solidFill>
                        <a:latin typeface="Aptos"/>
                      </a:endParaRPr>
                    </a:p>
                  </a:txBody>
                  <a:tcPr/>
                </a:tc>
                <a:tc>
                  <a:txBody>
                    <a:bodyPr/>
                    <a:lstStyle/>
                    <a:p>
                      <a:pPr lvl="0">
                        <a:buNone/>
                      </a:pPr>
                      <a:r>
                        <a:rPr lang="en-AU" sz="1200" b="0" i="0" u="none" strike="noStrike" kern="1200" noProof="0">
                          <a:solidFill>
                            <a:srgbClr val="000000"/>
                          </a:solidFill>
                          <a:latin typeface="Aptos"/>
                          <a:ea typeface="+mn-ea"/>
                          <a:cs typeface="+mn-cs"/>
                        </a:rPr>
                        <a:t>This clause outlined employee entitlements for working public holiday entitlements, including penalty rate entitlements for working on a public holiday and, as well as substitution of public holidays.</a:t>
                      </a:r>
                      <a:endParaRPr lang="en-US" sz="1200" b="0" i="0" u="none" strike="noStrike" kern="1200">
                        <a:solidFill>
                          <a:srgbClr val="000000"/>
                        </a:solidFill>
                        <a:latin typeface="Aptos"/>
                        <a:ea typeface="+mn-ea"/>
                        <a:cs typeface="+mn-cs"/>
                      </a:endParaRPr>
                    </a:p>
                  </a:txBody>
                  <a:tcPr/>
                </a:tc>
                <a:tc>
                  <a:txBody>
                    <a:bodyPr/>
                    <a:lstStyle/>
                    <a:p>
                      <a:pPr lvl="0">
                        <a:buNone/>
                      </a:pPr>
                      <a:r>
                        <a:rPr lang="en-AU" sz="1200" b="0" i="0" u="none" strike="noStrike" kern="1200" noProof="0">
                          <a:solidFill>
                            <a:srgbClr val="000000"/>
                          </a:solidFill>
                          <a:latin typeface="Aptos"/>
                          <a:ea typeface="+mn-ea"/>
                          <a:cs typeface="+mn-cs"/>
                        </a:rPr>
                        <a:t>This clause has been amended to remove the option for </a:t>
                      </a:r>
                      <a:r>
                        <a:rPr lang="en-AU" sz="1200" b="0" i="0" u="none" strike="noStrike" kern="1200" noProof="0" err="1">
                          <a:solidFill>
                            <a:srgbClr val="000000"/>
                          </a:solidFill>
                          <a:latin typeface="Aptos"/>
                          <a:ea typeface="+mn-ea"/>
                          <a:cs typeface="+mn-cs"/>
                        </a:rPr>
                        <a:t>nbn</a:t>
                      </a:r>
                      <a:r>
                        <a:rPr lang="en-AU" sz="1200" b="0" i="0" u="none" strike="noStrike" kern="1200" noProof="0">
                          <a:solidFill>
                            <a:srgbClr val="000000"/>
                          </a:solidFill>
                          <a:latin typeface="Aptos"/>
                          <a:ea typeface="+mn-ea"/>
                          <a:cs typeface="+mn-cs"/>
                        </a:rPr>
                        <a:t> to make agreements with the majority of employees to substitute public holidays. Instead, </a:t>
                      </a:r>
                      <a:r>
                        <a:rPr lang="en-AU" sz="1200" b="0" i="0" u="none" strike="noStrike" kern="1200" noProof="0" err="1">
                          <a:solidFill>
                            <a:srgbClr val="000000"/>
                          </a:solidFill>
                          <a:latin typeface="Aptos"/>
                          <a:ea typeface="+mn-ea"/>
                          <a:cs typeface="+mn-cs"/>
                        </a:rPr>
                        <a:t>nbn</a:t>
                      </a:r>
                      <a:r>
                        <a:rPr lang="en-AU" sz="1200" b="0" i="0" u="none" strike="noStrike" kern="1200" noProof="0">
                          <a:solidFill>
                            <a:srgbClr val="000000"/>
                          </a:solidFill>
                          <a:latin typeface="Aptos"/>
                          <a:ea typeface="+mn-ea"/>
                          <a:cs typeface="+mn-cs"/>
                        </a:rPr>
                        <a:t> will require the agreement of the individual employee to substitute public holidays. </a:t>
                      </a:r>
                    </a:p>
                  </a:txBody>
                  <a:tcPr/>
                </a:tc>
                <a:extLst>
                  <a:ext uri="{0D108BD9-81ED-4DB2-BD59-A6C34878D82A}">
                    <a16:rowId xmlns:a16="http://schemas.microsoft.com/office/drawing/2014/main" val="2344539135"/>
                  </a:ext>
                </a:extLst>
              </a:tr>
              <a:tr h="1504600">
                <a:tc>
                  <a:txBody>
                    <a:bodyPr/>
                    <a:lstStyle/>
                    <a:p>
                      <a:pPr lvl="0">
                        <a:buNone/>
                      </a:pPr>
                      <a:r>
                        <a:rPr lang="en-US" sz="1200" b="1">
                          <a:latin typeface="Aptos"/>
                        </a:rPr>
                        <a:t>Workplace Delegates</a:t>
                      </a:r>
                    </a:p>
                  </a:txBody>
                  <a:tcPr/>
                </a:tc>
                <a:tc>
                  <a:txBody>
                    <a:bodyPr/>
                    <a:lstStyle/>
                    <a:p>
                      <a:pPr lvl="0">
                        <a:buNone/>
                      </a:pPr>
                      <a:r>
                        <a:rPr lang="en-US" sz="1200">
                          <a:latin typeface="Aptos"/>
                        </a:rPr>
                        <a:t>28</a:t>
                      </a:r>
                    </a:p>
                  </a:txBody>
                  <a:tcPr/>
                </a:tc>
                <a:tc>
                  <a:txBody>
                    <a:bodyPr/>
                    <a:lstStyle/>
                    <a:p>
                      <a:pPr lvl="0">
                        <a:buNone/>
                      </a:pPr>
                      <a:r>
                        <a:rPr lang="en-US" sz="1200" b="0" i="0" u="none" strike="noStrike" kern="1200" noProof="0">
                          <a:solidFill>
                            <a:srgbClr val="000000"/>
                          </a:solidFill>
                          <a:latin typeface="Aptos"/>
                          <a:ea typeface="+mn-ea"/>
                          <a:cs typeface="+mn-cs"/>
                        </a:rPr>
                        <a:t>Nil.</a:t>
                      </a:r>
                      <a:r>
                        <a:rPr lang="en-US" sz="1200" b="0" i="0" u="none" strike="sngStrike" kern="1200" noProof="0">
                          <a:solidFill>
                            <a:srgbClr val="000000"/>
                          </a:solidFill>
                          <a:latin typeface="Aptos"/>
                          <a:ea typeface="+mn-ea"/>
                          <a:cs typeface="+mn-cs"/>
                        </a:rPr>
                        <a:t> </a:t>
                      </a:r>
                      <a:endParaRPr lang="en-US" sz="1200" strike="sngStrike">
                        <a:latin typeface="Aptos"/>
                      </a:endParaRPr>
                    </a:p>
                  </a:txBody>
                  <a:tcPr/>
                </a:tc>
                <a:tc>
                  <a:txBody>
                    <a:bodyPr/>
                    <a:lstStyle/>
                    <a:p>
                      <a:pPr lvl="0">
                        <a:buNone/>
                      </a:pPr>
                      <a:r>
                        <a:rPr lang="en-AU" sz="1200" b="0" i="0" u="none" strike="noStrike" kern="1200" noProof="0">
                          <a:solidFill>
                            <a:srgbClr val="000000"/>
                          </a:solidFill>
                          <a:latin typeface="Aptos"/>
                          <a:ea typeface="+mn-ea"/>
                          <a:cs typeface="+mn-cs"/>
                        </a:rPr>
                        <a:t>This clause has been inserted to incorporate the delegates rights term from the</a:t>
                      </a:r>
                      <a:r>
                        <a:rPr lang="en-AU" sz="1200" b="0" i="1" u="none" strike="noStrike" kern="1200" noProof="0">
                          <a:solidFill>
                            <a:srgbClr val="000000"/>
                          </a:solidFill>
                          <a:latin typeface="Aptos"/>
                          <a:ea typeface="+mn-ea"/>
                          <a:cs typeface="+mn-cs"/>
                        </a:rPr>
                        <a:t> Telecommunications Service Award </a:t>
                      </a:r>
                      <a:r>
                        <a:rPr lang="en-AU" sz="1200" b="0" i="1" u="none" strike="noStrike" kern="1200" noProof="0">
                          <a:solidFill>
                            <a:schemeClr val="tx1"/>
                          </a:solidFill>
                          <a:latin typeface="Aptos"/>
                          <a:ea typeface="+mn-ea"/>
                          <a:cs typeface="+mn-cs"/>
                        </a:rPr>
                        <a:t>2020</a:t>
                      </a:r>
                      <a:r>
                        <a:rPr lang="en-AU" sz="1200" b="0" i="0" u="none" strike="noStrike" kern="1200" noProof="0">
                          <a:solidFill>
                            <a:schemeClr val="tx1"/>
                          </a:solidFill>
                          <a:latin typeface="Aptos"/>
                          <a:ea typeface="+mn-ea"/>
                          <a:cs typeface="+mn-cs"/>
                        </a:rPr>
                        <a:t> and includes </a:t>
                      </a:r>
                      <a:r>
                        <a:rPr lang="en-AU" sz="1200" b="0" i="0" u="none" strike="noStrike" kern="1200" noProof="0">
                          <a:solidFill>
                            <a:srgbClr val="000000"/>
                          </a:solidFill>
                          <a:latin typeface="Aptos"/>
                          <a:ea typeface="+mn-ea"/>
                          <a:cs typeface="+mn-cs"/>
                        </a:rPr>
                        <a:t>the model workplace delegates’ rights term for enterprise agreements, which includes terms about rights of workplace delegates to represent its members, and workplace delegates’ entitlement to 5 training days initially, and 1 training day for all subsequent years.</a:t>
                      </a:r>
                      <a:endParaRPr lang="en-US" sz="1200" b="0" i="0" u="none" strike="noStrike" kern="1200">
                        <a:solidFill>
                          <a:srgbClr val="000000"/>
                        </a:solidFill>
                        <a:latin typeface="Aptos"/>
                        <a:ea typeface="+mn-ea"/>
                        <a:cs typeface="+mn-cs"/>
                      </a:endParaRPr>
                    </a:p>
                  </a:txBody>
                  <a:tcPr/>
                </a:tc>
                <a:extLst>
                  <a:ext uri="{0D108BD9-81ED-4DB2-BD59-A6C34878D82A}">
                    <a16:rowId xmlns:a16="http://schemas.microsoft.com/office/drawing/2014/main" val="4046024587"/>
                  </a:ext>
                </a:extLst>
              </a:tr>
            </a:tbl>
          </a:graphicData>
        </a:graphic>
      </p:graphicFrame>
    </p:spTree>
    <p:extLst>
      <p:ext uri="{BB962C8B-B14F-4D97-AF65-F5344CB8AC3E}">
        <p14:creationId xmlns:p14="http://schemas.microsoft.com/office/powerpoint/2010/main" val="5283020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NBN 2024">
      <a:dk1>
        <a:srgbClr val="000000"/>
      </a:dk1>
      <a:lt1>
        <a:srgbClr val="FFFFFF"/>
      </a:lt1>
      <a:dk2>
        <a:srgbClr val="000000"/>
      </a:dk2>
      <a:lt2>
        <a:srgbClr val="F0EFED"/>
      </a:lt2>
      <a:accent1>
        <a:srgbClr val="1B6CFF"/>
      </a:accent1>
      <a:accent2>
        <a:srgbClr val="00A3B3"/>
      </a:accent2>
      <a:accent3>
        <a:srgbClr val="00DE60"/>
      </a:accent3>
      <a:accent4>
        <a:srgbClr val="8B55F0"/>
      </a:accent4>
      <a:accent5>
        <a:srgbClr val="006663"/>
      </a:accent5>
      <a:accent6>
        <a:srgbClr val="FFC624"/>
      </a:accent6>
      <a:hlink>
        <a:srgbClr val="00DE60"/>
      </a:hlink>
      <a:folHlink>
        <a:srgbClr val="9060F0"/>
      </a:folHlink>
    </a:clrScheme>
    <a:fontScheme name="NBN Aptos Bold">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l">
          <a:defRPr sz="1200" dirty="0" smtClean="0">
            <a:solidFill>
              <a:schemeClr val="bg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Bright Blue 80%">
      <a:srgbClr val="4889FF"/>
    </a:custClr>
    <a:custClr name="Bright Blue 80%">
      <a:srgbClr val="5E97FE"/>
    </a:custClr>
    <a:custClr name="Bright Blue 60%">
      <a:srgbClr val="77A6FF"/>
    </a:custClr>
    <a:custClr name="Bright Blue 50">
      <a:srgbClr val="8EB5FF"/>
    </a:custClr>
    <a:custClr name="Bright Blue 40%">
      <a:srgbClr val="A4C4FF"/>
    </a:custClr>
    <a:custClr name="Bright Blue 30%">
      <a:srgbClr val="BAD2FE"/>
    </a:custClr>
    <a:custClr name="Bright Blue 20%">
      <a:srgbClr val="D1E2FF"/>
    </a:custClr>
    <a:custClr name="Bright Blue 15%">
      <a:srgbClr val="DDE9FF"/>
    </a:custClr>
    <a:custClr name="Bright Blue 10%">
      <a:srgbClr val="E8EFFF"/>
    </a:custClr>
    <a:custClr name="Bright Blue 5%">
      <a:srgbClr val="F3F7FF"/>
    </a:custClr>
    <a:custClr name="Bright Green 80%">
      <a:srgbClr val="34E47F"/>
    </a:custClr>
    <a:custClr name="Bright Green 70%">
      <a:srgbClr val="4DE78F"/>
    </a:custClr>
    <a:custClr name="Bright Green 60%">
      <a:srgbClr val="67EBA0"/>
    </a:custClr>
    <a:custClr name="Bright Green 50%">
      <a:srgbClr val="80EEAF"/>
    </a:custClr>
    <a:custClr name="Bright Green 40%">
      <a:srgbClr val="99F1BF"/>
    </a:custClr>
    <a:custClr name="Bright Green 30%">
      <a:srgbClr val="B3F5CF"/>
    </a:custClr>
    <a:custClr name="Bright Green 20%">
      <a:srgbClr val="CCF8DF"/>
    </a:custClr>
    <a:custClr name="Bright Green 15%">
      <a:srgbClr val="D8FBE7"/>
    </a:custClr>
    <a:custClr name="Bright Green 10%">
      <a:srgbClr val="E5FBEF"/>
    </a:custClr>
    <a:custClr name="Bright Green 5%">
      <a:srgbClr val="F2FDF7"/>
    </a:custClr>
    <a:custClr name="Purple 80%">
      <a:srgbClr val="A67FF2"/>
    </a:custClr>
    <a:custClr name="Purple 70%">
      <a:srgbClr val="B28FF5"/>
    </a:custClr>
    <a:custClr name="Purple 60%">
      <a:srgbClr val="BCA0F7"/>
    </a:custClr>
    <a:custClr name="Purple 50%">
      <a:srgbClr val="C6AFF7"/>
    </a:custClr>
    <a:custClr name="Purple 40%">
      <a:srgbClr val="D2BFF7"/>
    </a:custClr>
    <a:custClr name="Purple 30%">
      <a:srgbClr val="DECFFA"/>
    </a:custClr>
    <a:custClr name="Purple 20%">
      <a:srgbClr val="E8DFFB"/>
    </a:custClr>
    <a:custClr name="Purple 15%">
      <a:srgbClr val="EFE7FC"/>
    </a:custClr>
    <a:custClr name="Purple 10%">
      <a:srgbClr val="F3EFFD"/>
    </a:custClr>
    <a:custClr name="Purple 5%">
      <a:srgbClr val="F8F7FD"/>
    </a:custClr>
    <a:custClr name="Yellow 80%">
      <a:srgbClr val="FFD14F"/>
    </a:custClr>
    <a:custClr name="Yellow 70%">
      <a:srgbClr val="FFD765"/>
    </a:custClr>
    <a:custClr name="Yellow 60%">
      <a:srgbClr val="FEDC7B"/>
    </a:custClr>
    <a:custClr name="Yellow 50%">
      <a:srgbClr val="FFE191"/>
    </a:custClr>
    <a:custClr name="Yellow 40%">
      <a:srgbClr val="FFE7A7"/>
    </a:custClr>
    <a:custClr name="Yellow 30%">
      <a:srgbClr val="FFEDBD"/>
    </a:custClr>
    <a:custClr name="Yellow 20%">
      <a:srgbClr val="FFF3D3"/>
    </a:custClr>
    <a:custClr name="Yellow 15%">
      <a:srgbClr val="FFF5DF"/>
    </a:custClr>
    <a:custClr name="Yellow 10%">
      <a:srgbClr val="FFF9E9"/>
    </a:custClr>
    <a:custClr name="Yellow 5%">
      <a:srgbClr val="FFFCF5"/>
    </a:custClr>
    <a:custClr name="Red 100%">
      <a:srgbClr val="FF2A57"/>
    </a:custClr>
    <a:custClr name="Red 70%">
      <a:srgbClr val="FE6989"/>
    </a:custClr>
    <a:custClr name="Red 60%">
      <a:srgbClr val="FF7E9A"/>
    </a:custClr>
    <a:custClr name="Red 50%">
      <a:srgbClr val="FF94AC"/>
    </a:custClr>
    <a:custClr name="Red 40%">
      <a:srgbClr val="FFA9BC"/>
    </a:custClr>
    <a:custClr name="Red 30%">
      <a:srgbClr val="FEBECC"/>
    </a:custClr>
    <a:custClr name="Red 20%">
      <a:srgbClr val="FFD4DD"/>
    </a:custClr>
    <a:custClr name="Red 15%">
      <a:srgbClr val="FEDFE5"/>
    </a:custClr>
    <a:custClr name="Red  10%">
      <a:srgbClr val="FFE8EE"/>
    </a:custClr>
    <a:custClr name="Red 5%">
      <a:srgbClr val="FFF5F6"/>
    </a:custClr>
  </a:custClrLst>
  <a:extLst>
    <a:ext uri="{05A4C25C-085E-4340-85A3-A5531E510DB2}">
      <thm15:themeFamily xmlns:thm15="http://schemas.microsoft.com/office/thememl/2012/main" name="Presentation1" id="{4E71DEFF-5B0C-47B3-8F54-419627AFB8D8}" vid="{3343547C-6303-4822-A744-EFC56615E0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nbn Document" ma:contentTypeID="0x010100F9DAF40EBE46F345A328C8FE97B709DD00004953B8FCD860438298F0EFE6D53146" ma:contentTypeVersion="23" ma:contentTypeDescription="nbn Document Content Type" ma:contentTypeScope="" ma:versionID="579db9d4206d2247dbe1db0e7ce650db">
  <xsd:schema xmlns:xsd="http://www.w3.org/2001/XMLSchema" xmlns:xs="http://www.w3.org/2001/XMLSchema" xmlns:p="http://schemas.microsoft.com/office/2006/metadata/properties" xmlns:ns2="11957d23-8825-422f-9004-55eeb9b7f3fa" xmlns:ns3="c7a30fb3-cd64-4dc9-b3a3-c39f9a3cceaf" targetNamespace="http://schemas.microsoft.com/office/2006/metadata/properties" ma:root="true" ma:fieldsID="b8108981fe1ac0c169f2c4df06d95e43" ns2:_="" ns3:_="">
    <xsd:import namespace="11957d23-8825-422f-9004-55eeb9b7f3fa"/>
    <xsd:import namespace="c7a30fb3-cd64-4dc9-b3a3-c39f9a3cceaf"/>
    <xsd:element name="properties">
      <xsd:complexType>
        <xsd:sequence>
          <xsd:element name="documentManagement">
            <xsd:complexType>
              <xsd:all>
                <xsd:element ref="ns2:_dlc_DocId" minOccurs="0"/>
                <xsd:element ref="ns2:_dlc_DocIdUrl" minOccurs="0"/>
                <xsd:element ref="ns2:_dlc_DocIdPersistId" minOccurs="0"/>
                <xsd:element ref="ns2:DocumentCategory_0" minOccurs="0"/>
                <xsd:element ref="ns2:TaxCatchAll" minOccurs="0"/>
                <xsd:element ref="ns2:TaxCatchAllLabel" minOccurs="0"/>
                <xsd:element ref="ns2:DocumentStatus_0" minOccurs="0"/>
                <xsd:element ref="ns2:SecurityClassification_0" minOccurs="0"/>
                <xsd:element ref="ns2:Owner"/>
                <xsd:element ref="ns3:MediaServiceMetadata" minOccurs="0"/>
                <xsd:element ref="ns3:MediaServiceFastMetadata" minOccurs="0"/>
                <xsd:element ref="ns3:MediaServiceObjectDetectorVersions" minOccurs="0"/>
                <xsd:element ref="ns2:SharedWithUsers" minOccurs="0"/>
                <xsd:element ref="ns2:SharedWithDetails" minOccurs="0"/>
                <xsd:element ref="ns3:lcf76f155ced4ddcb4097134ff3c332f" minOccurs="0"/>
                <xsd:element ref="ns3:MediaServiceDateTaken" minOccurs="0"/>
                <xsd:element ref="ns3:MediaServiceLocation" minOccurs="0"/>
                <xsd:element ref="ns3:MediaServiceOCR" minOccurs="0"/>
                <xsd:element ref="ns3:MediaServiceGenerationTime" minOccurs="0"/>
                <xsd:element ref="ns3:MediaServiceEventHashCode" minOccurs="0"/>
                <xsd:element ref="ns3:MediaLengthInSecond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957d23-8825-422f-9004-55eeb9b7f3fa" elementFormDefault="qualified">
    <xsd:import namespace="http://schemas.microsoft.com/office/2006/documentManagement/types"/>
    <xsd:import namespace="http://schemas.microsoft.com/office/infopath/2007/PartnerControls"/>
    <xsd:element name="_dlc_DocId" ma:index="7" nillable="true" ma:displayName="Document ID Value" ma:description="The value of the document ID assigned to this item." ma:internalName="_dlc_DocId" ma:readOnly="true">
      <xsd:simpleType>
        <xsd:restriction base="dms:Text"/>
      </xsd:simpleType>
    </xsd:element>
    <xsd:element name="_dlc_DocIdUrl" ma:index="8"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9" nillable="true" ma:displayName="Persist ID" ma:description="Keep ID on add." ma:hidden="true" ma:internalName="_dlc_DocIdPersistId" ma:readOnly="true">
      <xsd:simpleType>
        <xsd:restriction base="dms:Boolean"/>
      </xsd:simpleType>
    </xsd:element>
    <xsd:element name="DocumentCategory_0" ma:index="10" ma:taxonomy="true" ma:internalName="DocumentCategory_0" ma:taxonomyFieldName="DocumentCategory" ma:displayName="Document Category" ma:default="8;#Confidential|9f7c42fc-439e-40e1-b463-b17c44bb7d5c" ma:fieldId="{f62f671e-7317-423f-8309-3e4b9b9b9ffc}" ma:sspId="8b4872e6-7fce-4413-93f0-1273afc6e310" ma:termSetId="3fbae716-a2e2-41b8-b46f-667a1197d48d" ma:anchorId="00000000-0000-0000-0000-000000000000" ma:open="false" ma:isKeyword="false">
      <xsd:complexType>
        <xsd:sequence>
          <xsd:element ref="pc:Terms" minOccurs="0" maxOccurs="1"/>
        </xsd:sequence>
      </xsd:complexType>
    </xsd:element>
    <xsd:element name="TaxCatchAll" ma:index="11" nillable="true" ma:displayName="Taxonomy Catch All Column" ma:hidden="true" ma:list="{e38e10f1-5f62-4ab0-8f9b-66f18a0a01c2}" ma:internalName="TaxCatchAll" ma:showField="CatchAllData" ma:web="11957d23-8825-422f-9004-55eeb9b7f3fa">
      <xsd:complexType>
        <xsd:complexContent>
          <xsd:extension base="dms:MultiChoiceLookup">
            <xsd:sequence>
              <xsd:element name="Value" type="dms:Lookup" maxOccurs="unbounded" minOccurs="0" nillable="true"/>
            </xsd:sequence>
          </xsd:extension>
        </xsd:complexContent>
      </xsd:complexType>
    </xsd:element>
    <xsd:element name="TaxCatchAllLabel" ma:index="12" nillable="true" ma:displayName="Taxonomy Catch All Column1" ma:hidden="true" ma:list="{e38e10f1-5f62-4ab0-8f9b-66f18a0a01c2}" ma:internalName="TaxCatchAllLabel" ma:readOnly="true" ma:showField="CatchAllDataLabel" ma:web="11957d23-8825-422f-9004-55eeb9b7f3fa">
      <xsd:complexType>
        <xsd:complexContent>
          <xsd:extension base="dms:MultiChoiceLookup">
            <xsd:sequence>
              <xsd:element name="Value" type="dms:Lookup" maxOccurs="unbounded" minOccurs="0" nillable="true"/>
            </xsd:sequence>
          </xsd:extension>
        </xsd:complexContent>
      </xsd:complexType>
    </xsd:element>
    <xsd:element name="DocumentStatus_0" ma:index="14" ma:taxonomy="true" ma:internalName="DocumentStatus_0" ma:taxonomyFieldName="DocumentStatus" ma:displayName="Document Status" ma:default="1;#Draft|472fd4dc-888a-4c87-8c42-ca8e6e0b802d" ma:fieldId="{59e8a076-73c8-4770-9a83-20bbdb086fbe}" ma:sspId="8b4872e6-7fce-4413-93f0-1273afc6e310" ma:termSetId="1482b9f4-1e2e-4e01-8834-8aacdc17744c" ma:anchorId="00000000-0000-0000-0000-000000000000" ma:open="false" ma:isKeyword="false">
      <xsd:complexType>
        <xsd:sequence>
          <xsd:element ref="pc:Terms" minOccurs="0" maxOccurs="1"/>
        </xsd:sequence>
      </xsd:complexType>
    </xsd:element>
    <xsd:element name="SecurityClassification_0" ma:index="16" ma:taxonomy="true" ma:internalName="SecurityClassification_0" ma:taxonomyFieldName="SecurityClassification" ma:displayName="Security Classification" ma:default="5;#nbn-Confidential: INTERNAL + RESTRICTED ACCESS ONLY|76bad00a-37c0-43f6-b3f6-ebda80cf44d4" ma:fieldId="{b9beac86-382a-4cf1-8e84-14031490d269}" ma:sspId="8b4872e6-7fce-4413-93f0-1273afc6e310" ma:termSetId="6bdedade-d367-462e-accb-1e8b9a10a2c5" ma:anchorId="00000000-0000-0000-0000-000000000000" ma:open="false" ma:isKeyword="false">
      <xsd:complexType>
        <xsd:sequence>
          <xsd:element ref="pc:Terms" minOccurs="0" maxOccurs="1"/>
        </xsd:sequence>
      </xsd:complexType>
    </xsd:element>
    <xsd:element name="Owner" ma:index="18" ma:displayName="Owner" ma:default="Chief Legal and Regulatory Officer" ma:internalName="Owner">
      <xsd:simpleType>
        <xsd:restriction base="dms:Text"/>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7a30fb3-cd64-4dc9-b3a3-c39f9a3cceaf" elementFormDefault="qualified">
    <xsd:import namespace="http://schemas.microsoft.com/office/2006/documentManagement/types"/>
    <xsd:import namespace="http://schemas.microsoft.com/office/infopath/2007/PartnerControls"/>
    <xsd:element name="MediaServiceMetadata" ma:index="19" nillable="true" ma:displayName="MediaServiceMetadata" ma:hidden="true" ma:internalName="MediaServiceMetadata" ma:readOnly="true">
      <xsd:simpleType>
        <xsd:restriction base="dms:Note"/>
      </xsd:simpleType>
    </xsd:element>
    <xsd:element name="MediaServiceFastMetadata" ma:index="20" nillable="true" ma:displayName="MediaServiceFastMetadata" ma:hidden="true" ma:internalName="MediaServiceFastMetadata" ma:readOnly="true">
      <xsd:simpleType>
        <xsd:restriction base="dms:Note"/>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8b4872e6-7fce-4413-93f0-1273afc6e310" ma:termSetId="09814cd3-568e-fe90-9814-8d621ff8fb84" ma:anchorId="fba54fb3-c3e1-fe81-a776-ca4b69148c4d" ma:open="true" ma:isKeyword="false">
      <xsd:complexType>
        <xsd:sequence>
          <xsd:element ref="pc:Terms" minOccurs="0" maxOccurs="1"/>
        </xsd:sequence>
      </xsd:complexType>
    </xsd:element>
    <xsd:element name="MediaServiceDateTaken" ma:index="26" nillable="true" ma:displayName="MediaServiceDateTaken" ma:hidden="true" ma:indexed="true" ma:internalName="MediaServiceDateTaken" ma:readOnly="true">
      <xsd:simpleType>
        <xsd:restriction base="dms:Text"/>
      </xsd:simpleType>
    </xsd:element>
    <xsd:element name="MediaServiceLocation" ma:index="27" nillable="true" ma:displayName="Location" ma:indexed="true" ma:internalName="MediaServiceLocation" ma:readOnly="true">
      <xsd:simpleType>
        <xsd:restriction base="dms:Text"/>
      </xsd:simpleType>
    </xsd:element>
    <xsd:element name="MediaServiceOCR" ma:index="28" nillable="true" ma:displayName="Extracted Text" ma:internalName="MediaServiceOCR" ma:readOnly="true">
      <xsd:simpleType>
        <xsd:restriction base="dms:Note">
          <xsd:maxLength value="255"/>
        </xsd:restriction>
      </xsd:simpleType>
    </xsd:element>
    <xsd:element name="MediaServiceGenerationTime" ma:index="29" nillable="true" ma:displayName="MediaServiceGenerationTime" ma:hidden="true" ma:internalName="MediaServiceGenerationTime" ma:readOnly="true">
      <xsd:simpleType>
        <xsd:restriction base="dms:Text"/>
      </xsd:simpleType>
    </xsd:element>
    <xsd:element name="MediaServiceEventHashCode" ma:index="30" nillable="true" ma:displayName="MediaServiceEventHashCode" ma:hidden="true" ma:internalName="MediaServiceEventHashCode" ma:readOnly="true">
      <xsd:simpleType>
        <xsd:restriction base="dms:Text"/>
      </xsd:simpleType>
    </xsd:element>
    <xsd:element name="MediaLengthInSeconds" ma:index="31" nillable="true" ma:displayName="MediaLengthInSeconds" ma:hidden="true" ma:internalName="MediaLengthInSeconds" ma:readOnly="true">
      <xsd:simpleType>
        <xsd:restriction base="dms:Unknown"/>
      </xsd:simpleType>
    </xsd:element>
    <xsd:element name="MediaServiceSearchProperties" ma:index="3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DocumentCategory_0 xmlns="11957d23-8825-422f-9004-55eeb9b7f3fa">
      <Terms xmlns="http://schemas.microsoft.com/office/infopath/2007/PartnerControls">
        <TermInfo xmlns="http://schemas.microsoft.com/office/infopath/2007/PartnerControls">
          <TermName xmlns="http://schemas.microsoft.com/office/infopath/2007/PartnerControls">Enterprise Bargaining Agreement (EBA)</TermName>
          <TermId xmlns="http://schemas.microsoft.com/office/infopath/2007/PartnerControls">3e682d3e-cb73-413d-b4d0-f8b4f785a3ea</TermId>
        </TermInfo>
      </Terms>
    </DocumentCategory_0>
    <Owner xmlns="11957d23-8825-422f-9004-55eeb9b7f3fa">General Manager, Employee Relations</Owner>
    <DocumentStatus_0 xmlns="11957d23-8825-422f-9004-55eeb9b7f3fa">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472fd4dc-888a-4c87-8c42-ca8e6e0b802d</TermId>
        </TermInfo>
      </Terms>
    </DocumentStatus_0>
    <SecurityClassification_0 xmlns="11957d23-8825-422f-9004-55eeb9b7f3fa">
      <Terms xmlns="http://schemas.microsoft.com/office/infopath/2007/PartnerControls">
        <TermInfo xmlns="http://schemas.microsoft.com/office/infopath/2007/PartnerControls">
          <TermName xmlns="http://schemas.microsoft.com/office/infopath/2007/PartnerControls">nbn-Confidential: Commercial</TermName>
          <TermId xmlns="http://schemas.microsoft.com/office/infopath/2007/PartnerControls">e2f13910-4452-4d96-8bba-109850623a75</TermId>
        </TermInfo>
      </Terms>
    </SecurityClassification_0>
    <TaxCatchAll xmlns="11957d23-8825-422f-9004-55eeb9b7f3fa">
      <Value>179</Value>
      <Value>2</Value>
      <Value>1</Value>
    </TaxCatchAll>
    <_dlc_DocId xmlns="11957d23-8825-422f-9004-55eeb9b7f3fa">S0430-931377389-6693</_dlc_DocId>
    <_dlc_DocIdUrl xmlns="11957d23-8825-422f-9004-55eeb9b7f3fa">
      <Url>https://nbncolimited.sharepoint.com/sites/S0430/_layouts/15/DocIdRedir.aspx?ID=S0430-931377389-6693</Url>
      <Description>S0430-931377389-6693</Description>
    </_dlc_DocIdUrl>
    <lcf76f155ced4ddcb4097134ff3c332f xmlns="c7a30fb3-cd64-4dc9-b3a3-c39f9a3cceaf">
      <Terms xmlns="http://schemas.microsoft.com/office/infopath/2007/PartnerControls"/>
    </lcf76f155ced4ddcb4097134ff3c332f>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809EFF-1231-4898-B0AD-8F474E245AC5}">
  <ds:schemaRefs>
    <ds:schemaRef ds:uri="http://schemas.microsoft.com/sharepoint/events"/>
  </ds:schemaRefs>
</ds:datastoreItem>
</file>

<file path=customXml/itemProps2.xml><?xml version="1.0" encoding="utf-8"?>
<ds:datastoreItem xmlns:ds="http://schemas.openxmlformats.org/officeDocument/2006/customXml" ds:itemID="{4616E040-C9C0-442D-BC99-F1D764E3C9C3}"/>
</file>

<file path=customXml/itemProps3.xml><?xml version="1.0" encoding="utf-8"?>
<ds:datastoreItem xmlns:ds="http://schemas.openxmlformats.org/officeDocument/2006/customXml" ds:itemID="{040B51DC-34C9-4895-A3B4-CF33D6C0C5BE}">
  <ds:schemaRefs>
    <ds:schemaRef ds:uri="http://purl.org/dc/dcmitype/"/>
    <ds:schemaRef ds:uri="http://www.w3.org/XML/1998/namespace"/>
    <ds:schemaRef ds:uri="11957d23-8825-422f-9004-55eeb9b7f3fa"/>
    <ds:schemaRef ds:uri="http://purl.org/dc/terms/"/>
    <ds:schemaRef ds:uri="http://schemas.microsoft.com/office/2006/documentManagement/types"/>
    <ds:schemaRef ds:uri="http://purl.org/dc/elements/1.1/"/>
    <ds:schemaRef ds:uri="54d4e33d-830d-47ad-ad31-c0c49a425618"/>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4.xml><?xml version="1.0" encoding="utf-8"?>
<ds:datastoreItem xmlns:ds="http://schemas.openxmlformats.org/officeDocument/2006/customXml" ds:itemID="{A881F3B3-72F9-4979-9D0C-B9D2EDFD5B3D}">
  <ds:schemaRefs>
    <ds:schemaRef ds:uri="http://schemas.microsoft.com/sharepoint/v3/contenttype/forms"/>
  </ds:schemaRefs>
</ds:datastoreItem>
</file>

<file path=docMetadata/LabelInfo.xml><?xml version="1.0" encoding="utf-8"?>
<clbl:labelList xmlns:clbl="http://schemas.microsoft.com/office/2020/mipLabelMetadata">
  <clbl:label id="{e262cc78-5686-4f0c-9282-55bf52f286dd}" enabled="1" method="Standard" siteId="{947cb559-a380-4152-9eb5-c7aaf41b194f}" removed="0"/>
</clbl:labelList>
</file>

<file path=docProps/app.xml><?xml version="1.0" encoding="utf-8"?>
<Properties xmlns="http://schemas.openxmlformats.org/officeDocument/2006/extended-properties" xmlns:vt="http://schemas.openxmlformats.org/officeDocument/2006/docPropsVTypes">
  <TotalTime>3939</TotalTime>
  <Words>2553</Words>
  <Application>Microsoft Office PowerPoint</Application>
  <PresentationFormat>Widescreen</PresentationFormat>
  <Paragraphs>318</Paragraphs>
  <Slides>15</Slides>
  <Notes>9</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5" baseType="lpstr">
      <vt:lpstr>ABC Diatype Rounded Bold</vt:lpstr>
      <vt:lpstr>Aptos</vt:lpstr>
      <vt:lpstr>Aptos Black</vt:lpstr>
      <vt:lpstr>Aptos Display</vt:lpstr>
      <vt:lpstr>Arial</vt:lpstr>
      <vt:lpstr>Calibri</vt:lpstr>
      <vt:lpstr>Courier New,monospace</vt:lpstr>
      <vt:lpstr>1_Office Theme</vt:lpstr>
      <vt:lpstr>Office Theme</vt:lpstr>
      <vt:lpstr>think-cell Slide</vt:lpstr>
      <vt:lpstr>nbn Enterprise Agreement 2025 - 2028 </vt:lpstr>
      <vt:lpstr>Agenda</vt:lpstr>
      <vt:lpstr>PowerPoint Presentation</vt:lpstr>
      <vt:lpstr>Key Elements of nbn’s offer </vt:lpstr>
      <vt:lpstr>Key Changes </vt:lpstr>
      <vt:lpstr>Key Changes </vt:lpstr>
      <vt:lpstr>Key Changes </vt:lpstr>
      <vt:lpstr>Key Changes </vt:lpstr>
      <vt:lpstr>Key Changes </vt:lpstr>
      <vt:lpstr>Key Changes </vt:lpstr>
      <vt:lpstr>What Isn't Changing </vt:lpstr>
      <vt:lpstr>What Isn't Changing </vt:lpstr>
      <vt:lpstr>PowerPoint Presentation</vt:lpstr>
      <vt:lpstr>Summary of the nbn offer</vt:lpstr>
      <vt:lpstr>Question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Nathan Hill</dc:creator>
  <cp:lastModifiedBy>Maria Romeo</cp:lastModifiedBy>
  <cp:revision>3</cp:revision>
  <dcterms:created xsi:type="dcterms:W3CDTF">2025-01-07T00:53:02Z</dcterms:created>
  <dcterms:modified xsi:type="dcterms:W3CDTF">2025-02-24T02:4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1_Office Theme:5</vt:lpwstr>
  </property>
  <property fmtid="{D5CDD505-2E9C-101B-9397-08002B2CF9AE}" pid="3" name="ClassificationContentMarkingFooterText">
    <vt:lpwstr>nbn-COMMERCIAL </vt:lpwstr>
  </property>
  <property fmtid="{D5CDD505-2E9C-101B-9397-08002B2CF9AE}" pid="4" name="ContentTypeId">
    <vt:lpwstr>0x010100F9DAF40EBE46F345A328C8FE97B709DD00004953B8FCD860438298F0EFE6D53146</vt:lpwstr>
  </property>
  <property fmtid="{D5CDD505-2E9C-101B-9397-08002B2CF9AE}" pid="5" name="SecurityClassification">
    <vt:lpwstr>2;#nbn-Confidential: Commercial|e2f13910-4452-4d96-8bba-109850623a75</vt:lpwstr>
  </property>
  <property fmtid="{D5CDD505-2E9C-101B-9397-08002B2CF9AE}" pid="6" name="_dlc_DocIdItemGuid">
    <vt:lpwstr>b0a18ccf-bf49-4486-b369-6283e938a9bd</vt:lpwstr>
  </property>
  <property fmtid="{D5CDD505-2E9C-101B-9397-08002B2CF9AE}" pid="7" name="DocumentCategory">
    <vt:lpwstr>179;#Enterprise Bargaining Agreement (EBA)|3e682d3e-cb73-413d-b4d0-f8b4f785a3ea</vt:lpwstr>
  </property>
  <property fmtid="{D5CDD505-2E9C-101B-9397-08002B2CF9AE}" pid="8" name="DocumentStatus">
    <vt:lpwstr>1;#Draft|472fd4dc-888a-4c87-8c42-ca8e6e0b802d</vt:lpwstr>
  </property>
  <property fmtid="{D5CDD505-2E9C-101B-9397-08002B2CF9AE}" pid="9" name="MediaServiceImageTags">
    <vt:lpwstr/>
  </property>
</Properties>
</file>